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67" r:id="rId6"/>
  </p:sldMasterIdLst>
  <p:notesMasterIdLst>
    <p:notesMasterId r:id="rId13"/>
  </p:notesMasterIdLst>
  <p:sldIdLst>
    <p:sldId id="463" r:id="rId7"/>
    <p:sldId id="464" r:id="rId8"/>
    <p:sldId id="434" r:id="rId9"/>
    <p:sldId id="466" r:id="rId10"/>
    <p:sldId id="468" r:id="rId11"/>
    <p:sldId id="465"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7F7F"/>
    <a:srgbClr val="727272"/>
    <a:srgbClr val="808080"/>
    <a:srgbClr val="8F8F8F"/>
    <a:srgbClr val="5E5E5E"/>
    <a:srgbClr val="000000"/>
    <a:srgbClr val="E4E4E4"/>
    <a:srgbClr val="9D9D9D"/>
    <a:srgbClr val="FDFDFD"/>
    <a:srgbClr val="A8781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359" autoAdjust="0"/>
    <p:restoredTop sz="92208" autoAdjust="0"/>
  </p:normalViewPr>
  <p:slideViewPr>
    <p:cSldViewPr snapToGrid="0">
      <p:cViewPr varScale="1">
        <p:scale>
          <a:sx n="88" d="100"/>
          <a:sy n="88" d="100"/>
        </p:scale>
        <p:origin x="80" y="100"/>
      </p:cViewPr>
      <p:guideLst>
        <p:guide orient="horz" pos="2160"/>
        <p:guide pos="3840"/>
      </p:guideLst>
    </p:cSldViewPr>
  </p:slideViewPr>
  <p:notesTextViewPr>
    <p:cViewPr>
      <p:scale>
        <a:sx n="125" d="100"/>
        <a:sy n="125" d="100"/>
      </p:scale>
      <p:origin x="0" y="0"/>
    </p:cViewPr>
  </p:notesTextViewPr>
  <p:sorterViewPr>
    <p:cViewPr>
      <p:scale>
        <a:sx n="33" d="100"/>
        <a:sy n="33"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notesMaster" Target="notesMasters/notesMaster1.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5" Type="http://schemas.openxmlformats.org/officeDocument/2006/relationships/customXml" Target="../customXml/item5.xml"/><Relationship Id="rId15" Type="http://schemas.openxmlformats.org/officeDocument/2006/relationships/viewProps" Target="viewProps.xml"/><Relationship Id="rId10" Type="http://schemas.openxmlformats.org/officeDocument/2006/relationships/slide" Target="slides/slide4.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022D2DA-578F-4772-9649-ED3A67CD7D71}" type="datetimeFigureOut">
              <a:rPr lang="en-US" smtClean="0"/>
              <a:t>9/14/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7249FCD-A9FA-4E9D-BD20-371DA895C422}" type="slidenum">
              <a:rPr lang="en-US" smtClean="0"/>
              <a:t>‹#›</a:t>
            </a:fld>
            <a:endParaRPr lang="en-US"/>
          </a:p>
        </p:txBody>
      </p:sp>
    </p:spTree>
    <p:extLst>
      <p:ext uri="{BB962C8B-B14F-4D97-AF65-F5344CB8AC3E}">
        <p14:creationId xmlns:p14="http://schemas.microsoft.com/office/powerpoint/2010/main" val="29111252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fld id="{A5B258F2-B2E5-4175-B339-81AEE5988F5F}" type="slidenum">
              <a:rPr lang="en-US" smtClean="0">
                <a:solidFill>
                  <a:srgbClr val="505050"/>
                </a:solidFill>
              </a:rPr>
              <a:pPr/>
              <a:t>1</a:t>
            </a:fld>
            <a:endParaRPr lang="en-US" dirty="0">
              <a:solidFill>
                <a:srgbClr val="505050"/>
              </a:solidFill>
            </a:endParaRPr>
          </a:p>
        </p:txBody>
      </p:sp>
    </p:spTree>
    <p:extLst>
      <p:ext uri="{BB962C8B-B14F-4D97-AF65-F5344CB8AC3E}">
        <p14:creationId xmlns:p14="http://schemas.microsoft.com/office/powerpoint/2010/main" val="18680484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400" b="1" kern="1200" dirty="0">
                <a:solidFill>
                  <a:schemeClr val="tx1"/>
                </a:solidFill>
                <a:effectLst/>
                <a:latin typeface="Segoe UI Light" pitchFamily="34" charset="0"/>
                <a:ea typeface="ＭＳ Ｐゴシック" charset="0"/>
                <a:cs typeface="ＭＳ Ｐゴシック" charset="0"/>
              </a:rPr>
              <a:t>Why this Slide:</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400" kern="1200" baseline="0" dirty="0">
                <a:solidFill>
                  <a:schemeClr val="tx1"/>
                </a:solidFill>
                <a:effectLst/>
                <a:latin typeface="Segoe UI Light" pitchFamily="34" charset="0"/>
                <a:ea typeface="ＭＳ Ｐゴシック" charset="0"/>
                <a:cs typeface="ＭＳ Ｐゴシック" charset="0"/>
              </a:rPr>
              <a:t>It shows we have a very broad platform.  It about BOTH IaaS and PaaS, that these work together.  It shows that we continue to lead in world class IT capabilities and that there’s really nothing missing.</a:t>
            </a:r>
          </a:p>
          <a:p>
            <a:pPr lvl="0"/>
            <a:endParaRPr lang="en-US" sz="1400" b="1" kern="1200" dirty="0">
              <a:solidFill>
                <a:schemeClr val="tx1"/>
              </a:solidFill>
              <a:effectLst/>
              <a:latin typeface="Segoe UI Light" pitchFamily="34" charset="0"/>
              <a:ea typeface="ＭＳ Ｐゴシック" charset="0"/>
              <a:cs typeface="ＭＳ Ｐゴシック" charset="0"/>
            </a:endParaRPr>
          </a:p>
          <a:p>
            <a:pPr lvl="0"/>
            <a:r>
              <a:rPr lang="en-US" sz="1400" b="1" kern="1200" dirty="0">
                <a:solidFill>
                  <a:schemeClr val="tx1"/>
                </a:solidFill>
                <a:effectLst/>
                <a:latin typeface="Segoe UI Light" pitchFamily="34" charset="0"/>
                <a:ea typeface="ＭＳ Ｐゴシック" charset="0"/>
                <a:cs typeface="ＭＳ Ｐゴシック" charset="0"/>
              </a:rPr>
              <a:t>Key</a:t>
            </a:r>
            <a:r>
              <a:rPr lang="en-US" sz="1400" b="1" kern="1200" baseline="0" dirty="0">
                <a:solidFill>
                  <a:schemeClr val="tx1"/>
                </a:solidFill>
                <a:effectLst/>
                <a:latin typeface="Segoe UI Light" pitchFamily="34" charset="0"/>
                <a:ea typeface="ＭＳ Ｐゴシック" charset="0"/>
                <a:cs typeface="ＭＳ Ｐゴシック" charset="0"/>
              </a:rPr>
              <a:t> Points:</a:t>
            </a:r>
          </a:p>
          <a:p>
            <a:pPr marL="171450" lvl="0" indent="-171450">
              <a:buFont typeface="Arial" panose="020B0604020202020204" pitchFamily="34" charset="0"/>
              <a:buChar char="•"/>
            </a:pPr>
            <a:r>
              <a:rPr lang="en-US" sz="1400" kern="1200" baseline="0" dirty="0">
                <a:solidFill>
                  <a:schemeClr val="tx1"/>
                </a:solidFill>
                <a:effectLst/>
                <a:latin typeface="Segoe UI Light" pitchFamily="34" charset="0"/>
                <a:ea typeface="ＭＳ Ｐゴシック" charset="0"/>
                <a:cs typeface="ＭＳ Ｐゴシック" charset="0"/>
              </a:rPr>
              <a:t>We have already seen how the Azure Platform is IaaS + Pass – but I want you to understand that this is a huge number of capabilities – IT building blocks if you will.</a:t>
            </a:r>
          </a:p>
          <a:p>
            <a:pPr marL="171450" lvl="0" indent="-171450">
              <a:buFont typeface="Arial" panose="020B0604020202020204" pitchFamily="34" charset="0"/>
              <a:buChar char="•"/>
            </a:pPr>
            <a:r>
              <a:rPr lang="en-US" sz="1400" kern="1200" baseline="0" dirty="0">
                <a:solidFill>
                  <a:schemeClr val="tx1"/>
                </a:solidFill>
                <a:effectLst/>
                <a:latin typeface="Segoe UI Light" pitchFamily="34" charset="0"/>
                <a:ea typeface="ＭＳ Ｐゴシック" charset="0"/>
                <a:cs typeface="ＭＳ Ｐゴシック" charset="0"/>
              </a:rPr>
              <a:t>Every one of these blocks you provision anytime, self-service anywhere in the world 24x7.  You pay for what you use, you can get more or less anytime and you can fully automate everything…</a:t>
            </a:r>
          </a:p>
          <a:p>
            <a:pPr marL="171450" lvl="0" indent="-171450">
              <a:buFont typeface="Arial" panose="020B0604020202020204" pitchFamily="34" charset="0"/>
              <a:buChar char="•"/>
            </a:pPr>
            <a:r>
              <a:rPr lang="en-US" sz="1400" kern="1200" baseline="0" dirty="0">
                <a:solidFill>
                  <a:schemeClr val="tx1"/>
                </a:solidFill>
                <a:effectLst/>
                <a:latin typeface="Segoe UI Light" pitchFamily="34" charset="0"/>
                <a:ea typeface="ＭＳ Ｐゴシック" charset="0"/>
                <a:cs typeface="ＭＳ Ｐゴシック" charset="0"/>
              </a:rPr>
              <a:t>DON’T spent too much time on this slide – you are going to DEMO (aren’t you!!!)…  DON’T go through each block…</a:t>
            </a:r>
          </a:p>
          <a:p>
            <a:pPr marL="0" marR="0">
              <a:lnSpc>
                <a:spcPct val="107000"/>
              </a:lnSpc>
              <a:spcBef>
                <a:spcPts val="0"/>
              </a:spcBef>
              <a:spcAft>
                <a:spcPts val="800"/>
              </a:spcAft>
            </a:pPr>
            <a:endParaRPr lang="en-US" sz="1400" baseline="0" dirty="0"/>
          </a:p>
          <a:p>
            <a:pPr marL="0" marR="0">
              <a:lnSpc>
                <a:spcPct val="107000"/>
              </a:lnSpc>
              <a:spcBef>
                <a:spcPts val="0"/>
              </a:spcBef>
              <a:spcAft>
                <a:spcPts val="800"/>
              </a:spcAft>
            </a:pPr>
            <a:r>
              <a:rPr lang="en-US" sz="1400" b="1" baseline="0" dirty="0"/>
              <a:t>Transition to NEXT Slide:</a:t>
            </a:r>
            <a:r>
              <a:rPr lang="en-US" sz="1400" baseline="0" dirty="0"/>
              <a:t>  Make the build go backwards to show JUST IaaS and then you will go to the demo to show it.</a:t>
            </a:r>
            <a:endParaRPr lang="en-US" dirty="0"/>
          </a:p>
          <a:p>
            <a:endParaRPr lang="en-US" dirty="0"/>
          </a:p>
        </p:txBody>
      </p:sp>
      <p:sp>
        <p:nvSpPr>
          <p:cNvPr id="4" name="Slide Number Placeholder 3"/>
          <p:cNvSpPr>
            <a:spLocks noGrp="1"/>
          </p:cNvSpPr>
          <p:nvPr>
            <p:ph type="sldNum" sz="quarter" idx="10"/>
          </p:nvPr>
        </p:nvSpPr>
        <p:spPr/>
        <p:txBody>
          <a:bodyPr/>
          <a:lstStyle/>
          <a:p>
            <a:fld id="{01EFE40D-E08A-464F-96D6-CEB0B2DD69BC}" type="slidenum">
              <a:rPr lang="en-US" smtClean="0"/>
              <a:t>2</a:t>
            </a:fld>
            <a:endParaRPr lang="en-US"/>
          </a:p>
        </p:txBody>
      </p:sp>
    </p:spTree>
    <p:extLst>
      <p:ext uri="{BB962C8B-B14F-4D97-AF65-F5344CB8AC3E}">
        <p14:creationId xmlns:p14="http://schemas.microsoft.com/office/powerpoint/2010/main" val="5406524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7249FCD-A9FA-4E9D-BD20-371DA895C422}" type="slidenum">
              <a:rPr lang="en-US" smtClean="0"/>
              <a:t>3</a:t>
            </a:fld>
            <a:endParaRPr lang="en-US"/>
          </a:p>
        </p:txBody>
      </p:sp>
    </p:spTree>
    <p:extLst>
      <p:ext uri="{BB962C8B-B14F-4D97-AF65-F5344CB8AC3E}">
        <p14:creationId xmlns:p14="http://schemas.microsoft.com/office/powerpoint/2010/main" val="4577169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7249FCD-A9FA-4E9D-BD20-371DA895C422}"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2061933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7249FCD-A9FA-4E9D-BD20-371DA895C422}" type="slidenum">
              <a:rPr lang="en-US" smtClean="0"/>
              <a:t>5</a:t>
            </a:fld>
            <a:endParaRPr lang="en-US"/>
          </a:p>
        </p:txBody>
      </p:sp>
    </p:spTree>
    <p:extLst>
      <p:ext uri="{BB962C8B-B14F-4D97-AF65-F5344CB8AC3E}">
        <p14:creationId xmlns:p14="http://schemas.microsoft.com/office/powerpoint/2010/main" val="25895339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7249FCD-A9FA-4E9D-BD20-371DA895C422}" type="slidenum">
              <a:rPr lang="en-US" smtClean="0"/>
              <a:t>6</a:t>
            </a:fld>
            <a:endParaRPr lang="en-US"/>
          </a:p>
        </p:txBody>
      </p:sp>
    </p:spTree>
    <p:extLst>
      <p:ext uri="{BB962C8B-B14F-4D97-AF65-F5344CB8AC3E}">
        <p14:creationId xmlns:p14="http://schemas.microsoft.com/office/powerpoint/2010/main" val="12135780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3676" y="228600"/>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Tree>
    <p:extLst>
      <p:ext uri="{BB962C8B-B14F-4D97-AF65-F5344CB8AC3E}">
        <p14:creationId xmlns:p14="http://schemas.microsoft.com/office/powerpoint/2010/main" val="2459861978"/>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28867465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5920762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878" y="2901951"/>
            <a:ext cx="2845008" cy="1046245"/>
          </a:xfrm>
          <a:prstGeom prst="rect">
            <a:avLst/>
          </a:prstGeom>
        </p:spPr>
      </p:pic>
    </p:spTree>
    <p:extLst>
      <p:ext uri="{BB962C8B-B14F-4D97-AF65-F5344CB8AC3E}">
        <p14:creationId xmlns:p14="http://schemas.microsoft.com/office/powerpoint/2010/main" val="276632087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452855024"/>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2026324950"/>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05000" y="6477874"/>
            <a:ext cx="8382000" cy="380127"/>
          </a:xfrm>
        </p:spPr>
        <p:txBody>
          <a:bodyPr/>
          <a:lstStyle/>
          <a:p>
            <a:endParaRPr lang="en-US" dirty="0">
              <a:solidFill>
                <a:srgbClr val="505050"/>
              </a:solidFill>
            </a:endParaRPr>
          </a:p>
        </p:txBody>
      </p:sp>
    </p:spTree>
    <p:extLst>
      <p:ext uri="{BB962C8B-B14F-4D97-AF65-F5344CB8AC3E}">
        <p14:creationId xmlns:p14="http://schemas.microsoft.com/office/powerpoint/2010/main" val="283415962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088105"/>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77392035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98070499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96479132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4642822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9515806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4235698663"/>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6"/>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3228" name="think-cell Slide" r:id="rId17" imgW="383" imgH="384" progId="TCLayout.ActiveDocument.1">
                  <p:embed/>
                </p:oleObj>
              </mc:Choice>
              <mc:Fallback>
                <p:oleObj name="think-cell Slide" r:id="rId17" imgW="383" imgH="384" progId="TCLayout.ActiveDocument.1">
                  <p:embed/>
                  <p:pic>
                    <p:nvPicPr>
                      <p:cNvPr id="0" name=""/>
                      <p:cNvPicPr/>
                      <p:nvPr/>
                    </p:nvPicPr>
                    <p:blipFill>
                      <a:blip r:embed="rId1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05000" y="6477874"/>
            <a:ext cx="8382000" cy="380127"/>
          </a:xfrm>
          <a:prstGeom prst="rect">
            <a:avLst/>
          </a:prstGeom>
        </p:spPr>
        <p:txBody>
          <a:bodyPr vert="horz" lIns="76179" tIns="38089" rIns="76179" bIns="38089" rtlCol="0" anchor="ctr"/>
          <a:lstStyle>
            <a:lvl1pPr algn="ctr">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21505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372321601"/>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83" r:id="rId12"/>
    <p:sldLayoutId id="2147483784" r:id="rId13"/>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13" Type="http://schemas.openxmlformats.org/officeDocument/2006/relationships/image" Target="../media/image19.png"/><Relationship Id="rId18" Type="http://schemas.openxmlformats.org/officeDocument/2006/relationships/image" Target="../media/image24.png"/><Relationship Id="rId26" Type="http://schemas.openxmlformats.org/officeDocument/2006/relationships/image" Target="../media/image32.png"/><Relationship Id="rId39" Type="http://schemas.openxmlformats.org/officeDocument/2006/relationships/image" Target="../media/image45.png"/><Relationship Id="rId21" Type="http://schemas.openxmlformats.org/officeDocument/2006/relationships/image" Target="../media/image27.png"/><Relationship Id="rId34" Type="http://schemas.openxmlformats.org/officeDocument/2006/relationships/image" Target="../media/image40.png"/><Relationship Id="rId42" Type="http://schemas.openxmlformats.org/officeDocument/2006/relationships/image" Target="../media/image48.png"/><Relationship Id="rId47" Type="http://schemas.openxmlformats.org/officeDocument/2006/relationships/image" Target="../media/image53.png"/><Relationship Id="rId50" Type="http://schemas.openxmlformats.org/officeDocument/2006/relationships/image" Target="../media/image56.png"/><Relationship Id="rId55" Type="http://schemas.openxmlformats.org/officeDocument/2006/relationships/image" Target="../media/image61.png"/><Relationship Id="rId7" Type="http://schemas.openxmlformats.org/officeDocument/2006/relationships/image" Target="../media/image13.png"/><Relationship Id="rId12" Type="http://schemas.openxmlformats.org/officeDocument/2006/relationships/image" Target="../media/image18.png"/><Relationship Id="rId17" Type="http://schemas.openxmlformats.org/officeDocument/2006/relationships/image" Target="../media/image23.png"/><Relationship Id="rId25" Type="http://schemas.openxmlformats.org/officeDocument/2006/relationships/image" Target="../media/image31.png"/><Relationship Id="rId33" Type="http://schemas.openxmlformats.org/officeDocument/2006/relationships/image" Target="../media/image39.png"/><Relationship Id="rId38" Type="http://schemas.openxmlformats.org/officeDocument/2006/relationships/image" Target="../media/image44.png"/><Relationship Id="rId46" Type="http://schemas.openxmlformats.org/officeDocument/2006/relationships/image" Target="../media/image52.png"/><Relationship Id="rId2" Type="http://schemas.openxmlformats.org/officeDocument/2006/relationships/notesSlide" Target="../notesSlides/notesSlide2.xml"/><Relationship Id="rId16" Type="http://schemas.openxmlformats.org/officeDocument/2006/relationships/image" Target="../media/image22.png"/><Relationship Id="rId20" Type="http://schemas.openxmlformats.org/officeDocument/2006/relationships/image" Target="../media/image26.png"/><Relationship Id="rId29" Type="http://schemas.openxmlformats.org/officeDocument/2006/relationships/image" Target="../media/image35.png"/><Relationship Id="rId41" Type="http://schemas.openxmlformats.org/officeDocument/2006/relationships/image" Target="../media/image47.png"/><Relationship Id="rId54" Type="http://schemas.openxmlformats.org/officeDocument/2006/relationships/image" Target="../media/image60.png"/><Relationship Id="rId1" Type="http://schemas.openxmlformats.org/officeDocument/2006/relationships/slideLayout" Target="../slideLayouts/slideLayout13.xml"/><Relationship Id="rId6" Type="http://schemas.openxmlformats.org/officeDocument/2006/relationships/image" Target="../media/image12.png"/><Relationship Id="rId11" Type="http://schemas.openxmlformats.org/officeDocument/2006/relationships/image" Target="../media/image17.png"/><Relationship Id="rId24" Type="http://schemas.openxmlformats.org/officeDocument/2006/relationships/image" Target="../media/image30.png"/><Relationship Id="rId32" Type="http://schemas.openxmlformats.org/officeDocument/2006/relationships/image" Target="../media/image38.png"/><Relationship Id="rId37" Type="http://schemas.openxmlformats.org/officeDocument/2006/relationships/image" Target="../media/image43.png"/><Relationship Id="rId40" Type="http://schemas.openxmlformats.org/officeDocument/2006/relationships/image" Target="../media/image46.png"/><Relationship Id="rId45" Type="http://schemas.openxmlformats.org/officeDocument/2006/relationships/image" Target="../media/image51.png"/><Relationship Id="rId53" Type="http://schemas.openxmlformats.org/officeDocument/2006/relationships/image" Target="../media/image59.png"/><Relationship Id="rId5" Type="http://schemas.openxmlformats.org/officeDocument/2006/relationships/image" Target="../media/image11.png"/><Relationship Id="rId15" Type="http://schemas.openxmlformats.org/officeDocument/2006/relationships/image" Target="../media/image21.png"/><Relationship Id="rId23" Type="http://schemas.openxmlformats.org/officeDocument/2006/relationships/image" Target="../media/image29.png"/><Relationship Id="rId28" Type="http://schemas.openxmlformats.org/officeDocument/2006/relationships/image" Target="../media/image34.png"/><Relationship Id="rId36" Type="http://schemas.openxmlformats.org/officeDocument/2006/relationships/image" Target="../media/image42.png"/><Relationship Id="rId49" Type="http://schemas.openxmlformats.org/officeDocument/2006/relationships/image" Target="../media/image55.png"/><Relationship Id="rId57" Type="http://schemas.openxmlformats.org/officeDocument/2006/relationships/image" Target="../media/image63.png"/><Relationship Id="rId10" Type="http://schemas.openxmlformats.org/officeDocument/2006/relationships/image" Target="../media/image16.png"/><Relationship Id="rId19" Type="http://schemas.openxmlformats.org/officeDocument/2006/relationships/image" Target="../media/image25.png"/><Relationship Id="rId31" Type="http://schemas.openxmlformats.org/officeDocument/2006/relationships/image" Target="../media/image37.png"/><Relationship Id="rId44" Type="http://schemas.openxmlformats.org/officeDocument/2006/relationships/image" Target="../media/image50.png"/><Relationship Id="rId52" Type="http://schemas.openxmlformats.org/officeDocument/2006/relationships/image" Target="../media/image58.png"/><Relationship Id="rId4" Type="http://schemas.openxmlformats.org/officeDocument/2006/relationships/image" Target="../media/image10.png"/><Relationship Id="rId9" Type="http://schemas.openxmlformats.org/officeDocument/2006/relationships/image" Target="../media/image15.png"/><Relationship Id="rId14" Type="http://schemas.openxmlformats.org/officeDocument/2006/relationships/image" Target="../media/image20.png"/><Relationship Id="rId22" Type="http://schemas.openxmlformats.org/officeDocument/2006/relationships/image" Target="../media/image28.png"/><Relationship Id="rId27" Type="http://schemas.openxmlformats.org/officeDocument/2006/relationships/image" Target="../media/image33.png"/><Relationship Id="rId30" Type="http://schemas.openxmlformats.org/officeDocument/2006/relationships/image" Target="../media/image36.png"/><Relationship Id="rId35" Type="http://schemas.openxmlformats.org/officeDocument/2006/relationships/image" Target="../media/image41.png"/><Relationship Id="rId43" Type="http://schemas.openxmlformats.org/officeDocument/2006/relationships/image" Target="../media/image49.png"/><Relationship Id="rId48" Type="http://schemas.openxmlformats.org/officeDocument/2006/relationships/image" Target="../media/image54.png"/><Relationship Id="rId56" Type="http://schemas.openxmlformats.org/officeDocument/2006/relationships/image" Target="../media/image62.png"/><Relationship Id="rId8" Type="http://schemas.openxmlformats.org/officeDocument/2006/relationships/image" Target="../media/image14.png"/><Relationship Id="rId51" Type="http://schemas.openxmlformats.org/officeDocument/2006/relationships/image" Target="../media/image57.png"/><Relationship Id="rId3" Type="http://schemas.openxmlformats.org/officeDocument/2006/relationships/image" Target="../media/image9.png"/></Relationships>
</file>

<file path=ppt/slides/_rels/slide3.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69.png"/><Relationship Id="rId18" Type="http://schemas.openxmlformats.org/officeDocument/2006/relationships/image" Target="../media/image72.png"/><Relationship Id="rId3" Type="http://schemas.openxmlformats.org/officeDocument/2006/relationships/image" Target="../media/image64.png"/><Relationship Id="rId7" Type="http://schemas.openxmlformats.org/officeDocument/2006/relationships/image" Target="../media/image66.png"/><Relationship Id="rId12" Type="http://schemas.microsoft.com/office/2007/relationships/hdphoto" Target="../media/hdphoto5.wdp"/><Relationship Id="rId17" Type="http://schemas.microsoft.com/office/2007/relationships/hdphoto" Target="../media/hdphoto7.wdp"/><Relationship Id="rId2" Type="http://schemas.openxmlformats.org/officeDocument/2006/relationships/notesSlide" Target="../notesSlides/notesSlide3.xml"/><Relationship Id="rId16" Type="http://schemas.openxmlformats.org/officeDocument/2006/relationships/image" Target="../media/image71.png"/><Relationship Id="rId20" Type="http://schemas.openxmlformats.org/officeDocument/2006/relationships/image" Target="../media/image73.emf"/><Relationship Id="rId1" Type="http://schemas.openxmlformats.org/officeDocument/2006/relationships/slideLayout" Target="../slideLayouts/slideLayout4.xml"/><Relationship Id="rId6" Type="http://schemas.microsoft.com/office/2007/relationships/hdphoto" Target="../media/hdphoto2.wdp"/><Relationship Id="rId11" Type="http://schemas.openxmlformats.org/officeDocument/2006/relationships/image" Target="../media/image68.png"/><Relationship Id="rId5" Type="http://schemas.openxmlformats.org/officeDocument/2006/relationships/image" Target="../media/image65.png"/><Relationship Id="rId15" Type="http://schemas.openxmlformats.org/officeDocument/2006/relationships/image" Target="../media/image70.emf"/><Relationship Id="rId10" Type="http://schemas.microsoft.com/office/2007/relationships/hdphoto" Target="../media/hdphoto4.wdp"/><Relationship Id="rId19" Type="http://schemas.microsoft.com/office/2007/relationships/hdphoto" Target="../media/hdphoto8.wdp"/><Relationship Id="rId4" Type="http://schemas.microsoft.com/office/2007/relationships/hdphoto" Target="../media/hdphoto1.wdp"/><Relationship Id="rId9" Type="http://schemas.openxmlformats.org/officeDocument/2006/relationships/image" Target="../media/image67.png"/><Relationship Id="rId14" Type="http://schemas.microsoft.com/office/2007/relationships/hdphoto" Target="../media/hdphoto6.wdp"/></Relationships>
</file>

<file path=ppt/slides/_rels/slide4.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78.emf"/><Relationship Id="rId18" Type="http://schemas.microsoft.com/office/2007/relationships/hdphoto" Target="../media/hdphoto1.wdp"/><Relationship Id="rId26" Type="http://schemas.microsoft.com/office/2007/relationships/hdphoto" Target="../media/hdphoto8.wdp"/><Relationship Id="rId3" Type="http://schemas.openxmlformats.org/officeDocument/2006/relationships/slideLayout" Target="../slideLayouts/slideLayout4.xml"/><Relationship Id="rId21" Type="http://schemas.openxmlformats.org/officeDocument/2006/relationships/image" Target="../media/image66.png"/><Relationship Id="rId7" Type="http://schemas.openxmlformats.org/officeDocument/2006/relationships/image" Target="../media/image49.png"/><Relationship Id="rId12" Type="http://schemas.openxmlformats.org/officeDocument/2006/relationships/image" Target="../media/image77.png"/><Relationship Id="rId17" Type="http://schemas.openxmlformats.org/officeDocument/2006/relationships/image" Target="../media/image64.png"/><Relationship Id="rId25" Type="http://schemas.openxmlformats.org/officeDocument/2006/relationships/image" Target="../media/image72.png"/><Relationship Id="rId2" Type="http://schemas.openxmlformats.org/officeDocument/2006/relationships/tags" Target="../tags/tag3.xml"/><Relationship Id="rId16" Type="http://schemas.openxmlformats.org/officeDocument/2006/relationships/image" Target="../media/image81.emf"/><Relationship Id="rId20" Type="http://schemas.microsoft.com/office/2007/relationships/hdphoto" Target="../media/hdphoto2.wdp"/><Relationship Id="rId1" Type="http://schemas.openxmlformats.org/officeDocument/2006/relationships/vmlDrawing" Target="../drawings/vmlDrawing3.vml"/><Relationship Id="rId6" Type="http://schemas.openxmlformats.org/officeDocument/2006/relationships/image" Target="../media/image74.emf"/><Relationship Id="rId11" Type="http://schemas.openxmlformats.org/officeDocument/2006/relationships/image" Target="../media/image76.png"/><Relationship Id="rId24" Type="http://schemas.microsoft.com/office/2007/relationships/hdphoto" Target="../media/hdphoto4.wdp"/><Relationship Id="rId5" Type="http://schemas.openxmlformats.org/officeDocument/2006/relationships/oleObject" Target="../embeddings/oleObject3.bin"/><Relationship Id="rId15" Type="http://schemas.openxmlformats.org/officeDocument/2006/relationships/image" Target="../media/image80.emf"/><Relationship Id="rId23" Type="http://schemas.openxmlformats.org/officeDocument/2006/relationships/image" Target="../media/image67.png"/><Relationship Id="rId10" Type="http://schemas.openxmlformats.org/officeDocument/2006/relationships/image" Target="../media/image75.png"/><Relationship Id="rId19" Type="http://schemas.openxmlformats.org/officeDocument/2006/relationships/image" Target="../media/image65.png"/><Relationship Id="rId4" Type="http://schemas.openxmlformats.org/officeDocument/2006/relationships/notesSlide" Target="../notesSlides/notesSlide4.xml"/><Relationship Id="rId9" Type="http://schemas.openxmlformats.org/officeDocument/2006/relationships/image" Target="../media/image25.png"/><Relationship Id="rId14" Type="http://schemas.openxmlformats.org/officeDocument/2006/relationships/image" Target="../media/image79.png"/><Relationship Id="rId22" Type="http://schemas.microsoft.com/office/2007/relationships/hdphoto" Target="../media/hdphoto3.wdp"/></Relationships>
</file>

<file path=ppt/slides/_rels/slide5.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89.png"/><Relationship Id="rId3" Type="http://schemas.openxmlformats.org/officeDocument/2006/relationships/image" Target="../media/image82.png"/><Relationship Id="rId7" Type="http://schemas.openxmlformats.org/officeDocument/2006/relationships/image" Target="../media/image86.png"/><Relationship Id="rId12" Type="http://schemas.openxmlformats.org/officeDocument/2006/relationships/image" Target="../media/image88.png"/><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image" Target="../media/image85.png"/><Relationship Id="rId11" Type="http://schemas.openxmlformats.org/officeDocument/2006/relationships/image" Target="../media/image87.png"/><Relationship Id="rId5" Type="http://schemas.openxmlformats.org/officeDocument/2006/relationships/image" Target="../media/image84.png"/><Relationship Id="rId10" Type="http://schemas.openxmlformats.org/officeDocument/2006/relationships/image" Target="../media/image79.png"/><Relationship Id="rId4" Type="http://schemas.openxmlformats.org/officeDocument/2006/relationships/image" Target="../media/image83.png"/><Relationship Id="rId9" Type="http://schemas.openxmlformats.org/officeDocument/2006/relationships/image" Target="../media/image77.png"/><Relationship Id="rId14" Type="http://schemas.openxmlformats.org/officeDocument/2006/relationships/image" Target="../media/image90.png"/></Relationships>
</file>

<file path=ppt/slides/_rels/slide6.xml.rels><?xml version="1.0" encoding="UTF-8" standalone="yes"?>
<Relationships xmlns="http://schemas.openxmlformats.org/package/2006/relationships"><Relationship Id="rId3" Type="http://schemas.openxmlformats.org/officeDocument/2006/relationships/hyperlink" Target="https://gallery.cortanaintelligence.com/Experiment/Customer-Segmentation-And-Classification-2" TargetMode="External"/><Relationship Id="rId2" Type="http://schemas.openxmlformats.org/officeDocument/2006/relationships/notesSlide" Target="../notesSlides/notesSlide6.xml"/><Relationship Id="rId1" Type="http://schemas.openxmlformats.org/officeDocument/2006/relationships/slideLayout" Target="../slideLayouts/slideLayout3.xml"/><Relationship Id="rId5" Type="http://schemas.openxmlformats.org/officeDocument/2006/relationships/hyperlink" Target="https://azure.microsoft.com/en-us/documentation/articles/machine-learning-recommendation-api-documentation/" TargetMode="External"/><Relationship Id="rId4" Type="http://schemas.openxmlformats.org/officeDocument/2006/relationships/hyperlink" Target="https://gallery.cortanaintelligence.com/Experiment/Telco-Customer-Churn-5"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3177" y="1589"/>
          <a:ext cx="1587" cy="1587"/>
        </p:xfrm>
        <a:graphic>
          <a:graphicData uri="http://schemas.openxmlformats.org/presentationml/2006/ole">
            <mc:AlternateContent xmlns:mc="http://schemas.openxmlformats.org/markup-compatibility/2006">
              <mc:Choice xmlns:v="urn:schemas-microsoft-com:vml" Requires="v">
                <p:oleObj spid="_x0000_s66591"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3177" y="1589"/>
                        <a:ext cx="1587" cy="1587"/>
                      </a:xfrm>
                      <a:prstGeom prst="rect">
                        <a:avLst/>
                      </a:prstGeom>
                    </p:spPr>
                  </p:pic>
                </p:oleObj>
              </mc:Fallback>
            </mc:AlternateContent>
          </a:graphicData>
        </a:graphic>
      </p:graphicFrame>
      <p:grpSp>
        <p:nvGrpSpPr>
          <p:cNvPr id="852" name="Group 851"/>
          <p:cNvGrpSpPr/>
          <p:nvPr/>
        </p:nvGrpSpPr>
        <p:grpSpPr>
          <a:xfrm>
            <a:off x="8480045" y="937160"/>
            <a:ext cx="1791196" cy="1791192"/>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z="2200" spc="-122" dirty="0">
                <a:solidFill>
                  <a:srgbClr val="505050">
                    <a:lumMod val="50000"/>
                  </a:srgbClr>
                </a:solidFill>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z="2200" spc="-122" dirty="0">
                <a:solidFill>
                  <a:srgbClr val="505050">
                    <a:lumMod val="50000"/>
                  </a:srgbClr>
                </a:solidFill>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1440" tIns="45720" rIns="91440" bIns="45720" numCol="1" anchor="t" anchorCtr="0" compatLnSpc="1">
              <a:prstTxWarp prst="textNoShape">
                <a:avLst/>
              </a:prstTxWarp>
            </a:bodyPr>
            <a:lstStyle/>
            <a:p>
              <a:pPr defTabSz="1218939"/>
              <a:endParaRPr lang="en-US" sz="2300" kern="0" dirty="0">
                <a:ln>
                  <a:solidFill>
                    <a:srgbClr val="505050">
                      <a:alpha val="0"/>
                    </a:srgbClr>
                  </a:solidFill>
                </a:ln>
                <a:solidFill>
                  <a:srgbClr val="000000"/>
                </a:solidFill>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1440" tIns="45720" rIns="91440" bIns="45720" numCol="1" anchor="t" anchorCtr="0" compatLnSpc="1">
              <a:prstTxWarp prst="textNoShape">
                <a:avLst/>
              </a:prstTxWarp>
            </a:bodyPr>
            <a:lstStyle/>
            <a:p>
              <a:pPr defTabSz="1218939"/>
              <a:endParaRPr lang="en-US" sz="2300" kern="0" dirty="0">
                <a:ln>
                  <a:solidFill>
                    <a:srgbClr val="505050">
                      <a:alpha val="0"/>
                    </a:srgbClr>
                  </a:solidFill>
                </a:ln>
                <a:solidFill>
                  <a:srgbClr val="000000"/>
                </a:solidFill>
              </a:endParaRPr>
            </a:p>
          </p:txBody>
        </p:sp>
      </p:grpSp>
      <p:sp>
        <p:nvSpPr>
          <p:cNvPr id="831" name="Freeform 830"/>
          <p:cNvSpPr/>
          <p:nvPr/>
        </p:nvSpPr>
        <p:spPr>
          <a:xfrm rot="18900000">
            <a:off x="2247362" y="2901538"/>
            <a:ext cx="196850" cy="751190"/>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32" name="Freeform 831"/>
          <p:cNvSpPr/>
          <p:nvPr/>
        </p:nvSpPr>
        <p:spPr>
          <a:xfrm rot="18900000">
            <a:off x="2365892" y="2709003"/>
            <a:ext cx="317500" cy="1089859"/>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33" name="Freeform 832"/>
          <p:cNvSpPr/>
          <p:nvPr/>
        </p:nvSpPr>
        <p:spPr>
          <a:xfrm rot="18900000">
            <a:off x="2402854" y="2672778"/>
            <a:ext cx="400050" cy="1255922"/>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34" name="Freeform 833"/>
          <p:cNvSpPr/>
          <p:nvPr/>
        </p:nvSpPr>
        <p:spPr>
          <a:xfrm rot="18900000">
            <a:off x="2460286" y="2603892"/>
            <a:ext cx="298450" cy="106571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35" name="Freeform 834"/>
          <p:cNvSpPr/>
          <p:nvPr/>
        </p:nvSpPr>
        <p:spPr>
          <a:xfrm rot="18900000">
            <a:off x="2557564" y="2535981"/>
            <a:ext cx="310735" cy="123716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36" name="Freeform 835"/>
          <p:cNvSpPr/>
          <p:nvPr/>
        </p:nvSpPr>
        <p:spPr>
          <a:xfrm rot="18900000">
            <a:off x="2525609" y="2512139"/>
            <a:ext cx="301625" cy="101933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37" name="Freeform 836"/>
          <p:cNvSpPr/>
          <p:nvPr/>
        </p:nvSpPr>
        <p:spPr>
          <a:xfrm rot="18900000">
            <a:off x="2652664" y="2405480"/>
            <a:ext cx="301778" cy="126535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42" name="Freeform 841"/>
          <p:cNvSpPr/>
          <p:nvPr/>
        </p:nvSpPr>
        <p:spPr>
          <a:xfrm rot="18900000">
            <a:off x="2651643" y="2230656"/>
            <a:ext cx="519112" cy="119853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458" name="Freeform 457"/>
          <p:cNvSpPr/>
          <p:nvPr/>
        </p:nvSpPr>
        <p:spPr>
          <a:xfrm rot="8100000" flipV="1">
            <a:off x="4189564" y="-468324"/>
            <a:ext cx="819150" cy="3028950"/>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459" name="Freeform 458"/>
          <p:cNvSpPr/>
          <p:nvPr/>
        </p:nvSpPr>
        <p:spPr>
          <a:xfrm rot="8100000" flipV="1">
            <a:off x="3462867" y="-105732"/>
            <a:ext cx="768350" cy="1104900"/>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460" name="Freeform 459"/>
          <p:cNvSpPr/>
          <p:nvPr/>
        </p:nvSpPr>
        <p:spPr>
          <a:xfrm rot="8100000" flipV="1">
            <a:off x="2854925" y="-240953"/>
            <a:ext cx="1275656" cy="1716009"/>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461" name="Freeform 460"/>
          <p:cNvSpPr/>
          <p:nvPr/>
        </p:nvSpPr>
        <p:spPr>
          <a:xfrm rot="8100000" flipV="1">
            <a:off x="3418992" y="-290497"/>
            <a:ext cx="1309003" cy="3306948"/>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462" name="Freeform 461"/>
          <p:cNvSpPr/>
          <p:nvPr/>
        </p:nvSpPr>
        <p:spPr>
          <a:xfrm rot="8100000" flipV="1">
            <a:off x="5927008" y="2154747"/>
            <a:ext cx="1153178" cy="1348441"/>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463" name="Freeform 462"/>
          <p:cNvSpPr/>
          <p:nvPr/>
        </p:nvSpPr>
        <p:spPr>
          <a:xfrm rot="8100000" flipV="1">
            <a:off x="2492697" y="869132"/>
            <a:ext cx="1559508" cy="1064460"/>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464" name="Freeform 463"/>
          <p:cNvSpPr/>
          <p:nvPr/>
        </p:nvSpPr>
        <p:spPr>
          <a:xfrm rot="8100000" flipV="1">
            <a:off x="2635143" y="926798"/>
            <a:ext cx="1487591" cy="1397158"/>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465" name="Freeform 464"/>
          <p:cNvSpPr/>
          <p:nvPr/>
        </p:nvSpPr>
        <p:spPr>
          <a:xfrm rot="8100000" flipV="1">
            <a:off x="2711752" y="1116369"/>
            <a:ext cx="1473164" cy="1405808"/>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466" name="Freeform 465"/>
          <p:cNvSpPr/>
          <p:nvPr/>
        </p:nvSpPr>
        <p:spPr>
          <a:xfrm rot="8100000" flipV="1">
            <a:off x="3014853" y="562824"/>
            <a:ext cx="2644417" cy="2748252"/>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467" name="Freeform 466"/>
          <p:cNvSpPr/>
          <p:nvPr/>
        </p:nvSpPr>
        <p:spPr>
          <a:xfrm rot="8100000" flipV="1">
            <a:off x="3056365" y="614600"/>
            <a:ext cx="2564892" cy="2827340"/>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468" name="Freeform 467"/>
          <p:cNvSpPr/>
          <p:nvPr/>
        </p:nvSpPr>
        <p:spPr>
          <a:xfrm rot="8100000" flipV="1">
            <a:off x="3084664" y="682781"/>
            <a:ext cx="2487198" cy="2894060"/>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469" name="Freeform 468"/>
          <p:cNvSpPr/>
          <p:nvPr/>
        </p:nvSpPr>
        <p:spPr>
          <a:xfrm rot="8100000" flipV="1">
            <a:off x="2973432" y="1043470"/>
            <a:ext cx="1835312" cy="2248812"/>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470" name="Freeform 469"/>
          <p:cNvSpPr/>
          <p:nvPr/>
        </p:nvSpPr>
        <p:spPr>
          <a:xfrm rot="8100000" flipV="1">
            <a:off x="2921699" y="1173298"/>
            <a:ext cx="1670935" cy="206807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472" name="Freeform 471"/>
          <p:cNvSpPr/>
          <p:nvPr/>
        </p:nvSpPr>
        <p:spPr>
          <a:xfrm>
            <a:off x="9274176" y="1422401"/>
            <a:ext cx="2919412" cy="2524125"/>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000" dirty="0">
              <a:solidFill>
                <a:prstClr val="white"/>
              </a:solidFill>
            </a:endParaRPr>
          </a:p>
        </p:txBody>
      </p:sp>
      <p:sp>
        <p:nvSpPr>
          <p:cNvPr id="477" name="Freeform 476"/>
          <p:cNvSpPr/>
          <p:nvPr/>
        </p:nvSpPr>
        <p:spPr>
          <a:xfrm>
            <a:off x="9436102" y="2389189"/>
            <a:ext cx="2757487" cy="1595437"/>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000" dirty="0">
              <a:solidFill>
                <a:prstClr val="white"/>
              </a:solidFill>
            </a:endParaRPr>
          </a:p>
        </p:txBody>
      </p:sp>
      <p:sp>
        <p:nvSpPr>
          <p:cNvPr id="478" name="Freeform 477"/>
          <p:cNvSpPr/>
          <p:nvPr/>
        </p:nvSpPr>
        <p:spPr>
          <a:xfrm>
            <a:off x="9659939" y="2470151"/>
            <a:ext cx="2524125" cy="1681163"/>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000" dirty="0">
              <a:solidFill>
                <a:prstClr val="white"/>
              </a:solidFill>
            </a:endParaRPr>
          </a:p>
        </p:txBody>
      </p:sp>
      <p:sp>
        <p:nvSpPr>
          <p:cNvPr id="675" name="Freeform 674"/>
          <p:cNvSpPr/>
          <p:nvPr/>
        </p:nvSpPr>
        <p:spPr>
          <a:xfrm>
            <a:off x="9736139" y="3260725"/>
            <a:ext cx="2462213" cy="1581150"/>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676" name="Freeform 675"/>
          <p:cNvSpPr/>
          <p:nvPr/>
        </p:nvSpPr>
        <p:spPr>
          <a:xfrm>
            <a:off x="8561388" y="3841750"/>
            <a:ext cx="3644900" cy="2628900"/>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677" name="Freeform 676"/>
          <p:cNvSpPr/>
          <p:nvPr/>
        </p:nvSpPr>
        <p:spPr>
          <a:xfrm>
            <a:off x="8485188" y="3905250"/>
            <a:ext cx="3714750" cy="2781300"/>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grpSp>
        <p:nvGrpSpPr>
          <p:cNvPr id="678" name="Group 677"/>
          <p:cNvGrpSpPr/>
          <p:nvPr/>
        </p:nvGrpSpPr>
        <p:grpSpPr>
          <a:xfrm flipV="1">
            <a:off x="5143588" y="12700"/>
            <a:ext cx="2901950" cy="2216150"/>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grpSp>
      <p:sp>
        <p:nvSpPr>
          <p:cNvPr id="679" name="Freeform 678"/>
          <p:cNvSpPr/>
          <p:nvPr/>
        </p:nvSpPr>
        <p:spPr>
          <a:xfrm>
            <a:off x="10460038" y="4121150"/>
            <a:ext cx="1727200" cy="977900"/>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681" name="Freeform 680"/>
          <p:cNvSpPr/>
          <p:nvPr/>
        </p:nvSpPr>
        <p:spPr>
          <a:xfrm>
            <a:off x="7431088" y="4273550"/>
            <a:ext cx="2597150" cy="2616200"/>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682" name="Freeform 681"/>
          <p:cNvSpPr/>
          <p:nvPr/>
        </p:nvSpPr>
        <p:spPr>
          <a:xfrm>
            <a:off x="7005638" y="4394200"/>
            <a:ext cx="2546350" cy="2463800"/>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683" name="Freeform 682"/>
          <p:cNvSpPr/>
          <p:nvPr/>
        </p:nvSpPr>
        <p:spPr>
          <a:xfrm>
            <a:off x="6865938" y="4273550"/>
            <a:ext cx="2971800" cy="2597150"/>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728" name="Freeform 727"/>
          <p:cNvSpPr/>
          <p:nvPr/>
        </p:nvSpPr>
        <p:spPr>
          <a:xfrm rot="8100000" flipH="1" flipV="1">
            <a:off x="5299032" y="3340640"/>
            <a:ext cx="2384108" cy="2272261"/>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776" name="Freeform 775"/>
          <p:cNvSpPr/>
          <p:nvPr/>
        </p:nvSpPr>
        <p:spPr>
          <a:xfrm>
            <a:off x="2328319" y="2537759"/>
            <a:ext cx="2578769" cy="1294598"/>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777" name="Freeform 776"/>
          <p:cNvSpPr/>
          <p:nvPr/>
        </p:nvSpPr>
        <p:spPr>
          <a:xfrm>
            <a:off x="2408720" y="127000"/>
            <a:ext cx="3231668" cy="1386840"/>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780" name="Freeform 779"/>
          <p:cNvSpPr/>
          <p:nvPr/>
        </p:nvSpPr>
        <p:spPr>
          <a:xfrm>
            <a:off x="2425406" y="2179638"/>
            <a:ext cx="2510132" cy="342900"/>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784" name="Freeform 783"/>
          <p:cNvSpPr/>
          <p:nvPr/>
        </p:nvSpPr>
        <p:spPr>
          <a:xfrm>
            <a:off x="6421639" y="2669273"/>
            <a:ext cx="2916454" cy="4215864"/>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785" name="Freeform 784"/>
          <p:cNvSpPr/>
          <p:nvPr/>
        </p:nvSpPr>
        <p:spPr>
          <a:xfrm>
            <a:off x="8750952" y="2650023"/>
            <a:ext cx="134754" cy="2021305"/>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02" name="Freeform 801"/>
          <p:cNvSpPr/>
          <p:nvPr/>
        </p:nvSpPr>
        <p:spPr>
          <a:xfrm>
            <a:off x="2263776" y="1274763"/>
            <a:ext cx="723900" cy="176212"/>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03" name="Freeform 802"/>
          <p:cNvSpPr/>
          <p:nvPr/>
        </p:nvSpPr>
        <p:spPr>
          <a:xfrm>
            <a:off x="2296395" y="1284288"/>
            <a:ext cx="938213" cy="214312"/>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04" name="Freeform 803"/>
          <p:cNvSpPr/>
          <p:nvPr/>
        </p:nvSpPr>
        <p:spPr>
          <a:xfrm>
            <a:off x="3402014" y="1112838"/>
            <a:ext cx="671513" cy="3667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05" name="Freeform 804"/>
          <p:cNvSpPr/>
          <p:nvPr/>
        </p:nvSpPr>
        <p:spPr>
          <a:xfrm>
            <a:off x="8240814" y="2226511"/>
            <a:ext cx="433137" cy="1097280"/>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06" name="Freeform 805"/>
          <p:cNvSpPr/>
          <p:nvPr/>
        </p:nvSpPr>
        <p:spPr>
          <a:xfrm>
            <a:off x="8221563" y="3651049"/>
            <a:ext cx="385010" cy="1078030"/>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07" name="Freeform 806"/>
          <p:cNvSpPr/>
          <p:nvPr/>
        </p:nvSpPr>
        <p:spPr>
          <a:xfrm>
            <a:off x="8240814" y="3959059"/>
            <a:ext cx="231007"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08" name="Freeform 807"/>
          <p:cNvSpPr/>
          <p:nvPr/>
        </p:nvSpPr>
        <p:spPr>
          <a:xfrm>
            <a:off x="611188" y="3644900"/>
            <a:ext cx="6426200" cy="323850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09" name="Freeform 808"/>
          <p:cNvSpPr/>
          <p:nvPr/>
        </p:nvSpPr>
        <p:spPr>
          <a:xfrm>
            <a:off x="763588" y="3975100"/>
            <a:ext cx="6261100" cy="2895600"/>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11" name="Freeform 810"/>
          <p:cNvSpPr/>
          <p:nvPr/>
        </p:nvSpPr>
        <p:spPr>
          <a:xfrm>
            <a:off x="1068388" y="4318000"/>
            <a:ext cx="6896100" cy="2540000"/>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12" name="Freeform 811"/>
          <p:cNvSpPr/>
          <p:nvPr/>
        </p:nvSpPr>
        <p:spPr>
          <a:xfrm>
            <a:off x="6923088" y="4241800"/>
            <a:ext cx="723900" cy="1651000"/>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13" name="Freeform 812"/>
          <p:cNvSpPr/>
          <p:nvPr/>
        </p:nvSpPr>
        <p:spPr>
          <a:xfrm>
            <a:off x="7024688" y="4241800"/>
            <a:ext cx="330200" cy="1181100"/>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14" name="Freeform 813"/>
          <p:cNvSpPr/>
          <p:nvPr/>
        </p:nvSpPr>
        <p:spPr>
          <a:xfrm>
            <a:off x="6797024" y="2274638"/>
            <a:ext cx="856648" cy="798897"/>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15" name="Freeform 814"/>
          <p:cNvSpPr/>
          <p:nvPr/>
        </p:nvSpPr>
        <p:spPr>
          <a:xfrm>
            <a:off x="6797025" y="2120633"/>
            <a:ext cx="1135781" cy="914400"/>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16" name="Freeform 815"/>
          <p:cNvSpPr/>
          <p:nvPr/>
        </p:nvSpPr>
        <p:spPr>
          <a:xfrm>
            <a:off x="6787399" y="1976254"/>
            <a:ext cx="510138"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818" name="Freeform 817"/>
          <p:cNvSpPr/>
          <p:nvPr/>
        </p:nvSpPr>
        <p:spPr>
          <a:xfrm>
            <a:off x="9336088" y="523240"/>
            <a:ext cx="1059180" cy="419100"/>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000" dirty="0">
              <a:solidFill>
                <a:prstClr val="white"/>
              </a:solidFill>
            </a:endParaRPr>
          </a:p>
        </p:txBody>
      </p:sp>
      <p:sp>
        <p:nvSpPr>
          <p:cNvPr id="819" name="Freeform 818"/>
          <p:cNvSpPr/>
          <p:nvPr/>
        </p:nvSpPr>
        <p:spPr>
          <a:xfrm>
            <a:off x="8932228" y="340360"/>
            <a:ext cx="1455420" cy="58674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grpSp>
        <p:nvGrpSpPr>
          <p:cNvPr id="1157" name="Group 1156"/>
          <p:cNvGrpSpPr/>
          <p:nvPr/>
        </p:nvGrpSpPr>
        <p:grpSpPr>
          <a:xfrm>
            <a:off x="7011121" y="3018642"/>
            <a:ext cx="1243820" cy="1243814"/>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88105"/>
              <a:endParaRPr lang="en-US" sz="2200" dirty="0">
                <a:solidFill>
                  <a:prstClr val="white"/>
                </a:solidFill>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1400" dirty="0">
                  <a:solidFill>
                    <a:prstClr val="white"/>
                  </a:solidFill>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088105"/>
                <a:endParaRPr lang="en-US" sz="1400" dirty="0">
                  <a:solidFill>
                    <a:prstClr val="white"/>
                  </a:solidFill>
                </a:endParaRPr>
              </a:p>
            </p:txBody>
          </p:sp>
        </p:grpSp>
      </p:grpSp>
      <p:sp>
        <p:nvSpPr>
          <p:cNvPr id="448" name="Freeform 447"/>
          <p:cNvSpPr/>
          <p:nvPr/>
        </p:nvSpPr>
        <p:spPr>
          <a:xfrm>
            <a:off x="753869" y="5138367"/>
            <a:ext cx="2498446" cy="164507"/>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789" name="Freeform 788"/>
          <p:cNvSpPr/>
          <p:nvPr/>
        </p:nvSpPr>
        <p:spPr>
          <a:xfrm>
            <a:off x="10183882" y="4851338"/>
            <a:ext cx="271697" cy="391563"/>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790" name="Freeform 789"/>
          <p:cNvSpPr/>
          <p:nvPr/>
        </p:nvSpPr>
        <p:spPr>
          <a:xfrm>
            <a:off x="10887097" y="5003167"/>
            <a:ext cx="159822" cy="26370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sp>
        <p:nvSpPr>
          <p:cNvPr id="791" name="Freeform 790"/>
          <p:cNvSpPr/>
          <p:nvPr/>
        </p:nvSpPr>
        <p:spPr>
          <a:xfrm>
            <a:off x="9184995" y="5602499"/>
            <a:ext cx="663260" cy="807100"/>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grpSp>
        <p:nvGrpSpPr>
          <p:cNvPr id="7" name="Group 6"/>
          <p:cNvGrpSpPr/>
          <p:nvPr/>
        </p:nvGrpSpPr>
        <p:grpSpPr>
          <a:xfrm>
            <a:off x="332715" y="1126909"/>
            <a:ext cx="3856602" cy="2026356"/>
            <a:chOff x="8223607" y="6992914"/>
            <a:chExt cx="3856602" cy="2026356"/>
          </a:xfrm>
        </p:grpSpPr>
        <p:sp>
          <p:nvSpPr>
            <p:cNvPr id="800" name="Freeform 799"/>
            <p:cNvSpPr/>
            <p:nvPr/>
          </p:nvSpPr>
          <p:spPr>
            <a:xfrm>
              <a:off x="9639804" y="8133815"/>
              <a:ext cx="119866" cy="0"/>
            </a:xfrm>
            <a:custGeom>
              <a:avLst/>
              <a:gdLst>
                <a:gd name="connsiteX0" fmla="*/ 114300 w 114300"/>
                <a:gd name="connsiteY0" fmla="*/ 0 h 0"/>
                <a:gd name="connsiteX1" fmla="*/ 0 w 114300"/>
                <a:gd name="connsiteY1" fmla="*/ 0 h 0"/>
              </a:gdLst>
              <a:ahLst/>
              <a:cxnLst>
                <a:cxn ang="0">
                  <a:pos x="connsiteX0" y="connsiteY0"/>
                </a:cxn>
                <a:cxn ang="0">
                  <a:pos x="connsiteX1" y="connsiteY1"/>
                </a:cxn>
              </a:cxnLst>
              <a:rect l="l" t="t" r="r" b="b"/>
              <a:pathLst>
                <a:path w="114300">
                  <a:moveTo>
                    <a:pt x="114300" y="0"/>
                  </a:moveTo>
                  <a:lnTo>
                    <a:pt x="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105"/>
              <a:endParaRPr lang="en-US" sz="2200" dirty="0">
                <a:solidFill>
                  <a:prstClr val="white"/>
                </a:solidFill>
              </a:endParaRPr>
            </a:p>
          </p:txBody>
        </p:sp>
        <p:grpSp>
          <p:nvGrpSpPr>
            <p:cNvPr id="37" name="Group 36"/>
            <p:cNvGrpSpPr/>
            <p:nvPr/>
          </p:nvGrpSpPr>
          <p:grpSpPr>
            <a:xfrm>
              <a:off x="8223607" y="6992914"/>
              <a:ext cx="1772655" cy="2026354"/>
              <a:chOff x="8344384" y="4680114"/>
              <a:chExt cx="1690338" cy="1945226"/>
            </a:xfrm>
          </p:grpSpPr>
          <p:sp>
            <p:nvSpPr>
              <p:cNvPr id="593" name="Rectangle 592"/>
              <p:cNvSpPr/>
              <p:nvPr/>
            </p:nvSpPr>
            <p:spPr>
              <a:xfrm>
                <a:off x="8344384" y="4680114"/>
                <a:ext cx="1690338" cy="19452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1088105"/>
                <a:endParaRPr lang="en-US" sz="1200" dirty="0">
                  <a:solidFill>
                    <a:prstClr val="white"/>
                  </a:solidFill>
                </a:endParaRPr>
              </a:p>
            </p:txBody>
          </p:sp>
          <p:grpSp>
            <p:nvGrpSpPr>
              <p:cNvPr id="594" name="Group 593"/>
              <p:cNvGrpSpPr/>
              <p:nvPr/>
            </p:nvGrpSpPr>
            <p:grpSpPr>
              <a:xfrm>
                <a:off x="8524510" y="5014730"/>
                <a:ext cx="1285242" cy="1279295"/>
                <a:chOff x="10028285" y="16223"/>
                <a:chExt cx="2145645" cy="2081343"/>
              </a:xfrm>
            </p:grpSpPr>
            <p:sp>
              <p:nvSpPr>
                <p:cNvPr id="595" name="Freeform 594"/>
                <p:cNvSpPr>
                  <a:spLocks/>
                </p:cNvSpPr>
                <p:nvPr/>
              </p:nvSpPr>
              <p:spPr bwMode="auto">
                <a:xfrm rot="5400000">
                  <a:off x="10396525" y="55967"/>
                  <a:ext cx="1408022" cy="2144502"/>
                </a:xfrm>
                <a:custGeom>
                  <a:avLst/>
                  <a:gdLst>
                    <a:gd name="connsiteX0" fmla="*/ 0 w 1408022"/>
                    <a:gd name="connsiteY0" fmla="*/ 5689 h 2144502"/>
                    <a:gd name="connsiteX1" fmla="*/ 37313 w 1408022"/>
                    <a:gd name="connsiteY1" fmla="*/ 0 h 2144502"/>
                    <a:gd name="connsiteX2" fmla="*/ 39508 w 1408022"/>
                    <a:gd name="connsiteY2" fmla="*/ 113781 h 2144502"/>
                    <a:gd name="connsiteX3" fmla="*/ 68042 w 1408022"/>
                    <a:gd name="connsiteY3" fmla="*/ 270799 h 2144502"/>
                    <a:gd name="connsiteX4" fmla="*/ 199735 w 1408022"/>
                    <a:gd name="connsiteY4" fmla="*/ 309485 h 2144502"/>
                    <a:gd name="connsiteX5" fmla="*/ 567379 w 1408022"/>
                    <a:gd name="connsiteY5" fmla="*/ 309485 h 2144502"/>
                    <a:gd name="connsiteX6" fmla="*/ 911977 w 1408022"/>
                    <a:gd name="connsiteY6" fmla="*/ 508602 h 2144502"/>
                    <a:gd name="connsiteX7" fmla="*/ 911977 w 1408022"/>
                    <a:gd name="connsiteY7" fmla="*/ 512016 h 2144502"/>
                    <a:gd name="connsiteX8" fmla="*/ 913074 w 1408022"/>
                    <a:gd name="connsiteY8" fmla="*/ 629211 h 2144502"/>
                    <a:gd name="connsiteX9" fmla="*/ 962459 w 1408022"/>
                    <a:gd name="connsiteY9" fmla="*/ 880668 h 2144502"/>
                    <a:gd name="connsiteX10" fmla="*/ 1213774 w 1408022"/>
                    <a:gd name="connsiteY10" fmla="*/ 926180 h 2144502"/>
                    <a:gd name="connsiteX11" fmla="*/ 1402535 w 1408022"/>
                    <a:gd name="connsiteY11" fmla="*/ 1108230 h 2144502"/>
                    <a:gd name="connsiteX12" fmla="*/ 1408022 w 1408022"/>
                    <a:gd name="connsiteY12" fmla="*/ 1144640 h 2144502"/>
                    <a:gd name="connsiteX13" fmla="*/ 1408022 w 1408022"/>
                    <a:gd name="connsiteY13" fmla="*/ 1149192 h 2144502"/>
                    <a:gd name="connsiteX14" fmla="*/ 1403632 w 1408022"/>
                    <a:gd name="connsiteY14" fmla="*/ 1656657 h 2144502"/>
                    <a:gd name="connsiteX15" fmla="*/ 1403632 w 1408022"/>
                    <a:gd name="connsiteY15" fmla="*/ 1658932 h 2144502"/>
                    <a:gd name="connsiteX16" fmla="*/ 1181948 w 1408022"/>
                    <a:gd name="connsiteY16" fmla="*/ 1899011 h 2144502"/>
                    <a:gd name="connsiteX17" fmla="*/ 1178656 w 1408022"/>
                    <a:gd name="connsiteY17" fmla="*/ 1899011 h 2144502"/>
                    <a:gd name="connsiteX18" fmla="*/ 1030501 w 1408022"/>
                    <a:gd name="connsiteY18" fmla="*/ 1894460 h 2144502"/>
                    <a:gd name="connsiteX19" fmla="*/ 848325 w 1408022"/>
                    <a:gd name="connsiteY19" fmla="*/ 2053754 h 2144502"/>
                    <a:gd name="connsiteX20" fmla="*/ 847471 w 1408022"/>
                    <a:gd name="connsiteY20" fmla="*/ 2144502 h 2144502"/>
                    <a:gd name="connsiteX21" fmla="*/ 810158 w 1408022"/>
                    <a:gd name="connsiteY21" fmla="*/ 2144502 h 2144502"/>
                    <a:gd name="connsiteX22" fmla="*/ 810463 w 1408022"/>
                    <a:gd name="connsiteY22" fmla="*/ 2112067 h 2144502"/>
                    <a:gd name="connsiteX23" fmla="*/ 811012 w 1408022"/>
                    <a:gd name="connsiteY23" fmla="*/ 2053754 h 2144502"/>
                    <a:gd name="connsiteX24" fmla="*/ 811012 w 1408022"/>
                    <a:gd name="connsiteY24" fmla="*/ 2052616 h 2144502"/>
                    <a:gd name="connsiteX25" fmla="*/ 1028306 w 1408022"/>
                    <a:gd name="connsiteY25" fmla="*/ 1855774 h 2144502"/>
                    <a:gd name="connsiteX26" fmla="*/ 1030501 w 1408022"/>
                    <a:gd name="connsiteY26" fmla="*/ 1855774 h 2144502"/>
                    <a:gd name="connsiteX27" fmla="*/ 1178656 w 1408022"/>
                    <a:gd name="connsiteY27" fmla="*/ 1860325 h 2144502"/>
                    <a:gd name="connsiteX28" fmla="*/ 1366319 w 1408022"/>
                    <a:gd name="connsiteY28" fmla="*/ 1654381 h 2144502"/>
                    <a:gd name="connsiteX29" fmla="*/ 1370709 w 1408022"/>
                    <a:gd name="connsiteY29" fmla="*/ 1151467 h 2144502"/>
                    <a:gd name="connsiteX30" fmla="*/ 1365222 w 1408022"/>
                    <a:gd name="connsiteY30" fmla="*/ 1113919 h 2144502"/>
                    <a:gd name="connsiteX31" fmla="*/ 1217067 w 1408022"/>
                    <a:gd name="connsiteY31" fmla="*/ 964866 h 2144502"/>
                    <a:gd name="connsiteX32" fmla="*/ 937218 w 1408022"/>
                    <a:gd name="connsiteY32" fmla="*/ 909113 h 2144502"/>
                    <a:gd name="connsiteX33" fmla="*/ 875761 w 1408022"/>
                    <a:gd name="connsiteY33" fmla="*/ 628073 h 2144502"/>
                    <a:gd name="connsiteX34" fmla="*/ 874664 w 1408022"/>
                    <a:gd name="connsiteY34" fmla="*/ 515429 h 2144502"/>
                    <a:gd name="connsiteX35" fmla="*/ 569574 w 1408022"/>
                    <a:gd name="connsiteY35" fmla="*/ 348171 h 2144502"/>
                    <a:gd name="connsiteX36" fmla="*/ 568477 w 1408022"/>
                    <a:gd name="connsiteY36" fmla="*/ 348171 h 2144502"/>
                    <a:gd name="connsiteX37" fmla="*/ 199735 w 1408022"/>
                    <a:gd name="connsiteY37" fmla="*/ 348171 h 2144502"/>
                    <a:gd name="connsiteX38" fmla="*/ 40605 w 1408022"/>
                    <a:gd name="connsiteY38" fmla="*/ 296969 h 2144502"/>
                    <a:gd name="connsiteX39" fmla="*/ 2195 w 1408022"/>
                    <a:gd name="connsiteY39" fmla="*/ 112643 h 2144502"/>
                    <a:gd name="connsiteX40" fmla="*/ 0 w 1408022"/>
                    <a:gd name="connsiteY40" fmla="*/ 5689 h 214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408022" h="2144502">
                      <a:moveTo>
                        <a:pt x="0" y="5689"/>
                      </a:moveTo>
                      <a:cubicBezTo>
                        <a:pt x="37313" y="0"/>
                        <a:pt x="37313" y="0"/>
                        <a:pt x="37313" y="0"/>
                      </a:cubicBezTo>
                      <a:cubicBezTo>
                        <a:pt x="41703" y="38685"/>
                        <a:pt x="40605" y="77371"/>
                        <a:pt x="39508" y="113781"/>
                      </a:cubicBezTo>
                      <a:cubicBezTo>
                        <a:pt x="37313" y="179774"/>
                        <a:pt x="36216" y="236665"/>
                        <a:pt x="68042" y="270799"/>
                      </a:cubicBezTo>
                      <a:cubicBezTo>
                        <a:pt x="92185" y="296969"/>
                        <a:pt x="134986" y="309485"/>
                        <a:pt x="199735" y="309485"/>
                      </a:cubicBezTo>
                      <a:cubicBezTo>
                        <a:pt x="567379" y="309485"/>
                        <a:pt x="567379" y="309485"/>
                        <a:pt x="567379" y="309485"/>
                      </a:cubicBezTo>
                      <a:cubicBezTo>
                        <a:pt x="688098" y="301520"/>
                        <a:pt x="881248" y="359549"/>
                        <a:pt x="911977" y="508602"/>
                      </a:cubicBezTo>
                      <a:cubicBezTo>
                        <a:pt x="911977" y="509740"/>
                        <a:pt x="911977" y="510878"/>
                        <a:pt x="911977" y="512016"/>
                      </a:cubicBezTo>
                      <a:cubicBezTo>
                        <a:pt x="914172" y="552977"/>
                        <a:pt x="913074" y="591663"/>
                        <a:pt x="913074" y="629211"/>
                      </a:cubicBezTo>
                      <a:cubicBezTo>
                        <a:pt x="911977" y="741854"/>
                        <a:pt x="910879" y="831742"/>
                        <a:pt x="962459" y="880668"/>
                      </a:cubicBezTo>
                      <a:cubicBezTo>
                        <a:pt x="1006357" y="922767"/>
                        <a:pt x="1085373" y="937558"/>
                        <a:pt x="1213774" y="926180"/>
                      </a:cubicBezTo>
                      <a:cubicBezTo>
                        <a:pt x="1376196" y="914802"/>
                        <a:pt x="1392658" y="1036548"/>
                        <a:pt x="1402535" y="1108230"/>
                      </a:cubicBezTo>
                      <a:cubicBezTo>
                        <a:pt x="1403632" y="1121884"/>
                        <a:pt x="1405827" y="1134400"/>
                        <a:pt x="1408022" y="1144640"/>
                      </a:cubicBezTo>
                      <a:cubicBezTo>
                        <a:pt x="1408022" y="1146916"/>
                        <a:pt x="1408022" y="1148054"/>
                        <a:pt x="1408022" y="1149192"/>
                      </a:cubicBezTo>
                      <a:cubicBezTo>
                        <a:pt x="1403632" y="1656657"/>
                        <a:pt x="1403632" y="1656657"/>
                        <a:pt x="1403632" y="1656657"/>
                      </a:cubicBezTo>
                      <a:cubicBezTo>
                        <a:pt x="1403632" y="1656657"/>
                        <a:pt x="1403632" y="1657794"/>
                        <a:pt x="1403632" y="1658932"/>
                      </a:cubicBezTo>
                      <a:cubicBezTo>
                        <a:pt x="1381683" y="1843258"/>
                        <a:pt x="1298278" y="1887633"/>
                        <a:pt x="1181948" y="1899011"/>
                      </a:cubicBezTo>
                      <a:cubicBezTo>
                        <a:pt x="1180851" y="1899011"/>
                        <a:pt x="1179753" y="1899011"/>
                        <a:pt x="1178656" y="1899011"/>
                      </a:cubicBezTo>
                      <a:cubicBezTo>
                        <a:pt x="1030501" y="1894460"/>
                        <a:pt x="1030501" y="1894460"/>
                        <a:pt x="1030501" y="1894460"/>
                      </a:cubicBezTo>
                      <a:cubicBezTo>
                        <a:pt x="859300" y="1909251"/>
                        <a:pt x="849423" y="2037824"/>
                        <a:pt x="848325" y="2053754"/>
                      </a:cubicBezTo>
                      <a:lnTo>
                        <a:pt x="847471" y="2144502"/>
                      </a:lnTo>
                      <a:lnTo>
                        <a:pt x="810158" y="2144502"/>
                      </a:lnTo>
                      <a:lnTo>
                        <a:pt x="810463" y="2112067"/>
                      </a:lnTo>
                      <a:cubicBezTo>
                        <a:pt x="811012" y="2053754"/>
                        <a:pt x="811012" y="2053754"/>
                        <a:pt x="811012" y="2053754"/>
                      </a:cubicBezTo>
                      <a:cubicBezTo>
                        <a:pt x="811012" y="2052616"/>
                        <a:pt x="811012" y="2052616"/>
                        <a:pt x="811012" y="2052616"/>
                      </a:cubicBezTo>
                      <a:cubicBezTo>
                        <a:pt x="812109" y="2034411"/>
                        <a:pt x="823084" y="1872841"/>
                        <a:pt x="1028306" y="1855774"/>
                      </a:cubicBezTo>
                      <a:cubicBezTo>
                        <a:pt x="1029404" y="1855774"/>
                        <a:pt x="1030501" y="1855774"/>
                        <a:pt x="1030501" y="1855774"/>
                      </a:cubicBezTo>
                      <a:cubicBezTo>
                        <a:pt x="1178656" y="1860325"/>
                        <a:pt x="1178656" y="1860325"/>
                        <a:pt x="1178656" y="1860325"/>
                      </a:cubicBezTo>
                      <a:cubicBezTo>
                        <a:pt x="1285108" y="1850085"/>
                        <a:pt x="1346565" y="1813675"/>
                        <a:pt x="1366319" y="1654381"/>
                      </a:cubicBezTo>
                      <a:cubicBezTo>
                        <a:pt x="1370709" y="1151467"/>
                        <a:pt x="1370709" y="1151467"/>
                        <a:pt x="1370709" y="1151467"/>
                      </a:cubicBezTo>
                      <a:cubicBezTo>
                        <a:pt x="1368514" y="1140089"/>
                        <a:pt x="1367417" y="1127573"/>
                        <a:pt x="1365222" y="1113919"/>
                      </a:cubicBezTo>
                      <a:cubicBezTo>
                        <a:pt x="1354247" y="1036548"/>
                        <a:pt x="1344370" y="955763"/>
                        <a:pt x="1217067" y="964866"/>
                      </a:cubicBezTo>
                      <a:cubicBezTo>
                        <a:pt x="1077691" y="977382"/>
                        <a:pt x="988798" y="959177"/>
                        <a:pt x="937218" y="909113"/>
                      </a:cubicBezTo>
                      <a:cubicBezTo>
                        <a:pt x="873566" y="847671"/>
                        <a:pt x="874664" y="746406"/>
                        <a:pt x="875761" y="628073"/>
                      </a:cubicBezTo>
                      <a:cubicBezTo>
                        <a:pt x="875761" y="592801"/>
                        <a:pt x="876859" y="555253"/>
                        <a:pt x="874664" y="515429"/>
                      </a:cubicBezTo>
                      <a:cubicBezTo>
                        <a:pt x="848325" y="394821"/>
                        <a:pt x="681513" y="341344"/>
                        <a:pt x="569574" y="348171"/>
                      </a:cubicBezTo>
                      <a:cubicBezTo>
                        <a:pt x="569574" y="348171"/>
                        <a:pt x="568477" y="348171"/>
                        <a:pt x="568477" y="348171"/>
                      </a:cubicBezTo>
                      <a:cubicBezTo>
                        <a:pt x="199735" y="348171"/>
                        <a:pt x="199735" y="348171"/>
                        <a:pt x="199735" y="348171"/>
                      </a:cubicBezTo>
                      <a:cubicBezTo>
                        <a:pt x="124011" y="348171"/>
                        <a:pt x="72431" y="331103"/>
                        <a:pt x="40605" y="296969"/>
                      </a:cubicBezTo>
                      <a:cubicBezTo>
                        <a:pt x="-2195" y="251456"/>
                        <a:pt x="0" y="184325"/>
                        <a:pt x="2195" y="112643"/>
                      </a:cubicBezTo>
                      <a:cubicBezTo>
                        <a:pt x="3292" y="77371"/>
                        <a:pt x="4390" y="39823"/>
                        <a:pt x="0" y="5689"/>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defTabSz="1088105"/>
                  <a:endParaRPr lang="en-US" sz="2200" dirty="0">
                    <a:solidFill>
                      <a:srgbClr val="505050"/>
                    </a:solidFill>
                  </a:endParaRPr>
                </a:p>
              </p:txBody>
            </p:sp>
            <p:sp>
              <p:nvSpPr>
                <p:cNvPr id="596" name="Freeform 595"/>
                <p:cNvSpPr>
                  <a:spLocks/>
                </p:cNvSpPr>
                <p:nvPr/>
              </p:nvSpPr>
              <p:spPr bwMode="auto">
                <a:xfrm rot="5400000">
                  <a:off x="10542060" y="-149976"/>
                  <a:ext cx="1109410" cy="2136959"/>
                </a:xfrm>
                <a:custGeom>
                  <a:avLst/>
                  <a:gdLst>
                    <a:gd name="connsiteX0" fmla="*/ 0 w 1109410"/>
                    <a:gd name="connsiteY0" fmla="*/ 897480 h 2136959"/>
                    <a:gd name="connsiteX1" fmla="*/ 0 w 1109410"/>
                    <a:gd name="connsiteY1" fmla="*/ 895205 h 2136959"/>
                    <a:gd name="connsiteX2" fmla="*/ 77903 w 1109410"/>
                    <a:gd name="connsiteY2" fmla="*/ 723444 h 2136959"/>
                    <a:gd name="connsiteX3" fmla="*/ 274307 w 1109410"/>
                    <a:gd name="connsiteY3" fmla="*/ 679082 h 2136959"/>
                    <a:gd name="connsiteX4" fmla="*/ 904116 w 1109410"/>
                    <a:gd name="connsiteY4" fmla="*/ 684770 h 2136959"/>
                    <a:gd name="connsiteX5" fmla="*/ 1053339 w 1109410"/>
                    <a:gd name="connsiteY5" fmla="*/ 478884 h 2136959"/>
                    <a:gd name="connsiteX6" fmla="*/ 1048950 w 1109410"/>
                    <a:gd name="connsiteY6" fmla="*/ 0 h 2136959"/>
                    <a:gd name="connsiteX7" fmla="*/ 1086256 w 1109410"/>
                    <a:gd name="connsiteY7" fmla="*/ 0 h 2136959"/>
                    <a:gd name="connsiteX8" fmla="*/ 1090645 w 1109410"/>
                    <a:gd name="connsiteY8" fmla="*/ 480022 h 2136959"/>
                    <a:gd name="connsiteX9" fmla="*/ 1090645 w 1109410"/>
                    <a:gd name="connsiteY9" fmla="*/ 483434 h 2136959"/>
                    <a:gd name="connsiteX10" fmla="*/ 907408 w 1109410"/>
                    <a:gd name="connsiteY10" fmla="*/ 723444 h 2136959"/>
                    <a:gd name="connsiteX11" fmla="*/ 905213 w 1109410"/>
                    <a:gd name="connsiteY11" fmla="*/ 723444 h 2136959"/>
                    <a:gd name="connsiteX12" fmla="*/ 273210 w 1109410"/>
                    <a:gd name="connsiteY12" fmla="*/ 717757 h 2136959"/>
                    <a:gd name="connsiteX13" fmla="*/ 271015 w 1109410"/>
                    <a:gd name="connsiteY13" fmla="*/ 717757 h 2136959"/>
                    <a:gd name="connsiteX14" fmla="*/ 100945 w 1109410"/>
                    <a:gd name="connsiteY14" fmla="*/ 753019 h 2136959"/>
                    <a:gd name="connsiteX15" fmla="*/ 37306 w 1109410"/>
                    <a:gd name="connsiteY15" fmla="*/ 897480 h 2136959"/>
                    <a:gd name="connsiteX16" fmla="*/ 39500 w 1109410"/>
                    <a:gd name="connsiteY16" fmla="*/ 990754 h 2136959"/>
                    <a:gd name="connsiteX17" fmla="*/ 46084 w 1109410"/>
                    <a:gd name="connsiteY17" fmla="*/ 1152278 h 2136959"/>
                    <a:gd name="connsiteX18" fmla="*/ 254557 w 1109410"/>
                    <a:gd name="connsiteY18" fmla="*/ 1319489 h 2136959"/>
                    <a:gd name="connsiteX19" fmla="*/ 255654 w 1109410"/>
                    <a:gd name="connsiteY19" fmla="*/ 1318351 h 2136959"/>
                    <a:gd name="connsiteX20" fmla="*/ 869005 w 1109410"/>
                    <a:gd name="connsiteY20" fmla="*/ 1318351 h 2136959"/>
                    <a:gd name="connsiteX21" fmla="*/ 1035784 w 1109410"/>
                    <a:gd name="connsiteY21" fmla="*/ 1370676 h 2136959"/>
                    <a:gd name="connsiteX22" fmla="*/ 1108201 w 1109410"/>
                    <a:gd name="connsiteY22" fmla="*/ 1592486 h 2136959"/>
                    <a:gd name="connsiteX23" fmla="*/ 1103007 w 1109410"/>
                    <a:gd name="connsiteY23" fmla="*/ 2136959 h 2136959"/>
                    <a:gd name="connsiteX24" fmla="*/ 1065697 w 1109410"/>
                    <a:gd name="connsiteY24" fmla="*/ 2136959 h 2136959"/>
                    <a:gd name="connsiteX25" fmla="*/ 1066187 w 1109410"/>
                    <a:gd name="connsiteY25" fmla="*/ 2085548 h 2136959"/>
                    <a:gd name="connsiteX26" fmla="*/ 1070895 w 1109410"/>
                    <a:gd name="connsiteY26" fmla="*/ 1591349 h 2136959"/>
                    <a:gd name="connsiteX27" fmla="*/ 1070895 w 1109410"/>
                    <a:gd name="connsiteY27" fmla="*/ 1589073 h 2136959"/>
                    <a:gd name="connsiteX28" fmla="*/ 1010547 w 1109410"/>
                    <a:gd name="connsiteY28" fmla="*/ 1397975 h 2136959"/>
                    <a:gd name="connsiteX29" fmla="*/ 872297 w 1109410"/>
                    <a:gd name="connsiteY29" fmla="*/ 1357026 h 2136959"/>
                    <a:gd name="connsiteX30" fmla="*/ 870102 w 1109410"/>
                    <a:gd name="connsiteY30" fmla="*/ 1358163 h 2136959"/>
                    <a:gd name="connsiteX31" fmla="*/ 256751 w 1109410"/>
                    <a:gd name="connsiteY31" fmla="*/ 1358163 h 2136959"/>
                    <a:gd name="connsiteX32" fmla="*/ 8778 w 1109410"/>
                    <a:gd name="connsiteY32" fmla="*/ 1157965 h 2136959"/>
                    <a:gd name="connsiteX33" fmla="*/ 8778 w 1109410"/>
                    <a:gd name="connsiteY33" fmla="*/ 1156828 h 2136959"/>
                    <a:gd name="connsiteX34" fmla="*/ 1097 w 1109410"/>
                    <a:gd name="connsiteY34" fmla="*/ 990754 h 2136959"/>
                    <a:gd name="connsiteX35" fmla="*/ 0 w 1109410"/>
                    <a:gd name="connsiteY35" fmla="*/ 897480 h 2136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109410" h="2136959">
                      <a:moveTo>
                        <a:pt x="0" y="897480"/>
                      </a:moveTo>
                      <a:cubicBezTo>
                        <a:pt x="0" y="896343"/>
                        <a:pt x="0" y="896343"/>
                        <a:pt x="0" y="895205"/>
                      </a:cubicBezTo>
                      <a:cubicBezTo>
                        <a:pt x="6583" y="818993"/>
                        <a:pt x="32917" y="760982"/>
                        <a:pt x="77903" y="723444"/>
                      </a:cubicBezTo>
                      <a:cubicBezTo>
                        <a:pt x="123987" y="683632"/>
                        <a:pt x="190918" y="668845"/>
                        <a:pt x="274307" y="679082"/>
                      </a:cubicBezTo>
                      <a:cubicBezTo>
                        <a:pt x="904116" y="684770"/>
                        <a:pt x="904116" y="684770"/>
                        <a:pt x="904116" y="684770"/>
                      </a:cubicBezTo>
                      <a:cubicBezTo>
                        <a:pt x="985311" y="674532"/>
                        <a:pt x="1034686" y="605146"/>
                        <a:pt x="1053339" y="478884"/>
                      </a:cubicBezTo>
                      <a:cubicBezTo>
                        <a:pt x="1048950" y="0"/>
                        <a:pt x="1048950" y="0"/>
                        <a:pt x="1048950" y="0"/>
                      </a:cubicBezTo>
                      <a:cubicBezTo>
                        <a:pt x="1086256" y="0"/>
                        <a:pt x="1086256" y="0"/>
                        <a:pt x="1086256" y="0"/>
                      </a:cubicBezTo>
                      <a:cubicBezTo>
                        <a:pt x="1090645" y="480022"/>
                        <a:pt x="1090645" y="480022"/>
                        <a:pt x="1090645" y="480022"/>
                      </a:cubicBezTo>
                      <a:cubicBezTo>
                        <a:pt x="1090645" y="481159"/>
                        <a:pt x="1090645" y="482297"/>
                        <a:pt x="1090645" y="483434"/>
                      </a:cubicBezTo>
                      <a:cubicBezTo>
                        <a:pt x="1064312" y="666570"/>
                        <a:pt x="976533" y="715482"/>
                        <a:pt x="907408" y="723444"/>
                      </a:cubicBezTo>
                      <a:cubicBezTo>
                        <a:pt x="906311" y="723444"/>
                        <a:pt x="906311" y="723444"/>
                        <a:pt x="905213" y="723444"/>
                      </a:cubicBezTo>
                      <a:cubicBezTo>
                        <a:pt x="273210" y="717757"/>
                        <a:pt x="273210" y="717757"/>
                        <a:pt x="273210" y="717757"/>
                      </a:cubicBezTo>
                      <a:cubicBezTo>
                        <a:pt x="272113" y="717757"/>
                        <a:pt x="272113" y="717757"/>
                        <a:pt x="271015" y="717757"/>
                      </a:cubicBezTo>
                      <a:cubicBezTo>
                        <a:pt x="197501" y="708657"/>
                        <a:pt x="139348" y="721169"/>
                        <a:pt x="100945" y="753019"/>
                      </a:cubicBezTo>
                      <a:cubicBezTo>
                        <a:pt x="64737" y="783731"/>
                        <a:pt x="43889" y="832643"/>
                        <a:pt x="37306" y="897480"/>
                      </a:cubicBezTo>
                      <a:cubicBezTo>
                        <a:pt x="38403" y="936155"/>
                        <a:pt x="38403" y="964592"/>
                        <a:pt x="39500" y="990754"/>
                      </a:cubicBezTo>
                      <a:cubicBezTo>
                        <a:pt x="39500" y="1046491"/>
                        <a:pt x="39500" y="1082891"/>
                        <a:pt x="46084" y="1152278"/>
                      </a:cubicBezTo>
                      <a:cubicBezTo>
                        <a:pt x="60348" y="1241002"/>
                        <a:pt x="122890" y="1330863"/>
                        <a:pt x="254557" y="1319489"/>
                      </a:cubicBezTo>
                      <a:cubicBezTo>
                        <a:pt x="254557" y="1318351"/>
                        <a:pt x="255654" y="1318351"/>
                        <a:pt x="255654" y="1318351"/>
                      </a:cubicBezTo>
                      <a:cubicBezTo>
                        <a:pt x="869005" y="1318351"/>
                        <a:pt x="869005" y="1318351"/>
                        <a:pt x="869005" y="1318351"/>
                      </a:cubicBezTo>
                      <a:cubicBezTo>
                        <a:pt x="935936" y="1309251"/>
                        <a:pt x="992992" y="1327451"/>
                        <a:pt x="1035784" y="1370676"/>
                      </a:cubicBezTo>
                      <a:cubicBezTo>
                        <a:pt x="1095034" y="1428688"/>
                        <a:pt x="1114784" y="1524237"/>
                        <a:pt x="1108201" y="1592486"/>
                      </a:cubicBezTo>
                      <a:lnTo>
                        <a:pt x="1103007" y="2136959"/>
                      </a:lnTo>
                      <a:lnTo>
                        <a:pt x="1065697" y="2136959"/>
                      </a:lnTo>
                      <a:lnTo>
                        <a:pt x="1066187" y="2085548"/>
                      </a:lnTo>
                      <a:cubicBezTo>
                        <a:pt x="1070895" y="1591349"/>
                        <a:pt x="1070895" y="1591349"/>
                        <a:pt x="1070895" y="1591349"/>
                      </a:cubicBezTo>
                      <a:cubicBezTo>
                        <a:pt x="1070895" y="1590211"/>
                        <a:pt x="1070895" y="1590211"/>
                        <a:pt x="1070895" y="1589073"/>
                      </a:cubicBezTo>
                      <a:cubicBezTo>
                        <a:pt x="1076381" y="1532199"/>
                        <a:pt x="1059923" y="1448025"/>
                        <a:pt x="1010547" y="1397975"/>
                      </a:cubicBezTo>
                      <a:cubicBezTo>
                        <a:pt x="975436" y="1362713"/>
                        <a:pt x="929353" y="1349063"/>
                        <a:pt x="872297" y="1357026"/>
                      </a:cubicBezTo>
                      <a:cubicBezTo>
                        <a:pt x="872297" y="1358163"/>
                        <a:pt x="871199" y="1358163"/>
                        <a:pt x="870102" y="1358163"/>
                      </a:cubicBezTo>
                      <a:cubicBezTo>
                        <a:pt x="256751" y="1358163"/>
                        <a:pt x="256751" y="1358163"/>
                        <a:pt x="256751" y="1358163"/>
                      </a:cubicBezTo>
                      <a:cubicBezTo>
                        <a:pt x="99848" y="1371813"/>
                        <a:pt x="25236" y="1259202"/>
                        <a:pt x="8778" y="1157965"/>
                      </a:cubicBezTo>
                      <a:cubicBezTo>
                        <a:pt x="8778" y="1157965"/>
                        <a:pt x="8778" y="1156828"/>
                        <a:pt x="8778" y="1156828"/>
                      </a:cubicBezTo>
                      <a:cubicBezTo>
                        <a:pt x="2195" y="1085166"/>
                        <a:pt x="2195" y="1045354"/>
                        <a:pt x="1097" y="990754"/>
                      </a:cubicBezTo>
                      <a:cubicBezTo>
                        <a:pt x="1097" y="964592"/>
                        <a:pt x="1097" y="936155"/>
                        <a:pt x="0" y="897480"/>
                      </a:cubicBezTo>
                      <a:close/>
                    </a:path>
                  </a:pathLst>
                </a:custGeom>
                <a:solidFill>
                  <a:srgbClr val="F78C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defTabSz="1088105"/>
                  <a:endParaRPr lang="en-US" sz="2200" dirty="0">
                    <a:solidFill>
                      <a:srgbClr val="505050"/>
                    </a:solidFill>
                  </a:endParaRPr>
                </a:p>
              </p:txBody>
            </p:sp>
            <p:sp>
              <p:nvSpPr>
                <p:cNvPr id="597" name="Freeform 188"/>
                <p:cNvSpPr>
                  <a:spLocks/>
                </p:cNvSpPr>
                <p:nvPr/>
              </p:nvSpPr>
              <p:spPr bwMode="auto">
                <a:xfrm rot="5400000">
                  <a:off x="11664279" y="1486985"/>
                  <a:ext cx="371110" cy="630819"/>
                </a:xfrm>
                <a:custGeom>
                  <a:avLst/>
                  <a:gdLst>
                    <a:gd name="T0" fmla="*/ 266 w 338"/>
                    <a:gd name="T1" fmla="*/ 555 h 555"/>
                    <a:gd name="T2" fmla="*/ 52 w 338"/>
                    <a:gd name="T3" fmla="*/ 498 h 555"/>
                    <a:gd name="T4" fmla="*/ 0 w 338"/>
                    <a:gd name="T5" fmla="*/ 350 h 555"/>
                    <a:gd name="T6" fmla="*/ 0 w 338"/>
                    <a:gd name="T7" fmla="*/ 0 h 555"/>
                    <a:gd name="T8" fmla="*/ 34 w 338"/>
                    <a:gd name="T9" fmla="*/ 0 h 555"/>
                    <a:gd name="T10" fmla="*/ 34 w 338"/>
                    <a:gd name="T11" fmla="*/ 349 h 555"/>
                    <a:gd name="T12" fmla="*/ 75 w 338"/>
                    <a:gd name="T13" fmla="*/ 472 h 555"/>
                    <a:gd name="T14" fmla="*/ 336 w 338"/>
                    <a:gd name="T15" fmla="*/ 519 h 555"/>
                    <a:gd name="T16" fmla="*/ 338 w 338"/>
                    <a:gd name="T17" fmla="*/ 553 h 555"/>
                    <a:gd name="T18" fmla="*/ 266 w 338"/>
                    <a:gd name="T19" fmla="*/ 555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8" h="555">
                      <a:moveTo>
                        <a:pt x="266" y="555"/>
                      </a:moveTo>
                      <a:cubicBezTo>
                        <a:pt x="165" y="555"/>
                        <a:pt x="95" y="536"/>
                        <a:pt x="52" y="498"/>
                      </a:cubicBezTo>
                      <a:cubicBezTo>
                        <a:pt x="7" y="456"/>
                        <a:pt x="0" y="399"/>
                        <a:pt x="0" y="350"/>
                      </a:cubicBezTo>
                      <a:cubicBezTo>
                        <a:pt x="0" y="0"/>
                        <a:pt x="0" y="0"/>
                        <a:pt x="0" y="0"/>
                      </a:cubicBezTo>
                      <a:cubicBezTo>
                        <a:pt x="34" y="0"/>
                        <a:pt x="34" y="0"/>
                        <a:pt x="34" y="0"/>
                      </a:cubicBezTo>
                      <a:cubicBezTo>
                        <a:pt x="34" y="349"/>
                        <a:pt x="34" y="349"/>
                        <a:pt x="34" y="349"/>
                      </a:cubicBezTo>
                      <a:cubicBezTo>
                        <a:pt x="34" y="392"/>
                        <a:pt x="40" y="440"/>
                        <a:pt x="75" y="472"/>
                      </a:cubicBezTo>
                      <a:cubicBezTo>
                        <a:pt x="120" y="513"/>
                        <a:pt x="205" y="528"/>
                        <a:pt x="336" y="519"/>
                      </a:cubicBezTo>
                      <a:cubicBezTo>
                        <a:pt x="338" y="553"/>
                        <a:pt x="338" y="553"/>
                        <a:pt x="338" y="553"/>
                      </a:cubicBezTo>
                      <a:cubicBezTo>
                        <a:pt x="312" y="555"/>
                        <a:pt x="288" y="555"/>
                        <a:pt x="266" y="555"/>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98" name="Freeform 597"/>
                <p:cNvSpPr>
                  <a:spLocks/>
                </p:cNvSpPr>
                <p:nvPr/>
              </p:nvSpPr>
              <p:spPr bwMode="auto">
                <a:xfrm rot="5400000">
                  <a:off x="10137309" y="1406308"/>
                  <a:ext cx="498812" cy="716860"/>
                </a:xfrm>
                <a:custGeom>
                  <a:avLst/>
                  <a:gdLst>
                    <a:gd name="connsiteX0" fmla="*/ 266 w 498812"/>
                    <a:gd name="connsiteY0" fmla="*/ 294156 h 716860"/>
                    <a:gd name="connsiteX1" fmla="*/ 48040 w 498812"/>
                    <a:gd name="connsiteY1" fmla="*/ 152511 h 716860"/>
                    <a:gd name="connsiteX2" fmla="*/ 176675 w 498812"/>
                    <a:gd name="connsiteY2" fmla="*/ 75117 h 716860"/>
                    <a:gd name="connsiteX3" fmla="*/ 178874 w 498812"/>
                    <a:gd name="connsiteY3" fmla="*/ 75117 h 716860"/>
                    <a:gd name="connsiteX4" fmla="*/ 281122 w 498812"/>
                    <a:gd name="connsiteY4" fmla="*/ 75117 h 716860"/>
                    <a:gd name="connsiteX5" fmla="*/ 349288 w 498812"/>
                    <a:gd name="connsiteY5" fmla="*/ 62598 h 716860"/>
                    <a:gd name="connsiteX6" fmla="*/ 465829 w 498812"/>
                    <a:gd name="connsiteY6" fmla="*/ 0 h 716860"/>
                    <a:gd name="connsiteX7" fmla="*/ 498812 w 498812"/>
                    <a:gd name="connsiteY7" fmla="*/ 18210 h 716860"/>
                    <a:gd name="connsiteX8" fmla="*/ 352586 w 498812"/>
                    <a:gd name="connsiteY8" fmla="*/ 101295 h 716860"/>
                    <a:gd name="connsiteX9" fmla="*/ 292117 w 498812"/>
                    <a:gd name="connsiteY9" fmla="*/ 112676 h 716860"/>
                    <a:gd name="connsiteX10" fmla="*/ 284421 w 498812"/>
                    <a:gd name="connsiteY10" fmla="*/ 113814 h 716860"/>
                    <a:gd name="connsiteX11" fmla="*/ 179974 w 498812"/>
                    <a:gd name="connsiteY11" fmla="*/ 113814 h 716860"/>
                    <a:gd name="connsiteX12" fmla="*/ 77725 w 498812"/>
                    <a:gd name="connsiteY12" fmla="*/ 175274 h 716860"/>
                    <a:gd name="connsiteX13" fmla="*/ 39245 w 498812"/>
                    <a:gd name="connsiteY13" fmla="*/ 324370 h 716860"/>
                    <a:gd name="connsiteX14" fmla="*/ 39245 w 498812"/>
                    <a:gd name="connsiteY14" fmla="*/ 327784 h 716860"/>
                    <a:gd name="connsiteX15" fmla="*/ 39245 w 498812"/>
                    <a:gd name="connsiteY15" fmla="*/ 716860 h 716860"/>
                    <a:gd name="connsiteX16" fmla="*/ 1864 w 498812"/>
                    <a:gd name="connsiteY16" fmla="*/ 716860 h 716860"/>
                    <a:gd name="connsiteX17" fmla="*/ 1864 w 498812"/>
                    <a:gd name="connsiteY17" fmla="*/ 651763 h 716860"/>
                    <a:gd name="connsiteX18" fmla="*/ 1864 w 498812"/>
                    <a:gd name="connsiteY18" fmla="*/ 330061 h 716860"/>
                    <a:gd name="connsiteX19" fmla="*/ 266 w 498812"/>
                    <a:gd name="connsiteY19" fmla="*/ 294156 h 716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98812" h="716860">
                      <a:moveTo>
                        <a:pt x="266" y="294156"/>
                      </a:moveTo>
                      <a:cubicBezTo>
                        <a:pt x="2276" y="252383"/>
                        <a:pt x="15882" y="196045"/>
                        <a:pt x="48040" y="152511"/>
                      </a:cubicBezTo>
                      <a:cubicBezTo>
                        <a:pt x="78825" y="106985"/>
                        <a:pt x="122802" y="81946"/>
                        <a:pt x="176675" y="75117"/>
                      </a:cubicBezTo>
                      <a:cubicBezTo>
                        <a:pt x="177775" y="75117"/>
                        <a:pt x="177775" y="75117"/>
                        <a:pt x="178874" y="75117"/>
                      </a:cubicBezTo>
                      <a:cubicBezTo>
                        <a:pt x="281122" y="75117"/>
                        <a:pt x="281122" y="75117"/>
                        <a:pt x="281122" y="75117"/>
                      </a:cubicBezTo>
                      <a:cubicBezTo>
                        <a:pt x="303111" y="66012"/>
                        <a:pt x="326199" y="64874"/>
                        <a:pt x="349288" y="62598"/>
                      </a:cubicBezTo>
                      <a:cubicBezTo>
                        <a:pt x="396564" y="59183"/>
                        <a:pt x="438343" y="56907"/>
                        <a:pt x="465829" y="0"/>
                      </a:cubicBezTo>
                      <a:cubicBezTo>
                        <a:pt x="498812" y="18210"/>
                        <a:pt x="498812" y="18210"/>
                        <a:pt x="498812" y="18210"/>
                      </a:cubicBezTo>
                      <a:cubicBezTo>
                        <a:pt x="461431" y="93328"/>
                        <a:pt x="400962" y="97880"/>
                        <a:pt x="352586" y="101295"/>
                      </a:cubicBezTo>
                      <a:cubicBezTo>
                        <a:pt x="330597" y="103571"/>
                        <a:pt x="308608" y="104709"/>
                        <a:pt x="292117" y="112676"/>
                      </a:cubicBezTo>
                      <a:cubicBezTo>
                        <a:pt x="288818" y="113814"/>
                        <a:pt x="286620" y="113814"/>
                        <a:pt x="284421" y="113814"/>
                      </a:cubicBezTo>
                      <a:cubicBezTo>
                        <a:pt x="179974" y="113814"/>
                        <a:pt x="179974" y="113814"/>
                        <a:pt x="179974" y="113814"/>
                      </a:cubicBezTo>
                      <a:cubicBezTo>
                        <a:pt x="137095" y="119505"/>
                        <a:pt x="103013" y="139991"/>
                        <a:pt x="77725" y="175274"/>
                      </a:cubicBezTo>
                      <a:cubicBezTo>
                        <a:pt x="40344" y="227628"/>
                        <a:pt x="33748" y="298193"/>
                        <a:pt x="39245" y="324370"/>
                      </a:cubicBezTo>
                      <a:cubicBezTo>
                        <a:pt x="39245" y="325508"/>
                        <a:pt x="39245" y="326646"/>
                        <a:pt x="39245" y="327784"/>
                      </a:cubicBezTo>
                      <a:lnTo>
                        <a:pt x="39245" y="716860"/>
                      </a:lnTo>
                      <a:lnTo>
                        <a:pt x="1864" y="716860"/>
                      </a:lnTo>
                      <a:lnTo>
                        <a:pt x="1864" y="651763"/>
                      </a:lnTo>
                      <a:cubicBezTo>
                        <a:pt x="1864" y="330061"/>
                        <a:pt x="1864" y="330061"/>
                        <a:pt x="1864" y="330061"/>
                      </a:cubicBezTo>
                      <a:cubicBezTo>
                        <a:pt x="215" y="320387"/>
                        <a:pt x="-404" y="308081"/>
                        <a:pt x="266" y="294156"/>
                      </a:cubicBez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defTabSz="1088105"/>
                  <a:endParaRPr lang="en-US" sz="2200" dirty="0">
                    <a:solidFill>
                      <a:srgbClr val="505050"/>
                    </a:solidFill>
                  </a:endParaRPr>
                </a:p>
              </p:txBody>
            </p:sp>
            <p:sp>
              <p:nvSpPr>
                <p:cNvPr id="599" name="Freeform 598"/>
                <p:cNvSpPr>
                  <a:spLocks/>
                </p:cNvSpPr>
                <p:nvPr/>
              </p:nvSpPr>
              <p:spPr bwMode="auto">
                <a:xfrm rot="5400000">
                  <a:off x="9945058" y="1692033"/>
                  <a:ext cx="377688" cy="211234"/>
                </a:xfrm>
                <a:custGeom>
                  <a:avLst/>
                  <a:gdLst>
                    <a:gd name="connsiteX0" fmla="*/ 0 w 377688"/>
                    <a:gd name="connsiteY0" fmla="*/ 211234 h 211234"/>
                    <a:gd name="connsiteX1" fmla="*/ 2434 w 377688"/>
                    <a:gd name="connsiteY1" fmla="*/ 162783 h 211234"/>
                    <a:gd name="connsiteX2" fmla="*/ 47888 w 377688"/>
                    <a:gd name="connsiteY2" fmla="*/ 54959 h 211234"/>
                    <a:gd name="connsiteX3" fmla="*/ 377688 w 377688"/>
                    <a:gd name="connsiteY3" fmla="*/ 3766 h 211234"/>
                    <a:gd name="connsiteX4" fmla="*/ 375497 w 377688"/>
                    <a:gd name="connsiteY4" fmla="*/ 42445 h 211234"/>
                    <a:gd name="connsiteX5" fmla="*/ 74184 w 377688"/>
                    <a:gd name="connsiteY5" fmla="*/ 83399 h 211234"/>
                    <a:gd name="connsiteX6" fmla="*/ 39516 w 377688"/>
                    <a:gd name="connsiteY6" fmla="*/ 170906 h 211234"/>
                    <a:gd name="connsiteX7" fmla="*/ 38231 w 377688"/>
                    <a:gd name="connsiteY7" fmla="*/ 211234 h 211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7688" h="211234">
                      <a:moveTo>
                        <a:pt x="0" y="211234"/>
                      </a:moveTo>
                      <a:lnTo>
                        <a:pt x="2434" y="162783"/>
                      </a:lnTo>
                      <a:cubicBezTo>
                        <a:pt x="8033" y="113403"/>
                        <a:pt x="22413" y="79701"/>
                        <a:pt x="47888" y="54959"/>
                      </a:cubicBezTo>
                      <a:cubicBezTo>
                        <a:pt x="98289" y="6041"/>
                        <a:pt x="187040" y="-7610"/>
                        <a:pt x="377688" y="3766"/>
                      </a:cubicBezTo>
                      <a:cubicBezTo>
                        <a:pt x="375497" y="42445"/>
                        <a:pt x="375497" y="42445"/>
                        <a:pt x="375497" y="42445"/>
                      </a:cubicBezTo>
                      <a:cubicBezTo>
                        <a:pt x="199092" y="31069"/>
                        <a:pt x="114725" y="42445"/>
                        <a:pt x="74184" y="83399"/>
                      </a:cubicBezTo>
                      <a:cubicBezTo>
                        <a:pt x="54462" y="102169"/>
                        <a:pt x="43368" y="129259"/>
                        <a:pt x="39516" y="170906"/>
                      </a:cubicBezTo>
                      <a:lnTo>
                        <a:pt x="38231" y="211234"/>
                      </a:lnTo>
                      <a:close/>
                    </a:path>
                  </a:pathLst>
                </a:custGeom>
                <a:solidFill>
                  <a:srgbClr val="DA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defTabSz="1088105"/>
                  <a:endParaRPr lang="en-US" sz="2200" dirty="0">
                    <a:solidFill>
                      <a:srgbClr val="505050"/>
                    </a:solidFill>
                  </a:endParaRPr>
                </a:p>
              </p:txBody>
            </p:sp>
            <p:sp>
              <p:nvSpPr>
                <p:cNvPr id="600" name="Freeform 599"/>
                <p:cNvSpPr>
                  <a:spLocks/>
                </p:cNvSpPr>
                <p:nvPr/>
              </p:nvSpPr>
              <p:spPr bwMode="auto">
                <a:xfrm rot="5400000">
                  <a:off x="10216505" y="118823"/>
                  <a:ext cx="874655" cy="1251093"/>
                </a:xfrm>
                <a:custGeom>
                  <a:avLst/>
                  <a:gdLst>
                    <a:gd name="connsiteX0" fmla="*/ 0 w 874655"/>
                    <a:gd name="connsiteY0" fmla="*/ 38680 h 1251093"/>
                    <a:gd name="connsiteX1" fmla="*/ 0 w 874655"/>
                    <a:gd name="connsiteY1" fmla="*/ 0 h 1251093"/>
                    <a:gd name="connsiteX2" fmla="*/ 233754 w 874655"/>
                    <a:gd name="connsiteY2" fmla="*/ 3412 h 1251093"/>
                    <a:gd name="connsiteX3" fmla="*/ 237046 w 874655"/>
                    <a:gd name="connsiteY3" fmla="*/ 3412 h 1251093"/>
                    <a:gd name="connsiteX4" fmla="*/ 398369 w 874655"/>
                    <a:gd name="connsiteY4" fmla="*/ 179749 h 1251093"/>
                    <a:gd name="connsiteX5" fmla="*/ 399466 w 874655"/>
                    <a:gd name="connsiteY5" fmla="*/ 183162 h 1251093"/>
                    <a:gd name="connsiteX6" fmla="*/ 390687 w 874655"/>
                    <a:gd name="connsiteY6" fmla="*/ 906712 h 1251093"/>
                    <a:gd name="connsiteX7" fmla="*/ 545425 w 874655"/>
                    <a:gd name="connsiteY7" fmla="*/ 1068260 h 1251093"/>
                    <a:gd name="connsiteX8" fmla="*/ 683701 w 874655"/>
                    <a:gd name="connsiteY8" fmla="*/ 1068260 h 1251093"/>
                    <a:gd name="connsiteX9" fmla="*/ 874655 w 874655"/>
                    <a:gd name="connsiteY9" fmla="*/ 1233220 h 1251093"/>
                    <a:gd name="connsiteX10" fmla="*/ 874655 w 874655"/>
                    <a:gd name="connsiteY10" fmla="*/ 1237771 h 1251093"/>
                    <a:gd name="connsiteX11" fmla="*/ 874655 w 874655"/>
                    <a:gd name="connsiteY11" fmla="*/ 1251093 h 1251093"/>
                    <a:gd name="connsiteX12" fmla="*/ 837342 w 874655"/>
                    <a:gd name="connsiteY12" fmla="*/ 1251093 h 1251093"/>
                    <a:gd name="connsiteX13" fmla="*/ 837342 w 874655"/>
                    <a:gd name="connsiteY13" fmla="*/ 1247210 h 1251093"/>
                    <a:gd name="connsiteX14" fmla="*/ 837342 w 874655"/>
                    <a:gd name="connsiteY14" fmla="*/ 1241184 h 1251093"/>
                    <a:gd name="connsiteX15" fmla="*/ 683701 w 874655"/>
                    <a:gd name="connsiteY15" fmla="*/ 1106940 h 1251093"/>
                    <a:gd name="connsiteX16" fmla="*/ 544327 w 874655"/>
                    <a:gd name="connsiteY16" fmla="*/ 1106940 h 1251093"/>
                    <a:gd name="connsiteX17" fmla="*/ 542133 w 874655"/>
                    <a:gd name="connsiteY17" fmla="*/ 1106940 h 1251093"/>
                    <a:gd name="connsiteX18" fmla="*/ 353374 w 874655"/>
                    <a:gd name="connsiteY18" fmla="*/ 908988 h 1251093"/>
                    <a:gd name="connsiteX19" fmla="*/ 353374 w 874655"/>
                    <a:gd name="connsiteY19" fmla="*/ 907850 h 1251093"/>
                    <a:gd name="connsiteX20" fmla="*/ 362153 w 874655"/>
                    <a:gd name="connsiteY20" fmla="*/ 184300 h 1251093"/>
                    <a:gd name="connsiteX21" fmla="*/ 230461 w 874655"/>
                    <a:gd name="connsiteY21" fmla="*/ 42093 h 1251093"/>
                    <a:gd name="connsiteX22" fmla="*/ 0 w 874655"/>
                    <a:gd name="connsiteY22" fmla="*/ 38680 h 1251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74655" h="1251093">
                      <a:moveTo>
                        <a:pt x="0" y="38680"/>
                      </a:moveTo>
                      <a:cubicBezTo>
                        <a:pt x="0" y="0"/>
                        <a:pt x="0" y="0"/>
                        <a:pt x="0" y="0"/>
                      </a:cubicBezTo>
                      <a:cubicBezTo>
                        <a:pt x="233754" y="3412"/>
                        <a:pt x="233754" y="3412"/>
                        <a:pt x="233754" y="3412"/>
                      </a:cubicBezTo>
                      <a:cubicBezTo>
                        <a:pt x="234851" y="3412"/>
                        <a:pt x="235948" y="3412"/>
                        <a:pt x="237046" y="3412"/>
                      </a:cubicBezTo>
                      <a:cubicBezTo>
                        <a:pt x="358861" y="30716"/>
                        <a:pt x="387394" y="112628"/>
                        <a:pt x="398369" y="179749"/>
                      </a:cubicBezTo>
                      <a:cubicBezTo>
                        <a:pt x="399466" y="180887"/>
                        <a:pt x="399466" y="182025"/>
                        <a:pt x="399466" y="183162"/>
                      </a:cubicBezTo>
                      <a:cubicBezTo>
                        <a:pt x="390687" y="906712"/>
                        <a:pt x="390687" y="906712"/>
                        <a:pt x="390687" y="906712"/>
                      </a:cubicBezTo>
                      <a:cubicBezTo>
                        <a:pt x="400564" y="1029579"/>
                        <a:pt x="470799" y="1056883"/>
                        <a:pt x="545425" y="1068260"/>
                      </a:cubicBezTo>
                      <a:cubicBezTo>
                        <a:pt x="683701" y="1068260"/>
                        <a:pt x="683701" y="1068260"/>
                        <a:pt x="683701" y="1068260"/>
                      </a:cubicBezTo>
                      <a:cubicBezTo>
                        <a:pt x="823076" y="1069397"/>
                        <a:pt x="864778" y="1194540"/>
                        <a:pt x="874655" y="1233220"/>
                      </a:cubicBezTo>
                      <a:cubicBezTo>
                        <a:pt x="874655" y="1235495"/>
                        <a:pt x="874655" y="1236633"/>
                        <a:pt x="874655" y="1237771"/>
                      </a:cubicBezTo>
                      <a:lnTo>
                        <a:pt x="874655" y="1251093"/>
                      </a:lnTo>
                      <a:lnTo>
                        <a:pt x="837342" y="1251093"/>
                      </a:lnTo>
                      <a:lnTo>
                        <a:pt x="837342" y="1247210"/>
                      </a:lnTo>
                      <a:cubicBezTo>
                        <a:pt x="837342" y="1241184"/>
                        <a:pt x="837342" y="1241184"/>
                        <a:pt x="837342" y="1241184"/>
                      </a:cubicBezTo>
                      <a:cubicBezTo>
                        <a:pt x="826368" y="1199090"/>
                        <a:pt x="791250" y="1108078"/>
                        <a:pt x="683701" y="1106940"/>
                      </a:cubicBezTo>
                      <a:cubicBezTo>
                        <a:pt x="544327" y="1106940"/>
                        <a:pt x="544327" y="1106940"/>
                        <a:pt x="544327" y="1106940"/>
                      </a:cubicBezTo>
                      <a:cubicBezTo>
                        <a:pt x="543230" y="1106940"/>
                        <a:pt x="543230" y="1106940"/>
                        <a:pt x="542133" y="1106940"/>
                      </a:cubicBezTo>
                      <a:cubicBezTo>
                        <a:pt x="460922" y="1094426"/>
                        <a:pt x="365446" y="1061434"/>
                        <a:pt x="353374" y="908988"/>
                      </a:cubicBezTo>
                      <a:cubicBezTo>
                        <a:pt x="353374" y="908988"/>
                        <a:pt x="353374" y="907850"/>
                        <a:pt x="353374" y="907850"/>
                      </a:cubicBezTo>
                      <a:cubicBezTo>
                        <a:pt x="362153" y="184300"/>
                        <a:pt x="362153" y="184300"/>
                        <a:pt x="362153" y="184300"/>
                      </a:cubicBezTo>
                      <a:cubicBezTo>
                        <a:pt x="351179" y="124004"/>
                        <a:pt x="328133" y="64846"/>
                        <a:pt x="230461" y="42093"/>
                      </a:cubicBezTo>
                      <a:cubicBezTo>
                        <a:pt x="0" y="38680"/>
                        <a:pt x="0" y="38680"/>
                        <a:pt x="0" y="38680"/>
                      </a:cubicBezTo>
                      <a:close/>
                    </a:path>
                  </a:pathLst>
                </a:custGeom>
                <a:solidFill>
                  <a:srgbClr val="028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defTabSz="1088105"/>
                  <a:endParaRPr lang="en-US" sz="2200" dirty="0">
                    <a:solidFill>
                      <a:srgbClr val="505050"/>
                    </a:solidFill>
                  </a:endParaRPr>
                </a:p>
              </p:txBody>
            </p:sp>
            <p:sp>
              <p:nvSpPr>
                <p:cNvPr id="601" name="Freeform 600"/>
                <p:cNvSpPr>
                  <a:spLocks/>
                </p:cNvSpPr>
                <p:nvPr/>
              </p:nvSpPr>
              <p:spPr bwMode="auto">
                <a:xfrm rot="5400000">
                  <a:off x="9938317" y="1410617"/>
                  <a:ext cx="664391" cy="484452"/>
                </a:xfrm>
                <a:custGeom>
                  <a:avLst/>
                  <a:gdLst>
                    <a:gd name="connsiteX0" fmla="*/ 45 w 664391"/>
                    <a:gd name="connsiteY0" fmla="*/ 252601 h 484452"/>
                    <a:gd name="connsiteX1" fmla="*/ 192211 w 664391"/>
                    <a:gd name="connsiteY1" fmla="*/ 13654 h 484452"/>
                    <a:gd name="connsiteX2" fmla="*/ 304217 w 664391"/>
                    <a:gd name="connsiteY2" fmla="*/ 9103 h 484452"/>
                    <a:gd name="connsiteX3" fmla="*/ 664391 w 664391"/>
                    <a:gd name="connsiteY3" fmla="*/ 0 h 484452"/>
                    <a:gd name="connsiteX4" fmla="*/ 664391 w 664391"/>
                    <a:gd name="connsiteY4" fmla="*/ 38687 h 484452"/>
                    <a:gd name="connsiteX5" fmla="*/ 306413 w 664391"/>
                    <a:gd name="connsiteY5" fmla="*/ 47789 h 484452"/>
                    <a:gd name="connsiteX6" fmla="*/ 193309 w 664391"/>
                    <a:gd name="connsiteY6" fmla="*/ 52341 h 484452"/>
                    <a:gd name="connsiteX7" fmla="*/ 37380 w 664391"/>
                    <a:gd name="connsiteY7" fmla="*/ 252601 h 484452"/>
                    <a:gd name="connsiteX8" fmla="*/ 38830 w 664391"/>
                    <a:gd name="connsiteY8" fmla="*/ 453159 h 484452"/>
                    <a:gd name="connsiteX9" fmla="*/ 39056 w 664391"/>
                    <a:gd name="connsiteY9" fmla="*/ 484452 h 484452"/>
                    <a:gd name="connsiteX10" fmla="*/ 1721 w 664391"/>
                    <a:gd name="connsiteY10" fmla="*/ 484452 h 484452"/>
                    <a:gd name="connsiteX11" fmla="*/ 1473 w 664391"/>
                    <a:gd name="connsiteY11" fmla="*/ 450044 h 484452"/>
                    <a:gd name="connsiteX12" fmla="*/ 45 w 664391"/>
                    <a:gd name="connsiteY12" fmla="*/ 252601 h 484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4391" h="484452">
                      <a:moveTo>
                        <a:pt x="45" y="252601"/>
                      </a:moveTo>
                      <a:cubicBezTo>
                        <a:pt x="-2151" y="119473"/>
                        <a:pt x="78010" y="18205"/>
                        <a:pt x="192211" y="13654"/>
                      </a:cubicBezTo>
                      <a:cubicBezTo>
                        <a:pt x="227350" y="12516"/>
                        <a:pt x="264685" y="10241"/>
                        <a:pt x="304217" y="9103"/>
                      </a:cubicBezTo>
                      <a:cubicBezTo>
                        <a:pt x="415124" y="4551"/>
                        <a:pt x="541405" y="0"/>
                        <a:pt x="664391" y="0"/>
                      </a:cubicBezTo>
                      <a:cubicBezTo>
                        <a:pt x="664391" y="38687"/>
                        <a:pt x="664391" y="38687"/>
                        <a:pt x="664391" y="38687"/>
                      </a:cubicBezTo>
                      <a:cubicBezTo>
                        <a:pt x="542503" y="38687"/>
                        <a:pt x="416222" y="43238"/>
                        <a:pt x="306413" y="47789"/>
                      </a:cubicBezTo>
                      <a:cubicBezTo>
                        <a:pt x="266882" y="48927"/>
                        <a:pt x="229547" y="51203"/>
                        <a:pt x="193309" y="52341"/>
                      </a:cubicBezTo>
                      <a:cubicBezTo>
                        <a:pt x="101070" y="55754"/>
                        <a:pt x="35184" y="139954"/>
                        <a:pt x="37380" y="252601"/>
                      </a:cubicBezTo>
                      <a:cubicBezTo>
                        <a:pt x="37929" y="328552"/>
                        <a:pt x="38410" y="395009"/>
                        <a:pt x="38830" y="453159"/>
                      </a:cubicBezTo>
                      <a:lnTo>
                        <a:pt x="39056" y="484452"/>
                      </a:lnTo>
                      <a:lnTo>
                        <a:pt x="1721" y="484452"/>
                      </a:lnTo>
                      <a:lnTo>
                        <a:pt x="1473" y="450044"/>
                      </a:lnTo>
                      <a:cubicBezTo>
                        <a:pt x="45" y="252601"/>
                        <a:pt x="45" y="252601"/>
                        <a:pt x="45" y="252601"/>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defTabSz="1088105"/>
                  <a:endParaRPr lang="en-US" sz="2200" dirty="0">
                    <a:solidFill>
                      <a:srgbClr val="505050"/>
                    </a:solidFill>
                  </a:endParaRPr>
                </a:p>
              </p:txBody>
            </p:sp>
            <p:sp>
              <p:nvSpPr>
                <p:cNvPr id="602" name="Freeform 193"/>
                <p:cNvSpPr>
                  <a:spLocks noEditPoints="1"/>
                </p:cNvSpPr>
                <p:nvPr/>
              </p:nvSpPr>
              <p:spPr bwMode="auto">
                <a:xfrm>
                  <a:off x="10242246" y="1048594"/>
                  <a:ext cx="184828" cy="241462"/>
                </a:xfrm>
                <a:custGeom>
                  <a:avLst/>
                  <a:gdLst>
                    <a:gd name="T0" fmla="*/ 95 w 169"/>
                    <a:gd name="T1" fmla="*/ 105 h 212"/>
                    <a:gd name="T2" fmla="*/ 134 w 169"/>
                    <a:gd name="T3" fmla="*/ 212 h 212"/>
                    <a:gd name="T4" fmla="*/ 113 w 169"/>
                    <a:gd name="T5" fmla="*/ 212 h 212"/>
                    <a:gd name="T6" fmla="*/ 85 w 169"/>
                    <a:gd name="T7" fmla="*/ 188 h 212"/>
                    <a:gd name="T8" fmla="*/ 56 w 169"/>
                    <a:gd name="T9" fmla="*/ 212 h 212"/>
                    <a:gd name="T10" fmla="*/ 36 w 169"/>
                    <a:gd name="T11" fmla="*/ 212 h 212"/>
                    <a:gd name="T12" fmla="*/ 74 w 169"/>
                    <a:gd name="T13" fmla="*/ 105 h 212"/>
                    <a:gd name="T14" fmla="*/ 67 w 169"/>
                    <a:gd name="T15" fmla="*/ 90 h 212"/>
                    <a:gd name="T16" fmla="*/ 85 w 169"/>
                    <a:gd name="T17" fmla="*/ 72 h 212"/>
                    <a:gd name="T18" fmla="*/ 102 w 169"/>
                    <a:gd name="T19" fmla="*/ 90 h 212"/>
                    <a:gd name="T20" fmla="*/ 95 w 169"/>
                    <a:gd name="T21" fmla="*/ 105 h 212"/>
                    <a:gd name="T22" fmla="*/ 85 w 169"/>
                    <a:gd name="T23" fmla="*/ 36 h 212"/>
                    <a:gd name="T24" fmla="*/ 136 w 169"/>
                    <a:gd name="T25" fmla="*/ 87 h 212"/>
                    <a:gd name="T26" fmla="*/ 112 w 169"/>
                    <a:gd name="T27" fmla="*/ 129 h 212"/>
                    <a:gd name="T28" fmla="*/ 111 w 169"/>
                    <a:gd name="T29" fmla="*/ 122 h 212"/>
                    <a:gd name="T30" fmla="*/ 126 w 169"/>
                    <a:gd name="T31" fmla="*/ 90 h 212"/>
                    <a:gd name="T32" fmla="*/ 85 w 169"/>
                    <a:gd name="T33" fmla="*/ 49 h 212"/>
                    <a:gd name="T34" fmla="*/ 44 w 169"/>
                    <a:gd name="T35" fmla="*/ 90 h 212"/>
                    <a:gd name="T36" fmla="*/ 59 w 169"/>
                    <a:gd name="T37" fmla="*/ 122 h 212"/>
                    <a:gd name="T38" fmla="*/ 57 w 169"/>
                    <a:gd name="T39" fmla="*/ 129 h 212"/>
                    <a:gd name="T40" fmla="*/ 35 w 169"/>
                    <a:gd name="T41" fmla="*/ 87 h 212"/>
                    <a:gd name="T42" fmla="*/ 85 w 169"/>
                    <a:gd name="T43" fmla="*/ 36 h 212"/>
                    <a:gd name="T44" fmla="*/ 85 w 169"/>
                    <a:gd name="T45" fmla="*/ 0 h 212"/>
                    <a:gd name="T46" fmla="*/ 169 w 169"/>
                    <a:gd name="T47" fmla="*/ 85 h 212"/>
                    <a:gd name="T48" fmla="*/ 123 w 169"/>
                    <a:gd name="T49" fmla="*/ 161 h 212"/>
                    <a:gd name="T50" fmla="*/ 120 w 169"/>
                    <a:gd name="T51" fmla="*/ 155 h 212"/>
                    <a:gd name="T52" fmla="*/ 160 w 169"/>
                    <a:gd name="T53" fmla="*/ 89 h 212"/>
                    <a:gd name="T54" fmla="*/ 85 w 169"/>
                    <a:gd name="T55" fmla="*/ 14 h 212"/>
                    <a:gd name="T56" fmla="*/ 11 w 169"/>
                    <a:gd name="T57" fmla="*/ 89 h 212"/>
                    <a:gd name="T58" fmla="*/ 49 w 169"/>
                    <a:gd name="T59" fmla="*/ 155 h 212"/>
                    <a:gd name="T60" fmla="*/ 47 w 169"/>
                    <a:gd name="T61" fmla="*/ 161 h 212"/>
                    <a:gd name="T62" fmla="*/ 0 w 169"/>
                    <a:gd name="T63" fmla="*/ 85 h 212"/>
                    <a:gd name="T64" fmla="*/ 85 w 169"/>
                    <a:gd name="T65" fmla="*/ 0 h 212"/>
                    <a:gd name="T66" fmla="*/ 85 w 169"/>
                    <a:gd name="T67" fmla="*/ 130 h 212"/>
                    <a:gd name="T68" fmla="*/ 93 w 169"/>
                    <a:gd name="T69" fmla="*/ 138 h 212"/>
                    <a:gd name="T70" fmla="*/ 85 w 169"/>
                    <a:gd name="T71" fmla="*/ 145 h 212"/>
                    <a:gd name="T72" fmla="*/ 76 w 169"/>
                    <a:gd name="T73" fmla="*/ 138 h 212"/>
                    <a:gd name="T74" fmla="*/ 85 w 169"/>
                    <a:gd name="T75" fmla="*/ 130 h 212"/>
                    <a:gd name="T76" fmla="*/ 85 w 169"/>
                    <a:gd name="T77" fmla="*/ 179 h 212"/>
                    <a:gd name="T78" fmla="*/ 99 w 169"/>
                    <a:gd name="T79" fmla="*/ 167 h 212"/>
                    <a:gd name="T80" fmla="*/ 85 w 169"/>
                    <a:gd name="T81" fmla="*/ 156 h 212"/>
                    <a:gd name="T82" fmla="*/ 71 w 169"/>
                    <a:gd name="T83" fmla="*/ 167 h 212"/>
                    <a:gd name="T84" fmla="*/ 85 w 169"/>
                    <a:gd name="T85" fmla="*/ 17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9" h="212">
                      <a:moveTo>
                        <a:pt x="95" y="105"/>
                      </a:moveTo>
                      <a:cubicBezTo>
                        <a:pt x="102" y="151"/>
                        <a:pt x="119" y="189"/>
                        <a:pt x="134" y="212"/>
                      </a:cubicBezTo>
                      <a:cubicBezTo>
                        <a:pt x="113" y="212"/>
                        <a:pt x="113" y="212"/>
                        <a:pt x="113" y="212"/>
                      </a:cubicBezTo>
                      <a:cubicBezTo>
                        <a:pt x="113" y="199"/>
                        <a:pt x="104" y="188"/>
                        <a:pt x="85" y="188"/>
                      </a:cubicBezTo>
                      <a:cubicBezTo>
                        <a:pt x="66" y="188"/>
                        <a:pt x="57" y="199"/>
                        <a:pt x="56" y="212"/>
                      </a:cubicBezTo>
                      <a:cubicBezTo>
                        <a:pt x="36" y="212"/>
                        <a:pt x="36" y="212"/>
                        <a:pt x="36" y="212"/>
                      </a:cubicBezTo>
                      <a:cubicBezTo>
                        <a:pt x="51" y="189"/>
                        <a:pt x="67" y="151"/>
                        <a:pt x="74" y="105"/>
                      </a:cubicBezTo>
                      <a:cubicBezTo>
                        <a:pt x="70" y="102"/>
                        <a:pt x="67" y="96"/>
                        <a:pt x="67" y="90"/>
                      </a:cubicBezTo>
                      <a:cubicBezTo>
                        <a:pt x="67" y="81"/>
                        <a:pt x="75" y="72"/>
                        <a:pt x="85" y="72"/>
                      </a:cubicBezTo>
                      <a:cubicBezTo>
                        <a:pt x="95" y="72"/>
                        <a:pt x="102" y="81"/>
                        <a:pt x="102" y="90"/>
                      </a:cubicBezTo>
                      <a:cubicBezTo>
                        <a:pt x="102" y="96"/>
                        <a:pt x="100" y="102"/>
                        <a:pt x="95" y="105"/>
                      </a:cubicBezTo>
                      <a:close/>
                      <a:moveTo>
                        <a:pt x="85" y="36"/>
                      </a:moveTo>
                      <a:cubicBezTo>
                        <a:pt x="113" y="36"/>
                        <a:pt x="136" y="59"/>
                        <a:pt x="136" y="87"/>
                      </a:cubicBezTo>
                      <a:cubicBezTo>
                        <a:pt x="136" y="105"/>
                        <a:pt x="126" y="120"/>
                        <a:pt x="112" y="129"/>
                      </a:cubicBezTo>
                      <a:cubicBezTo>
                        <a:pt x="112" y="127"/>
                        <a:pt x="111" y="125"/>
                        <a:pt x="111" y="122"/>
                      </a:cubicBezTo>
                      <a:cubicBezTo>
                        <a:pt x="120" y="115"/>
                        <a:pt x="126" y="104"/>
                        <a:pt x="126" y="90"/>
                      </a:cubicBezTo>
                      <a:cubicBezTo>
                        <a:pt x="126" y="67"/>
                        <a:pt x="108" y="49"/>
                        <a:pt x="85" y="49"/>
                      </a:cubicBezTo>
                      <a:cubicBezTo>
                        <a:pt x="62" y="49"/>
                        <a:pt x="44" y="67"/>
                        <a:pt x="44" y="90"/>
                      </a:cubicBezTo>
                      <a:cubicBezTo>
                        <a:pt x="44" y="104"/>
                        <a:pt x="49" y="115"/>
                        <a:pt x="59" y="122"/>
                      </a:cubicBezTo>
                      <a:cubicBezTo>
                        <a:pt x="59" y="125"/>
                        <a:pt x="57" y="127"/>
                        <a:pt x="57" y="129"/>
                      </a:cubicBezTo>
                      <a:cubicBezTo>
                        <a:pt x="44" y="120"/>
                        <a:pt x="35" y="105"/>
                        <a:pt x="35" y="87"/>
                      </a:cubicBezTo>
                      <a:cubicBezTo>
                        <a:pt x="35" y="59"/>
                        <a:pt x="56" y="36"/>
                        <a:pt x="85" y="36"/>
                      </a:cubicBezTo>
                      <a:close/>
                      <a:moveTo>
                        <a:pt x="85" y="0"/>
                      </a:moveTo>
                      <a:cubicBezTo>
                        <a:pt x="132" y="0"/>
                        <a:pt x="169" y="39"/>
                        <a:pt x="169" y="85"/>
                      </a:cubicBezTo>
                      <a:cubicBezTo>
                        <a:pt x="169" y="118"/>
                        <a:pt x="150" y="148"/>
                        <a:pt x="123" y="161"/>
                      </a:cubicBezTo>
                      <a:cubicBezTo>
                        <a:pt x="122" y="159"/>
                        <a:pt x="121" y="157"/>
                        <a:pt x="120" y="155"/>
                      </a:cubicBezTo>
                      <a:cubicBezTo>
                        <a:pt x="144" y="142"/>
                        <a:pt x="160" y="117"/>
                        <a:pt x="160" y="89"/>
                      </a:cubicBezTo>
                      <a:cubicBezTo>
                        <a:pt x="160" y="47"/>
                        <a:pt x="126" y="14"/>
                        <a:pt x="85" y="14"/>
                      </a:cubicBezTo>
                      <a:cubicBezTo>
                        <a:pt x="44" y="14"/>
                        <a:pt x="11" y="47"/>
                        <a:pt x="11" y="89"/>
                      </a:cubicBezTo>
                      <a:cubicBezTo>
                        <a:pt x="11" y="117"/>
                        <a:pt x="26" y="142"/>
                        <a:pt x="49" y="155"/>
                      </a:cubicBezTo>
                      <a:cubicBezTo>
                        <a:pt x="48" y="157"/>
                        <a:pt x="48" y="159"/>
                        <a:pt x="47" y="161"/>
                      </a:cubicBezTo>
                      <a:cubicBezTo>
                        <a:pt x="19" y="148"/>
                        <a:pt x="0" y="118"/>
                        <a:pt x="0" y="85"/>
                      </a:cubicBezTo>
                      <a:cubicBezTo>
                        <a:pt x="0" y="39"/>
                        <a:pt x="38" y="0"/>
                        <a:pt x="85" y="0"/>
                      </a:cubicBezTo>
                      <a:close/>
                      <a:moveTo>
                        <a:pt x="85" y="130"/>
                      </a:moveTo>
                      <a:cubicBezTo>
                        <a:pt x="91" y="130"/>
                        <a:pt x="93" y="134"/>
                        <a:pt x="93" y="138"/>
                      </a:cubicBezTo>
                      <a:cubicBezTo>
                        <a:pt x="93" y="141"/>
                        <a:pt x="91" y="145"/>
                        <a:pt x="85" y="145"/>
                      </a:cubicBezTo>
                      <a:cubicBezTo>
                        <a:pt x="78" y="145"/>
                        <a:pt x="76" y="141"/>
                        <a:pt x="76" y="138"/>
                      </a:cubicBezTo>
                      <a:cubicBezTo>
                        <a:pt x="76" y="134"/>
                        <a:pt x="78" y="130"/>
                        <a:pt x="85" y="130"/>
                      </a:cubicBezTo>
                      <a:close/>
                      <a:moveTo>
                        <a:pt x="85" y="179"/>
                      </a:moveTo>
                      <a:cubicBezTo>
                        <a:pt x="95" y="179"/>
                        <a:pt x="99" y="174"/>
                        <a:pt x="99" y="167"/>
                      </a:cubicBezTo>
                      <a:cubicBezTo>
                        <a:pt x="99" y="161"/>
                        <a:pt x="95" y="156"/>
                        <a:pt x="85" y="156"/>
                      </a:cubicBezTo>
                      <a:cubicBezTo>
                        <a:pt x="74" y="156"/>
                        <a:pt x="71" y="161"/>
                        <a:pt x="71" y="167"/>
                      </a:cubicBezTo>
                      <a:cubicBezTo>
                        <a:pt x="71" y="174"/>
                        <a:pt x="74" y="179"/>
                        <a:pt x="85" y="179"/>
                      </a:cubicBezTo>
                      <a:close/>
                    </a:path>
                  </a:pathLst>
                </a:custGeom>
                <a:solidFill>
                  <a:srgbClr val="DA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03" name="Freeform 194"/>
                <p:cNvSpPr>
                  <a:spLocks noEditPoints="1"/>
                </p:cNvSpPr>
                <p:nvPr/>
              </p:nvSpPr>
              <p:spPr bwMode="auto">
                <a:xfrm>
                  <a:off x="11233665" y="802912"/>
                  <a:ext cx="188741" cy="320267"/>
                </a:xfrm>
                <a:custGeom>
                  <a:avLst/>
                  <a:gdLst>
                    <a:gd name="T0" fmla="*/ 180 w 219"/>
                    <a:gd name="T1" fmla="*/ 29 h 358"/>
                    <a:gd name="T2" fmla="*/ 159 w 219"/>
                    <a:gd name="T3" fmla="*/ 35 h 358"/>
                    <a:gd name="T4" fmla="*/ 104 w 219"/>
                    <a:gd name="T5" fmla="*/ 0 h 358"/>
                    <a:gd name="T6" fmla="*/ 44 w 219"/>
                    <a:gd name="T7" fmla="*/ 48 h 358"/>
                    <a:gd name="T8" fmla="*/ 31 w 219"/>
                    <a:gd name="T9" fmla="*/ 45 h 358"/>
                    <a:gd name="T10" fmla="*/ 0 w 219"/>
                    <a:gd name="T11" fmla="*/ 76 h 358"/>
                    <a:gd name="T12" fmla="*/ 31 w 219"/>
                    <a:gd name="T13" fmla="*/ 108 h 358"/>
                    <a:gd name="T14" fmla="*/ 180 w 219"/>
                    <a:gd name="T15" fmla="*/ 108 h 358"/>
                    <a:gd name="T16" fmla="*/ 219 w 219"/>
                    <a:gd name="T17" fmla="*/ 68 h 358"/>
                    <a:gd name="T18" fmla="*/ 180 w 219"/>
                    <a:gd name="T19" fmla="*/ 29 h 358"/>
                    <a:gd name="T20" fmla="*/ 47 w 219"/>
                    <a:gd name="T21" fmla="*/ 299 h 358"/>
                    <a:gd name="T22" fmla="*/ 47 w 219"/>
                    <a:gd name="T23" fmla="*/ 353 h 358"/>
                    <a:gd name="T24" fmla="*/ 51 w 219"/>
                    <a:gd name="T25" fmla="*/ 358 h 358"/>
                    <a:gd name="T26" fmla="*/ 89 w 219"/>
                    <a:gd name="T27" fmla="*/ 358 h 358"/>
                    <a:gd name="T28" fmla="*/ 89 w 219"/>
                    <a:gd name="T29" fmla="*/ 307 h 358"/>
                    <a:gd name="T30" fmla="*/ 94 w 219"/>
                    <a:gd name="T31" fmla="*/ 303 h 358"/>
                    <a:gd name="T32" fmla="*/ 125 w 219"/>
                    <a:gd name="T33" fmla="*/ 303 h 358"/>
                    <a:gd name="T34" fmla="*/ 130 w 219"/>
                    <a:gd name="T35" fmla="*/ 307 h 358"/>
                    <a:gd name="T36" fmla="*/ 130 w 219"/>
                    <a:gd name="T37" fmla="*/ 358 h 358"/>
                    <a:gd name="T38" fmla="*/ 168 w 219"/>
                    <a:gd name="T39" fmla="*/ 358 h 358"/>
                    <a:gd name="T40" fmla="*/ 172 w 219"/>
                    <a:gd name="T41" fmla="*/ 353 h 358"/>
                    <a:gd name="T42" fmla="*/ 172 w 219"/>
                    <a:gd name="T43" fmla="*/ 299 h 358"/>
                    <a:gd name="T44" fmla="*/ 109 w 219"/>
                    <a:gd name="T45" fmla="*/ 243 h 358"/>
                    <a:gd name="T46" fmla="*/ 47 w 219"/>
                    <a:gd name="T47" fmla="*/ 299 h 358"/>
                    <a:gd name="T48" fmla="*/ 47 w 219"/>
                    <a:gd name="T49" fmla="*/ 299 h 358"/>
                    <a:gd name="T50" fmla="*/ 160 w 219"/>
                    <a:gd name="T51" fmla="*/ 218 h 358"/>
                    <a:gd name="T52" fmla="*/ 136 w 219"/>
                    <a:gd name="T53" fmla="*/ 218 h 358"/>
                    <a:gd name="T54" fmla="*/ 136 w 219"/>
                    <a:gd name="T55" fmla="*/ 235 h 358"/>
                    <a:gd name="T56" fmla="*/ 109 w 219"/>
                    <a:gd name="T57" fmla="*/ 212 h 358"/>
                    <a:gd name="T58" fmla="*/ 29 w 219"/>
                    <a:gd name="T59" fmla="*/ 283 h 358"/>
                    <a:gd name="T60" fmla="*/ 29 w 219"/>
                    <a:gd name="T61" fmla="*/ 304 h 358"/>
                    <a:gd name="T62" fmla="*/ 109 w 219"/>
                    <a:gd name="T63" fmla="*/ 234 h 358"/>
                    <a:gd name="T64" fmla="*/ 190 w 219"/>
                    <a:gd name="T65" fmla="*/ 304 h 358"/>
                    <a:gd name="T66" fmla="*/ 190 w 219"/>
                    <a:gd name="T67" fmla="*/ 283 h 358"/>
                    <a:gd name="T68" fmla="*/ 160 w 219"/>
                    <a:gd name="T69" fmla="*/ 256 h 358"/>
                    <a:gd name="T70" fmla="*/ 160 w 219"/>
                    <a:gd name="T71" fmla="*/ 218 h 358"/>
                    <a:gd name="T72" fmla="*/ 160 w 219"/>
                    <a:gd name="T73" fmla="*/ 218 h 358"/>
                    <a:gd name="T74" fmla="*/ 109 w 219"/>
                    <a:gd name="T75" fmla="*/ 189 h 358"/>
                    <a:gd name="T76" fmla="*/ 160 w 219"/>
                    <a:gd name="T77" fmla="*/ 159 h 358"/>
                    <a:gd name="T78" fmla="*/ 109 w 219"/>
                    <a:gd name="T79" fmla="*/ 180 h 358"/>
                    <a:gd name="T80" fmla="*/ 59 w 219"/>
                    <a:gd name="T81" fmla="*/ 159 h 358"/>
                    <a:gd name="T82" fmla="*/ 109 w 219"/>
                    <a:gd name="T83" fmla="*/ 189 h 358"/>
                    <a:gd name="T84" fmla="*/ 109 w 219"/>
                    <a:gd name="T85" fmla="*/ 164 h 358"/>
                    <a:gd name="T86" fmla="*/ 144 w 219"/>
                    <a:gd name="T87" fmla="*/ 141 h 358"/>
                    <a:gd name="T88" fmla="*/ 109 w 219"/>
                    <a:gd name="T89" fmla="*/ 156 h 358"/>
                    <a:gd name="T90" fmla="*/ 75 w 219"/>
                    <a:gd name="T91" fmla="*/ 141 h 358"/>
                    <a:gd name="T92" fmla="*/ 109 w 219"/>
                    <a:gd name="T93" fmla="*/ 164 h 358"/>
                    <a:gd name="T94" fmla="*/ 130 w 219"/>
                    <a:gd name="T95" fmla="*/ 127 h 358"/>
                    <a:gd name="T96" fmla="*/ 109 w 219"/>
                    <a:gd name="T97" fmla="*/ 135 h 358"/>
                    <a:gd name="T98" fmla="*/ 89 w 219"/>
                    <a:gd name="T99" fmla="*/ 127 h 358"/>
                    <a:gd name="T100" fmla="*/ 109 w 219"/>
                    <a:gd name="T101" fmla="*/ 142 h 358"/>
                    <a:gd name="T102" fmla="*/ 130 w 219"/>
                    <a:gd name="T103" fmla="*/ 127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9" h="358">
                      <a:moveTo>
                        <a:pt x="180" y="29"/>
                      </a:moveTo>
                      <a:cubicBezTo>
                        <a:pt x="172" y="29"/>
                        <a:pt x="165" y="31"/>
                        <a:pt x="159" y="35"/>
                      </a:cubicBezTo>
                      <a:cubicBezTo>
                        <a:pt x="149" y="14"/>
                        <a:pt x="128" y="0"/>
                        <a:pt x="104" y="0"/>
                      </a:cubicBezTo>
                      <a:cubicBezTo>
                        <a:pt x="74" y="0"/>
                        <a:pt x="50" y="20"/>
                        <a:pt x="44" y="48"/>
                      </a:cubicBezTo>
                      <a:cubicBezTo>
                        <a:pt x="40" y="46"/>
                        <a:pt x="36" y="45"/>
                        <a:pt x="31" y="45"/>
                      </a:cubicBezTo>
                      <a:cubicBezTo>
                        <a:pt x="14" y="45"/>
                        <a:pt x="0" y="59"/>
                        <a:pt x="0" y="76"/>
                      </a:cubicBezTo>
                      <a:cubicBezTo>
                        <a:pt x="0" y="94"/>
                        <a:pt x="14" y="108"/>
                        <a:pt x="31" y="108"/>
                      </a:cubicBezTo>
                      <a:cubicBezTo>
                        <a:pt x="180" y="108"/>
                        <a:pt x="180" y="108"/>
                        <a:pt x="180" y="108"/>
                      </a:cubicBezTo>
                      <a:cubicBezTo>
                        <a:pt x="201" y="108"/>
                        <a:pt x="219" y="90"/>
                        <a:pt x="219" y="68"/>
                      </a:cubicBezTo>
                      <a:cubicBezTo>
                        <a:pt x="219" y="46"/>
                        <a:pt x="201" y="29"/>
                        <a:pt x="180" y="29"/>
                      </a:cubicBezTo>
                      <a:close/>
                      <a:moveTo>
                        <a:pt x="47" y="299"/>
                      </a:moveTo>
                      <a:cubicBezTo>
                        <a:pt x="47" y="353"/>
                        <a:pt x="47" y="353"/>
                        <a:pt x="47" y="353"/>
                      </a:cubicBezTo>
                      <a:cubicBezTo>
                        <a:pt x="47" y="355"/>
                        <a:pt x="49" y="358"/>
                        <a:pt x="51" y="358"/>
                      </a:cubicBezTo>
                      <a:cubicBezTo>
                        <a:pt x="89" y="358"/>
                        <a:pt x="89" y="358"/>
                        <a:pt x="89" y="358"/>
                      </a:cubicBezTo>
                      <a:cubicBezTo>
                        <a:pt x="89" y="307"/>
                        <a:pt x="89" y="307"/>
                        <a:pt x="89" y="307"/>
                      </a:cubicBezTo>
                      <a:cubicBezTo>
                        <a:pt x="89" y="305"/>
                        <a:pt x="91" y="303"/>
                        <a:pt x="94" y="303"/>
                      </a:cubicBezTo>
                      <a:cubicBezTo>
                        <a:pt x="125" y="303"/>
                        <a:pt x="125" y="303"/>
                        <a:pt x="125" y="303"/>
                      </a:cubicBezTo>
                      <a:cubicBezTo>
                        <a:pt x="128" y="303"/>
                        <a:pt x="130" y="305"/>
                        <a:pt x="130" y="307"/>
                      </a:cubicBezTo>
                      <a:cubicBezTo>
                        <a:pt x="130" y="358"/>
                        <a:pt x="130" y="358"/>
                        <a:pt x="130" y="358"/>
                      </a:cubicBezTo>
                      <a:cubicBezTo>
                        <a:pt x="168" y="358"/>
                        <a:pt x="168" y="358"/>
                        <a:pt x="168" y="358"/>
                      </a:cubicBezTo>
                      <a:cubicBezTo>
                        <a:pt x="170" y="358"/>
                        <a:pt x="172" y="355"/>
                        <a:pt x="172" y="353"/>
                      </a:cubicBezTo>
                      <a:cubicBezTo>
                        <a:pt x="172" y="299"/>
                        <a:pt x="172" y="299"/>
                        <a:pt x="172" y="299"/>
                      </a:cubicBezTo>
                      <a:cubicBezTo>
                        <a:pt x="109" y="243"/>
                        <a:pt x="109" y="243"/>
                        <a:pt x="109" y="243"/>
                      </a:cubicBezTo>
                      <a:cubicBezTo>
                        <a:pt x="47" y="299"/>
                        <a:pt x="47" y="299"/>
                        <a:pt x="47" y="299"/>
                      </a:cubicBezTo>
                      <a:cubicBezTo>
                        <a:pt x="47" y="299"/>
                        <a:pt x="47" y="299"/>
                        <a:pt x="47" y="299"/>
                      </a:cubicBezTo>
                      <a:close/>
                      <a:moveTo>
                        <a:pt x="160" y="218"/>
                      </a:moveTo>
                      <a:cubicBezTo>
                        <a:pt x="136" y="218"/>
                        <a:pt x="136" y="218"/>
                        <a:pt x="136" y="218"/>
                      </a:cubicBezTo>
                      <a:cubicBezTo>
                        <a:pt x="136" y="235"/>
                        <a:pt x="136" y="235"/>
                        <a:pt x="136" y="235"/>
                      </a:cubicBezTo>
                      <a:cubicBezTo>
                        <a:pt x="109" y="212"/>
                        <a:pt x="109" y="212"/>
                        <a:pt x="109" y="212"/>
                      </a:cubicBezTo>
                      <a:cubicBezTo>
                        <a:pt x="29" y="283"/>
                        <a:pt x="29" y="283"/>
                        <a:pt x="29" y="283"/>
                      </a:cubicBezTo>
                      <a:cubicBezTo>
                        <a:pt x="29" y="304"/>
                        <a:pt x="29" y="304"/>
                        <a:pt x="29" y="304"/>
                      </a:cubicBezTo>
                      <a:cubicBezTo>
                        <a:pt x="109" y="234"/>
                        <a:pt x="109" y="234"/>
                        <a:pt x="109" y="234"/>
                      </a:cubicBezTo>
                      <a:cubicBezTo>
                        <a:pt x="190" y="304"/>
                        <a:pt x="190" y="304"/>
                        <a:pt x="190" y="304"/>
                      </a:cubicBezTo>
                      <a:cubicBezTo>
                        <a:pt x="190" y="283"/>
                        <a:pt x="190" y="283"/>
                        <a:pt x="190" y="283"/>
                      </a:cubicBezTo>
                      <a:cubicBezTo>
                        <a:pt x="160" y="256"/>
                        <a:pt x="160" y="256"/>
                        <a:pt x="160" y="256"/>
                      </a:cubicBezTo>
                      <a:cubicBezTo>
                        <a:pt x="160" y="218"/>
                        <a:pt x="160" y="218"/>
                        <a:pt x="160" y="218"/>
                      </a:cubicBezTo>
                      <a:cubicBezTo>
                        <a:pt x="160" y="218"/>
                        <a:pt x="160" y="218"/>
                        <a:pt x="160" y="218"/>
                      </a:cubicBezTo>
                      <a:close/>
                      <a:moveTo>
                        <a:pt x="109" y="189"/>
                      </a:moveTo>
                      <a:cubicBezTo>
                        <a:pt x="133" y="189"/>
                        <a:pt x="153" y="175"/>
                        <a:pt x="160" y="159"/>
                      </a:cubicBezTo>
                      <a:cubicBezTo>
                        <a:pt x="147" y="173"/>
                        <a:pt x="128" y="180"/>
                        <a:pt x="109" y="180"/>
                      </a:cubicBezTo>
                      <a:cubicBezTo>
                        <a:pt x="91" y="180"/>
                        <a:pt x="72" y="173"/>
                        <a:pt x="59" y="159"/>
                      </a:cubicBezTo>
                      <a:cubicBezTo>
                        <a:pt x="66" y="175"/>
                        <a:pt x="86" y="189"/>
                        <a:pt x="109" y="189"/>
                      </a:cubicBezTo>
                      <a:close/>
                      <a:moveTo>
                        <a:pt x="109" y="164"/>
                      </a:moveTo>
                      <a:cubicBezTo>
                        <a:pt x="127" y="164"/>
                        <a:pt x="140" y="152"/>
                        <a:pt x="144" y="141"/>
                      </a:cubicBezTo>
                      <a:cubicBezTo>
                        <a:pt x="135" y="150"/>
                        <a:pt x="122" y="156"/>
                        <a:pt x="109" y="156"/>
                      </a:cubicBezTo>
                      <a:cubicBezTo>
                        <a:pt x="96" y="156"/>
                        <a:pt x="84" y="150"/>
                        <a:pt x="75" y="141"/>
                      </a:cubicBezTo>
                      <a:cubicBezTo>
                        <a:pt x="79" y="152"/>
                        <a:pt x="92" y="164"/>
                        <a:pt x="109" y="164"/>
                      </a:cubicBezTo>
                      <a:close/>
                      <a:moveTo>
                        <a:pt x="130" y="127"/>
                      </a:moveTo>
                      <a:cubicBezTo>
                        <a:pt x="124" y="132"/>
                        <a:pt x="117" y="135"/>
                        <a:pt x="109" y="135"/>
                      </a:cubicBezTo>
                      <a:cubicBezTo>
                        <a:pt x="102" y="135"/>
                        <a:pt x="95" y="132"/>
                        <a:pt x="89" y="127"/>
                      </a:cubicBezTo>
                      <a:cubicBezTo>
                        <a:pt x="91" y="135"/>
                        <a:pt x="99" y="142"/>
                        <a:pt x="109" y="142"/>
                      </a:cubicBezTo>
                      <a:cubicBezTo>
                        <a:pt x="120" y="142"/>
                        <a:pt x="128" y="135"/>
                        <a:pt x="130" y="127"/>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04" name="Freeform 195"/>
                <p:cNvSpPr>
                  <a:spLocks noEditPoints="1"/>
                </p:cNvSpPr>
                <p:nvPr/>
              </p:nvSpPr>
              <p:spPr bwMode="auto">
                <a:xfrm>
                  <a:off x="11639761" y="1680208"/>
                  <a:ext cx="187738" cy="241462"/>
                </a:xfrm>
                <a:custGeom>
                  <a:avLst/>
                  <a:gdLst>
                    <a:gd name="T0" fmla="*/ 62 w 171"/>
                    <a:gd name="T1" fmla="*/ 187 h 212"/>
                    <a:gd name="T2" fmla="*/ 118 w 171"/>
                    <a:gd name="T3" fmla="*/ 175 h 212"/>
                    <a:gd name="T4" fmla="*/ 118 w 171"/>
                    <a:gd name="T5" fmla="*/ 11 h 212"/>
                    <a:gd name="T6" fmla="*/ 62 w 171"/>
                    <a:gd name="T7" fmla="*/ 0 h 212"/>
                    <a:gd name="T8" fmla="*/ 55 w 171"/>
                    <a:gd name="T9" fmla="*/ 34 h 212"/>
                    <a:gd name="T10" fmla="*/ 74 w 171"/>
                    <a:gd name="T11" fmla="*/ 45 h 212"/>
                    <a:gd name="T12" fmla="*/ 58 w 171"/>
                    <a:gd name="T13" fmla="*/ 56 h 212"/>
                    <a:gd name="T14" fmla="*/ 74 w 171"/>
                    <a:gd name="T15" fmla="*/ 67 h 212"/>
                    <a:gd name="T16" fmla="*/ 59 w 171"/>
                    <a:gd name="T17" fmla="*/ 78 h 212"/>
                    <a:gd name="T18" fmla="*/ 74 w 171"/>
                    <a:gd name="T19" fmla="*/ 89 h 212"/>
                    <a:gd name="T20" fmla="*/ 53 w 171"/>
                    <a:gd name="T21" fmla="*/ 170 h 212"/>
                    <a:gd name="T22" fmla="*/ 85 w 171"/>
                    <a:gd name="T23" fmla="*/ 146 h 212"/>
                    <a:gd name="T24" fmla="*/ 85 w 171"/>
                    <a:gd name="T25" fmla="*/ 168 h 212"/>
                    <a:gd name="T26" fmla="*/ 85 w 171"/>
                    <a:gd name="T27" fmla="*/ 146 h 212"/>
                    <a:gd name="T28" fmla="*/ 90 w 171"/>
                    <a:gd name="T29" fmla="*/ 157 h 212"/>
                    <a:gd name="T30" fmla="*/ 80 w 171"/>
                    <a:gd name="T31" fmla="*/ 157 h 212"/>
                    <a:gd name="T32" fmla="*/ 129 w 171"/>
                    <a:gd name="T33" fmla="*/ 170 h 212"/>
                    <a:gd name="T34" fmla="*/ 125 w 171"/>
                    <a:gd name="T35" fmla="*/ 174 h 212"/>
                    <a:gd name="T36" fmla="*/ 108 w 171"/>
                    <a:gd name="T37" fmla="*/ 194 h 212"/>
                    <a:gd name="T38" fmla="*/ 49 w 171"/>
                    <a:gd name="T39" fmla="*/ 188 h 212"/>
                    <a:gd name="T40" fmla="*/ 45 w 171"/>
                    <a:gd name="T41" fmla="*/ 170 h 212"/>
                    <a:gd name="T42" fmla="*/ 26 w 171"/>
                    <a:gd name="T43" fmla="*/ 185 h 212"/>
                    <a:gd name="T44" fmla="*/ 41 w 171"/>
                    <a:gd name="T45" fmla="*/ 212 h 212"/>
                    <a:gd name="T46" fmla="*/ 144 w 171"/>
                    <a:gd name="T47" fmla="*/ 197 h 212"/>
                    <a:gd name="T48" fmla="*/ 129 w 171"/>
                    <a:gd name="T49" fmla="*/ 170 h 212"/>
                    <a:gd name="T50" fmla="*/ 127 w 171"/>
                    <a:gd name="T51" fmla="*/ 51 h 212"/>
                    <a:gd name="T52" fmla="*/ 138 w 171"/>
                    <a:gd name="T53" fmla="*/ 65 h 212"/>
                    <a:gd name="T54" fmla="*/ 43 w 171"/>
                    <a:gd name="T55" fmla="*/ 51 h 212"/>
                    <a:gd name="T56" fmla="*/ 43 w 171"/>
                    <a:gd name="T57" fmla="*/ 79 h 212"/>
                    <a:gd name="T58" fmla="*/ 164 w 171"/>
                    <a:gd name="T59" fmla="*/ 65 h 212"/>
                    <a:gd name="T60" fmla="*/ 170 w 171"/>
                    <a:gd name="T61" fmla="*/ 65 h 212"/>
                    <a:gd name="T62" fmla="*/ 137 w 171"/>
                    <a:gd name="T63" fmla="*/ 41 h 212"/>
                    <a:gd name="T64" fmla="*/ 137 w 171"/>
                    <a:gd name="T65" fmla="*/ 89 h 212"/>
                    <a:gd name="T66" fmla="*/ 137 w 171"/>
                    <a:gd name="T67" fmla="*/ 41 h 212"/>
                    <a:gd name="T68" fmla="*/ 34 w 171"/>
                    <a:gd name="T69" fmla="*/ 41 h 212"/>
                    <a:gd name="T70" fmla="*/ 34 w 171"/>
                    <a:gd name="T71" fmla="*/ 89 h 212"/>
                    <a:gd name="T72" fmla="*/ 21 w 171"/>
                    <a:gd name="T73" fmla="*/ 30 h 212"/>
                    <a:gd name="T74" fmla="*/ 21 w 171"/>
                    <a:gd name="T75" fmla="*/ 100 h 212"/>
                    <a:gd name="T76" fmla="*/ 21 w 171"/>
                    <a:gd name="T77" fmla="*/ 3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1" h="212">
                      <a:moveTo>
                        <a:pt x="52" y="175"/>
                      </a:moveTo>
                      <a:cubicBezTo>
                        <a:pt x="51" y="181"/>
                        <a:pt x="56" y="187"/>
                        <a:pt x="62" y="187"/>
                      </a:cubicBezTo>
                      <a:cubicBezTo>
                        <a:pt x="108" y="187"/>
                        <a:pt x="108" y="187"/>
                        <a:pt x="108" y="187"/>
                      </a:cubicBezTo>
                      <a:cubicBezTo>
                        <a:pt x="115" y="187"/>
                        <a:pt x="119" y="181"/>
                        <a:pt x="118" y="175"/>
                      </a:cubicBezTo>
                      <a:cubicBezTo>
                        <a:pt x="118" y="173"/>
                        <a:pt x="118" y="172"/>
                        <a:pt x="117" y="170"/>
                      </a:cubicBezTo>
                      <a:cubicBezTo>
                        <a:pt x="109" y="112"/>
                        <a:pt x="109" y="70"/>
                        <a:pt x="118" y="11"/>
                      </a:cubicBezTo>
                      <a:cubicBezTo>
                        <a:pt x="119" y="5"/>
                        <a:pt x="115" y="0"/>
                        <a:pt x="108" y="0"/>
                      </a:cubicBezTo>
                      <a:cubicBezTo>
                        <a:pt x="62" y="0"/>
                        <a:pt x="62" y="0"/>
                        <a:pt x="62" y="0"/>
                      </a:cubicBezTo>
                      <a:cubicBezTo>
                        <a:pt x="56" y="0"/>
                        <a:pt x="51" y="5"/>
                        <a:pt x="52" y="11"/>
                      </a:cubicBezTo>
                      <a:cubicBezTo>
                        <a:pt x="53" y="19"/>
                        <a:pt x="54" y="27"/>
                        <a:pt x="55" y="34"/>
                      </a:cubicBezTo>
                      <a:cubicBezTo>
                        <a:pt x="74" y="34"/>
                        <a:pt x="74" y="34"/>
                        <a:pt x="74" y="34"/>
                      </a:cubicBezTo>
                      <a:cubicBezTo>
                        <a:pt x="74" y="45"/>
                        <a:pt x="74" y="45"/>
                        <a:pt x="74" y="45"/>
                      </a:cubicBezTo>
                      <a:cubicBezTo>
                        <a:pt x="56" y="45"/>
                        <a:pt x="56" y="45"/>
                        <a:pt x="56" y="45"/>
                      </a:cubicBezTo>
                      <a:cubicBezTo>
                        <a:pt x="57" y="49"/>
                        <a:pt x="57" y="53"/>
                        <a:pt x="58" y="56"/>
                      </a:cubicBezTo>
                      <a:cubicBezTo>
                        <a:pt x="74" y="56"/>
                        <a:pt x="74" y="56"/>
                        <a:pt x="74" y="56"/>
                      </a:cubicBezTo>
                      <a:cubicBezTo>
                        <a:pt x="74" y="67"/>
                        <a:pt x="74" y="67"/>
                        <a:pt x="74" y="67"/>
                      </a:cubicBezTo>
                      <a:cubicBezTo>
                        <a:pt x="58" y="67"/>
                        <a:pt x="58" y="67"/>
                        <a:pt x="58" y="67"/>
                      </a:cubicBezTo>
                      <a:cubicBezTo>
                        <a:pt x="59" y="71"/>
                        <a:pt x="59" y="75"/>
                        <a:pt x="59" y="78"/>
                      </a:cubicBezTo>
                      <a:cubicBezTo>
                        <a:pt x="74" y="78"/>
                        <a:pt x="74" y="78"/>
                        <a:pt x="74" y="78"/>
                      </a:cubicBezTo>
                      <a:cubicBezTo>
                        <a:pt x="74" y="89"/>
                        <a:pt x="74" y="89"/>
                        <a:pt x="74" y="89"/>
                      </a:cubicBezTo>
                      <a:cubicBezTo>
                        <a:pt x="59" y="89"/>
                        <a:pt x="59" y="89"/>
                        <a:pt x="59" y="89"/>
                      </a:cubicBezTo>
                      <a:cubicBezTo>
                        <a:pt x="59" y="115"/>
                        <a:pt x="57" y="140"/>
                        <a:pt x="53" y="170"/>
                      </a:cubicBezTo>
                      <a:cubicBezTo>
                        <a:pt x="53" y="172"/>
                        <a:pt x="52" y="173"/>
                        <a:pt x="52" y="175"/>
                      </a:cubicBezTo>
                      <a:close/>
                      <a:moveTo>
                        <a:pt x="85" y="146"/>
                      </a:moveTo>
                      <a:cubicBezTo>
                        <a:pt x="91" y="146"/>
                        <a:pt x="97" y="151"/>
                        <a:pt x="97" y="157"/>
                      </a:cubicBezTo>
                      <a:cubicBezTo>
                        <a:pt x="97" y="163"/>
                        <a:pt x="91" y="168"/>
                        <a:pt x="85" y="168"/>
                      </a:cubicBezTo>
                      <a:cubicBezTo>
                        <a:pt x="79" y="168"/>
                        <a:pt x="74" y="163"/>
                        <a:pt x="74" y="157"/>
                      </a:cubicBezTo>
                      <a:cubicBezTo>
                        <a:pt x="74" y="151"/>
                        <a:pt x="79" y="146"/>
                        <a:pt x="85" y="146"/>
                      </a:cubicBezTo>
                      <a:close/>
                      <a:moveTo>
                        <a:pt x="85" y="162"/>
                      </a:moveTo>
                      <a:cubicBezTo>
                        <a:pt x="88" y="162"/>
                        <a:pt x="90" y="160"/>
                        <a:pt x="90" y="157"/>
                      </a:cubicBezTo>
                      <a:cubicBezTo>
                        <a:pt x="90" y="154"/>
                        <a:pt x="88" y="152"/>
                        <a:pt x="85" y="152"/>
                      </a:cubicBezTo>
                      <a:cubicBezTo>
                        <a:pt x="82" y="152"/>
                        <a:pt x="80" y="154"/>
                        <a:pt x="80" y="157"/>
                      </a:cubicBezTo>
                      <a:cubicBezTo>
                        <a:pt x="80" y="160"/>
                        <a:pt x="82" y="162"/>
                        <a:pt x="85" y="162"/>
                      </a:cubicBezTo>
                      <a:close/>
                      <a:moveTo>
                        <a:pt x="129" y="170"/>
                      </a:moveTo>
                      <a:cubicBezTo>
                        <a:pt x="125" y="170"/>
                        <a:pt x="125" y="170"/>
                        <a:pt x="125" y="170"/>
                      </a:cubicBezTo>
                      <a:cubicBezTo>
                        <a:pt x="125" y="171"/>
                        <a:pt x="125" y="173"/>
                        <a:pt x="125" y="174"/>
                      </a:cubicBezTo>
                      <a:cubicBezTo>
                        <a:pt x="126" y="179"/>
                        <a:pt x="125" y="184"/>
                        <a:pt x="121" y="188"/>
                      </a:cubicBezTo>
                      <a:cubicBezTo>
                        <a:pt x="118" y="192"/>
                        <a:pt x="114" y="194"/>
                        <a:pt x="108" y="194"/>
                      </a:cubicBezTo>
                      <a:cubicBezTo>
                        <a:pt x="62" y="194"/>
                        <a:pt x="62" y="194"/>
                        <a:pt x="62" y="194"/>
                      </a:cubicBezTo>
                      <a:cubicBezTo>
                        <a:pt x="57" y="194"/>
                        <a:pt x="52" y="192"/>
                        <a:pt x="49" y="188"/>
                      </a:cubicBezTo>
                      <a:cubicBezTo>
                        <a:pt x="45" y="184"/>
                        <a:pt x="44" y="179"/>
                        <a:pt x="45" y="174"/>
                      </a:cubicBezTo>
                      <a:cubicBezTo>
                        <a:pt x="45" y="173"/>
                        <a:pt x="45" y="171"/>
                        <a:pt x="45" y="170"/>
                      </a:cubicBezTo>
                      <a:cubicBezTo>
                        <a:pt x="41" y="170"/>
                        <a:pt x="41" y="170"/>
                        <a:pt x="41" y="170"/>
                      </a:cubicBezTo>
                      <a:cubicBezTo>
                        <a:pt x="33" y="170"/>
                        <a:pt x="26" y="177"/>
                        <a:pt x="26" y="185"/>
                      </a:cubicBezTo>
                      <a:cubicBezTo>
                        <a:pt x="26" y="197"/>
                        <a:pt x="26" y="197"/>
                        <a:pt x="26" y="197"/>
                      </a:cubicBezTo>
                      <a:cubicBezTo>
                        <a:pt x="26" y="205"/>
                        <a:pt x="33" y="212"/>
                        <a:pt x="41" y="212"/>
                      </a:cubicBezTo>
                      <a:cubicBezTo>
                        <a:pt x="129" y="212"/>
                        <a:pt x="129" y="212"/>
                        <a:pt x="129" y="212"/>
                      </a:cubicBezTo>
                      <a:cubicBezTo>
                        <a:pt x="137" y="212"/>
                        <a:pt x="144" y="205"/>
                        <a:pt x="144" y="197"/>
                      </a:cubicBezTo>
                      <a:cubicBezTo>
                        <a:pt x="144" y="185"/>
                        <a:pt x="144" y="185"/>
                        <a:pt x="144" y="185"/>
                      </a:cubicBezTo>
                      <a:cubicBezTo>
                        <a:pt x="144" y="177"/>
                        <a:pt x="137" y="170"/>
                        <a:pt x="129" y="170"/>
                      </a:cubicBezTo>
                      <a:close/>
                      <a:moveTo>
                        <a:pt x="138" y="65"/>
                      </a:moveTo>
                      <a:cubicBezTo>
                        <a:pt x="138" y="58"/>
                        <a:pt x="133" y="52"/>
                        <a:pt x="127" y="51"/>
                      </a:cubicBezTo>
                      <a:cubicBezTo>
                        <a:pt x="135" y="58"/>
                        <a:pt x="135" y="72"/>
                        <a:pt x="127" y="79"/>
                      </a:cubicBezTo>
                      <a:cubicBezTo>
                        <a:pt x="133" y="78"/>
                        <a:pt x="138" y="72"/>
                        <a:pt x="138" y="65"/>
                      </a:cubicBezTo>
                      <a:close/>
                      <a:moveTo>
                        <a:pt x="43" y="79"/>
                      </a:moveTo>
                      <a:cubicBezTo>
                        <a:pt x="35" y="72"/>
                        <a:pt x="35" y="58"/>
                        <a:pt x="43" y="51"/>
                      </a:cubicBezTo>
                      <a:cubicBezTo>
                        <a:pt x="38" y="52"/>
                        <a:pt x="32" y="58"/>
                        <a:pt x="33" y="65"/>
                      </a:cubicBezTo>
                      <a:cubicBezTo>
                        <a:pt x="32" y="72"/>
                        <a:pt x="38" y="78"/>
                        <a:pt x="43" y="79"/>
                      </a:cubicBezTo>
                      <a:close/>
                      <a:moveTo>
                        <a:pt x="150" y="30"/>
                      </a:moveTo>
                      <a:cubicBezTo>
                        <a:pt x="159" y="39"/>
                        <a:pt x="164" y="52"/>
                        <a:pt x="164" y="65"/>
                      </a:cubicBezTo>
                      <a:cubicBezTo>
                        <a:pt x="164" y="78"/>
                        <a:pt x="159" y="91"/>
                        <a:pt x="150" y="100"/>
                      </a:cubicBezTo>
                      <a:cubicBezTo>
                        <a:pt x="160" y="95"/>
                        <a:pt x="171" y="81"/>
                        <a:pt x="170" y="65"/>
                      </a:cubicBezTo>
                      <a:cubicBezTo>
                        <a:pt x="171" y="49"/>
                        <a:pt x="160" y="35"/>
                        <a:pt x="150" y="30"/>
                      </a:cubicBezTo>
                      <a:close/>
                      <a:moveTo>
                        <a:pt x="137" y="41"/>
                      </a:moveTo>
                      <a:cubicBezTo>
                        <a:pt x="143" y="47"/>
                        <a:pt x="147" y="56"/>
                        <a:pt x="147" y="65"/>
                      </a:cubicBezTo>
                      <a:cubicBezTo>
                        <a:pt x="147" y="74"/>
                        <a:pt x="143" y="83"/>
                        <a:pt x="137" y="89"/>
                      </a:cubicBezTo>
                      <a:cubicBezTo>
                        <a:pt x="145" y="86"/>
                        <a:pt x="153" y="77"/>
                        <a:pt x="153" y="65"/>
                      </a:cubicBezTo>
                      <a:cubicBezTo>
                        <a:pt x="153" y="53"/>
                        <a:pt x="145" y="44"/>
                        <a:pt x="137" y="41"/>
                      </a:cubicBezTo>
                      <a:close/>
                      <a:moveTo>
                        <a:pt x="23" y="65"/>
                      </a:moveTo>
                      <a:cubicBezTo>
                        <a:pt x="23" y="56"/>
                        <a:pt x="27" y="47"/>
                        <a:pt x="34" y="41"/>
                      </a:cubicBezTo>
                      <a:cubicBezTo>
                        <a:pt x="26" y="44"/>
                        <a:pt x="17" y="53"/>
                        <a:pt x="17" y="65"/>
                      </a:cubicBezTo>
                      <a:cubicBezTo>
                        <a:pt x="17" y="77"/>
                        <a:pt x="26" y="86"/>
                        <a:pt x="34" y="89"/>
                      </a:cubicBezTo>
                      <a:cubicBezTo>
                        <a:pt x="27" y="83"/>
                        <a:pt x="23" y="74"/>
                        <a:pt x="23" y="65"/>
                      </a:cubicBezTo>
                      <a:close/>
                      <a:moveTo>
                        <a:pt x="21" y="30"/>
                      </a:moveTo>
                      <a:cubicBezTo>
                        <a:pt x="10" y="35"/>
                        <a:pt x="0" y="49"/>
                        <a:pt x="0" y="65"/>
                      </a:cubicBezTo>
                      <a:cubicBezTo>
                        <a:pt x="0" y="81"/>
                        <a:pt x="10" y="95"/>
                        <a:pt x="21" y="100"/>
                      </a:cubicBezTo>
                      <a:cubicBezTo>
                        <a:pt x="11" y="91"/>
                        <a:pt x="6" y="78"/>
                        <a:pt x="6" y="65"/>
                      </a:cubicBezTo>
                      <a:cubicBezTo>
                        <a:pt x="6" y="52"/>
                        <a:pt x="11" y="39"/>
                        <a:pt x="21" y="30"/>
                      </a:cubicBezTo>
                      <a:close/>
                    </a:path>
                  </a:pathLst>
                </a:custGeom>
                <a:solidFill>
                  <a:srgbClr val="028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05" name="Freeform 196"/>
                <p:cNvSpPr>
                  <a:spLocks noEditPoints="1"/>
                </p:cNvSpPr>
                <p:nvPr/>
              </p:nvSpPr>
              <p:spPr bwMode="auto">
                <a:xfrm rot="5400000">
                  <a:off x="10331851" y="762351"/>
                  <a:ext cx="215389" cy="215806"/>
                </a:xfrm>
                <a:custGeom>
                  <a:avLst/>
                  <a:gdLst>
                    <a:gd name="T0" fmla="*/ 155 w 196"/>
                    <a:gd name="T1" fmla="*/ 76 h 190"/>
                    <a:gd name="T2" fmla="*/ 147 w 196"/>
                    <a:gd name="T3" fmla="*/ 29 h 190"/>
                    <a:gd name="T4" fmla="*/ 117 w 196"/>
                    <a:gd name="T5" fmla="*/ 28 h 190"/>
                    <a:gd name="T6" fmla="*/ 92 w 196"/>
                    <a:gd name="T7" fmla="*/ 0 h 190"/>
                    <a:gd name="T8" fmla="*/ 70 w 196"/>
                    <a:gd name="T9" fmla="*/ 36 h 190"/>
                    <a:gd name="T10" fmla="*/ 35 w 196"/>
                    <a:gd name="T11" fmla="*/ 28 h 190"/>
                    <a:gd name="T12" fmla="*/ 21 w 196"/>
                    <a:gd name="T13" fmla="*/ 73 h 190"/>
                    <a:gd name="T14" fmla="*/ 0 w 196"/>
                    <a:gd name="T15" fmla="*/ 99 h 190"/>
                    <a:gd name="T16" fmla="*/ 29 w 196"/>
                    <a:gd name="T17" fmla="*/ 121 h 190"/>
                    <a:gd name="T18" fmla="*/ 14 w 196"/>
                    <a:gd name="T19" fmla="*/ 163 h 190"/>
                    <a:gd name="T20" fmla="*/ 66 w 196"/>
                    <a:gd name="T21" fmla="*/ 170 h 190"/>
                    <a:gd name="T22" fmla="*/ 91 w 196"/>
                    <a:gd name="T23" fmla="*/ 190 h 190"/>
                    <a:gd name="T24" fmla="*/ 93 w 196"/>
                    <a:gd name="T25" fmla="*/ 190 h 190"/>
                    <a:gd name="T26" fmla="*/ 102 w 196"/>
                    <a:gd name="T27" fmla="*/ 169 h 190"/>
                    <a:gd name="T28" fmla="*/ 143 w 196"/>
                    <a:gd name="T29" fmla="*/ 162 h 190"/>
                    <a:gd name="T30" fmla="*/ 161 w 196"/>
                    <a:gd name="T31" fmla="*/ 151 h 190"/>
                    <a:gd name="T32" fmla="*/ 178 w 196"/>
                    <a:gd name="T33" fmla="*/ 110 h 190"/>
                    <a:gd name="T34" fmla="*/ 167 w 196"/>
                    <a:gd name="T35" fmla="*/ 119 h 190"/>
                    <a:gd name="T36" fmla="*/ 119 w 196"/>
                    <a:gd name="T37" fmla="*/ 111 h 190"/>
                    <a:gd name="T38" fmla="*/ 158 w 196"/>
                    <a:gd name="T39" fmla="*/ 150 h 190"/>
                    <a:gd name="T40" fmla="*/ 112 w 196"/>
                    <a:gd name="T41" fmla="*/ 121 h 190"/>
                    <a:gd name="T42" fmla="*/ 123 w 196"/>
                    <a:gd name="T43" fmla="*/ 152 h 190"/>
                    <a:gd name="T44" fmla="*/ 103 w 196"/>
                    <a:gd name="T45" fmla="*/ 127 h 190"/>
                    <a:gd name="T46" fmla="*/ 99 w 196"/>
                    <a:gd name="T47" fmla="*/ 167 h 190"/>
                    <a:gd name="T48" fmla="*/ 91 w 196"/>
                    <a:gd name="T49" fmla="*/ 129 h 190"/>
                    <a:gd name="T50" fmla="*/ 75 w 196"/>
                    <a:gd name="T51" fmla="*/ 161 h 190"/>
                    <a:gd name="T52" fmla="*/ 69 w 196"/>
                    <a:gd name="T53" fmla="*/ 152 h 190"/>
                    <a:gd name="T54" fmla="*/ 37 w 196"/>
                    <a:gd name="T55" fmla="*/ 155 h 190"/>
                    <a:gd name="T56" fmla="*/ 31 w 196"/>
                    <a:gd name="T57" fmla="*/ 151 h 190"/>
                    <a:gd name="T58" fmla="*/ 47 w 196"/>
                    <a:gd name="T59" fmla="*/ 118 h 190"/>
                    <a:gd name="T60" fmla="*/ 38 w 196"/>
                    <a:gd name="T61" fmla="*/ 112 h 190"/>
                    <a:gd name="T62" fmla="*/ 62 w 196"/>
                    <a:gd name="T63" fmla="*/ 100 h 190"/>
                    <a:gd name="T64" fmla="*/ 21 w 196"/>
                    <a:gd name="T65" fmla="*/ 89 h 190"/>
                    <a:gd name="T66" fmla="*/ 64 w 196"/>
                    <a:gd name="T67" fmla="*/ 88 h 190"/>
                    <a:gd name="T68" fmla="*/ 33 w 196"/>
                    <a:gd name="T69" fmla="*/ 64 h 190"/>
                    <a:gd name="T70" fmla="*/ 70 w 196"/>
                    <a:gd name="T71" fmla="*/ 78 h 190"/>
                    <a:gd name="T72" fmla="*/ 60 w 196"/>
                    <a:gd name="T73" fmla="*/ 46 h 190"/>
                    <a:gd name="T74" fmla="*/ 81 w 196"/>
                    <a:gd name="T75" fmla="*/ 71 h 190"/>
                    <a:gd name="T76" fmla="*/ 86 w 196"/>
                    <a:gd name="T77" fmla="*/ 25 h 190"/>
                    <a:gd name="T78" fmla="*/ 93 w 196"/>
                    <a:gd name="T79" fmla="*/ 69 h 190"/>
                    <a:gd name="T80" fmla="*/ 108 w 196"/>
                    <a:gd name="T81" fmla="*/ 37 h 190"/>
                    <a:gd name="T82" fmla="*/ 115 w 196"/>
                    <a:gd name="T83" fmla="*/ 46 h 190"/>
                    <a:gd name="T84" fmla="*/ 134 w 196"/>
                    <a:gd name="T85" fmla="*/ 43 h 190"/>
                    <a:gd name="T86" fmla="*/ 139 w 196"/>
                    <a:gd name="T87" fmla="*/ 53 h 190"/>
                    <a:gd name="T88" fmla="*/ 137 w 196"/>
                    <a:gd name="T89" fmla="*/ 79 h 190"/>
                    <a:gd name="T90" fmla="*/ 146 w 196"/>
                    <a:gd name="T91" fmla="*/ 86 h 190"/>
                    <a:gd name="T92" fmla="*/ 122 w 196"/>
                    <a:gd name="T93" fmla="*/ 97 h 190"/>
                    <a:gd name="T94" fmla="*/ 175 w 196"/>
                    <a:gd name="T95" fmla="*/ 109 h 190"/>
                    <a:gd name="T96" fmla="*/ 116 w 196"/>
                    <a:gd name="T97" fmla="*/ 88 h 190"/>
                    <a:gd name="T98" fmla="*/ 101 w 196"/>
                    <a:gd name="T99" fmla="*/ 74 h 190"/>
                    <a:gd name="T100" fmla="*/ 83 w 196"/>
                    <a:gd name="T101" fmla="*/ 74 h 190"/>
                    <a:gd name="T102" fmla="*/ 68 w 196"/>
                    <a:gd name="T103" fmla="*/ 88 h 190"/>
                    <a:gd name="T104" fmla="*/ 66 w 196"/>
                    <a:gd name="T105" fmla="*/ 100 h 190"/>
                    <a:gd name="T106" fmla="*/ 74 w 196"/>
                    <a:gd name="T107" fmla="*/ 118 h 190"/>
                    <a:gd name="T108" fmla="*/ 92 w 196"/>
                    <a:gd name="T109" fmla="*/ 125 h 190"/>
                    <a:gd name="T110" fmla="*/ 109 w 196"/>
                    <a:gd name="T111" fmla="*/ 118 h 190"/>
                    <a:gd name="T112" fmla="*/ 118 w 196"/>
                    <a:gd name="T113" fmla="*/ 10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6" h="190">
                      <a:moveTo>
                        <a:pt x="183" y="85"/>
                      </a:moveTo>
                      <a:cubicBezTo>
                        <a:pt x="179" y="85"/>
                        <a:pt x="175" y="87"/>
                        <a:pt x="173" y="91"/>
                      </a:cubicBezTo>
                      <a:cubicBezTo>
                        <a:pt x="154" y="81"/>
                        <a:pt x="154" y="81"/>
                        <a:pt x="154" y="81"/>
                      </a:cubicBezTo>
                      <a:cubicBezTo>
                        <a:pt x="155" y="79"/>
                        <a:pt x="155" y="78"/>
                        <a:pt x="155" y="76"/>
                      </a:cubicBezTo>
                      <a:cubicBezTo>
                        <a:pt x="155" y="72"/>
                        <a:pt x="152" y="68"/>
                        <a:pt x="148" y="67"/>
                      </a:cubicBezTo>
                      <a:cubicBezTo>
                        <a:pt x="149" y="56"/>
                        <a:pt x="149" y="56"/>
                        <a:pt x="149" y="56"/>
                      </a:cubicBezTo>
                      <a:cubicBezTo>
                        <a:pt x="155" y="55"/>
                        <a:pt x="161" y="49"/>
                        <a:pt x="161" y="43"/>
                      </a:cubicBezTo>
                      <a:cubicBezTo>
                        <a:pt x="161" y="35"/>
                        <a:pt x="155" y="29"/>
                        <a:pt x="147" y="29"/>
                      </a:cubicBezTo>
                      <a:cubicBezTo>
                        <a:pt x="142" y="29"/>
                        <a:pt x="137" y="33"/>
                        <a:pt x="135" y="38"/>
                      </a:cubicBezTo>
                      <a:cubicBezTo>
                        <a:pt x="127" y="37"/>
                        <a:pt x="127" y="37"/>
                        <a:pt x="127" y="37"/>
                      </a:cubicBezTo>
                      <a:cubicBezTo>
                        <a:pt x="127" y="37"/>
                        <a:pt x="127" y="37"/>
                        <a:pt x="127" y="37"/>
                      </a:cubicBezTo>
                      <a:cubicBezTo>
                        <a:pt x="127" y="32"/>
                        <a:pt x="122" y="28"/>
                        <a:pt x="117" y="28"/>
                      </a:cubicBezTo>
                      <a:cubicBezTo>
                        <a:pt x="115" y="28"/>
                        <a:pt x="113" y="29"/>
                        <a:pt x="111" y="30"/>
                      </a:cubicBezTo>
                      <a:cubicBezTo>
                        <a:pt x="102" y="22"/>
                        <a:pt x="102" y="22"/>
                        <a:pt x="102" y="22"/>
                      </a:cubicBezTo>
                      <a:cubicBezTo>
                        <a:pt x="104" y="20"/>
                        <a:pt x="105" y="17"/>
                        <a:pt x="105" y="14"/>
                      </a:cubicBezTo>
                      <a:cubicBezTo>
                        <a:pt x="105" y="6"/>
                        <a:pt x="99" y="0"/>
                        <a:pt x="92" y="0"/>
                      </a:cubicBezTo>
                      <a:cubicBezTo>
                        <a:pt x="85" y="0"/>
                        <a:pt x="79" y="6"/>
                        <a:pt x="79" y="14"/>
                      </a:cubicBezTo>
                      <a:cubicBezTo>
                        <a:pt x="79" y="17"/>
                        <a:pt x="80" y="21"/>
                        <a:pt x="83" y="23"/>
                      </a:cubicBezTo>
                      <a:cubicBezTo>
                        <a:pt x="74" y="37"/>
                        <a:pt x="74" y="37"/>
                        <a:pt x="74" y="37"/>
                      </a:cubicBezTo>
                      <a:cubicBezTo>
                        <a:pt x="72" y="36"/>
                        <a:pt x="71" y="36"/>
                        <a:pt x="70" y="36"/>
                      </a:cubicBezTo>
                      <a:cubicBezTo>
                        <a:pt x="65" y="36"/>
                        <a:pt x="61" y="39"/>
                        <a:pt x="60" y="43"/>
                      </a:cubicBezTo>
                      <a:cubicBezTo>
                        <a:pt x="48" y="42"/>
                        <a:pt x="48" y="42"/>
                        <a:pt x="48" y="42"/>
                      </a:cubicBezTo>
                      <a:cubicBezTo>
                        <a:pt x="48" y="42"/>
                        <a:pt x="48" y="42"/>
                        <a:pt x="48" y="42"/>
                      </a:cubicBezTo>
                      <a:cubicBezTo>
                        <a:pt x="48" y="34"/>
                        <a:pt x="42" y="28"/>
                        <a:pt x="35" y="28"/>
                      </a:cubicBezTo>
                      <a:cubicBezTo>
                        <a:pt x="28" y="28"/>
                        <a:pt x="22" y="34"/>
                        <a:pt x="22" y="42"/>
                      </a:cubicBezTo>
                      <a:cubicBezTo>
                        <a:pt x="22" y="48"/>
                        <a:pt x="25" y="52"/>
                        <a:pt x="31" y="54"/>
                      </a:cubicBezTo>
                      <a:cubicBezTo>
                        <a:pt x="30" y="64"/>
                        <a:pt x="30" y="64"/>
                        <a:pt x="30" y="64"/>
                      </a:cubicBezTo>
                      <a:cubicBezTo>
                        <a:pt x="25" y="64"/>
                        <a:pt x="21" y="68"/>
                        <a:pt x="21" y="73"/>
                      </a:cubicBezTo>
                      <a:cubicBezTo>
                        <a:pt x="21" y="76"/>
                        <a:pt x="22" y="78"/>
                        <a:pt x="24" y="80"/>
                      </a:cubicBezTo>
                      <a:cubicBezTo>
                        <a:pt x="19" y="87"/>
                        <a:pt x="19" y="87"/>
                        <a:pt x="19" y="87"/>
                      </a:cubicBezTo>
                      <a:cubicBezTo>
                        <a:pt x="17" y="86"/>
                        <a:pt x="15" y="85"/>
                        <a:pt x="13" y="85"/>
                      </a:cubicBezTo>
                      <a:cubicBezTo>
                        <a:pt x="5" y="85"/>
                        <a:pt x="0" y="91"/>
                        <a:pt x="0" y="99"/>
                      </a:cubicBezTo>
                      <a:cubicBezTo>
                        <a:pt x="0" y="106"/>
                        <a:pt x="5" y="112"/>
                        <a:pt x="13" y="112"/>
                      </a:cubicBezTo>
                      <a:cubicBezTo>
                        <a:pt x="16" y="112"/>
                        <a:pt x="19" y="111"/>
                        <a:pt x="21" y="109"/>
                      </a:cubicBezTo>
                      <a:cubicBezTo>
                        <a:pt x="30" y="116"/>
                        <a:pt x="30" y="116"/>
                        <a:pt x="30" y="116"/>
                      </a:cubicBezTo>
                      <a:cubicBezTo>
                        <a:pt x="29" y="117"/>
                        <a:pt x="29" y="119"/>
                        <a:pt x="29" y="121"/>
                      </a:cubicBezTo>
                      <a:cubicBezTo>
                        <a:pt x="29" y="124"/>
                        <a:pt x="31" y="127"/>
                        <a:pt x="33" y="129"/>
                      </a:cubicBezTo>
                      <a:cubicBezTo>
                        <a:pt x="28" y="150"/>
                        <a:pt x="28" y="150"/>
                        <a:pt x="28" y="150"/>
                      </a:cubicBezTo>
                      <a:cubicBezTo>
                        <a:pt x="28" y="150"/>
                        <a:pt x="27" y="150"/>
                        <a:pt x="27" y="150"/>
                      </a:cubicBezTo>
                      <a:cubicBezTo>
                        <a:pt x="20" y="150"/>
                        <a:pt x="14" y="156"/>
                        <a:pt x="14" y="163"/>
                      </a:cubicBezTo>
                      <a:cubicBezTo>
                        <a:pt x="14" y="170"/>
                        <a:pt x="20" y="176"/>
                        <a:pt x="27" y="176"/>
                      </a:cubicBezTo>
                      <a:cubicBezTo>
                        <a:pt x="34" y="176"/>
                        <a:pt x="40" y="171"/>
                        <a:pt x="40" y="164"/>
                      </a:cubicBezTo>
                      <a:cubicBezTo>
                        <a:pt x="57" y="163"/>
                        <a:pt x="57" y="163"/>
                        <a:pt x="57" y="163"/>
                      </a:cubicBezTo>
                      <a:cubicBezTo>
                        <a:pt x="58" y="167"/>
                        <a:pt x="62" y="170"/>
                        <a:pt x="66" y="170"/>
                      </a:cubicBezTo>
                      <a:cubicBezTo>
                        <a:pt x="69" y="170"/>
                        <a:pt x="71" y="169"/>
                        <a:pt x="73" y="167"/>
                      </a:cubicBezTo>
                      <a:cubicBezTo>
                        <a:pt x="80" y="172"/>
                        <a:pt x="80" y="172"/>
                        <a:pt x="80" y="172"/>
                      </a:cubicBezTo>
                      <a:cubicBezTo>
                        <a:pt x="79" y="173"/>
                        <a:pt x="79" y="175"/>
                        <a:pt x="79" y="177"/>
                      </a:cubicBezTo>
                      <a:cubicBezTo>
                        <a:pt x="79" y="184"/>
                        <a:pt x="84" y="190"/>
                        <a:pt x="91" y="190"/>
                      </a:cubicBezTo>
                      <a:cubicBezTo>
                        <a:pt x="91" y="190"/>
                        <a:pt x="91" y="190"/>
                        <a:pt x="91" y="190"/>
                      </a:cubicBezTo>
                      <a:cubicBezTo>
                        <a:pt x="91" y="190"/>
                        <a:pt x="91" y="190"/>
                        <a:pt x="91" y="190"/>
                      </a:cubicBezTo>
                      <a:cubicBezTo>
                        <a:pt x="91" y="190"/>
                        <a:pt x="91" y="190"/>
                        <a:pt x="92" y="190"/>
                      </a:cubicBezTo>
                      <a:cubicBezTo>
                        <a:pt x="92" y="190"/>
                        <a:pt x="93" y="190"/>
                        <a:pt x="93" y="190"/>
                      </a:cubicBezTo>
                      <a:cubicBezTo>
                        <a:pt x="93" y="190"/>
                        <a:pt x="93" y="190"/>
                        <a:pt x="93" y="190"/>
                      </a:cubicBezTo>
                      <a:cubicBezTo>
                        <a:pt x="93" y="190"/>
                        <a:pt x="93" y="190"/>
                        <a:pt x="93" y="190"/>
                      </a:cubicBezTo>
                      <a:cubicBezTo>
                        <a:pt x="100" y="190"/>
                        <a:pt x="105" y="184"/>
                        <a:pt x="105" y="177"/>
                      </a:cubicBezTo>
                      <a:cubicBezTo>
                        <a:pt x="105" y="174"/>
                        <a:pt x="104" y="171"/>
                        <a:pt x="102" y="169"/>
                      </a:cubicBezTo>
                      <a:cubicBezTo>
                        <a:pt x="109" y="160"/>
                        <a:pt x="109" y="160"/>
                        <a:pt x="109" y="160"/>
                      </a:cubicBezTo>
                      <a:cubicBezTo>
                        <a:pt x="111" y="161"/>
                        <a:pt x="112" y="162"/>
                        <a:pt x="114" y="162"/>
                      </a:cubicBezTo>
                      <a:cubicBezTo>
                        <a:pt x="117" y="162"/>
                        <a:pt x="120" y="160"/>
                        <a:pt x="122" y="157"/>
                      </a:cubicBezTo>
                      <a:cubicBezTo>
                        <a:pt x="143" y="162"/>
                        <a:pt x="143" y="162"/>
                        <a:pt x="143" y="162"/>
                      </a:cubicBezTo>
                      <a:cubicBezTo>
                        <a:pt x="143" y="162"/>
                        <a:pt x="143" y="163"/>
                        <a:pt x="143" y="163"/>
                      </a:cubicBezTo>
                      <a:cubicBezTo>
                        <a:pt x="143" y="170"/>
                        <a:pt x="149" y="176"/>
                        <a:pt x="157" y="176"/>
                      </a:cubicBezTo>
                      <a:cubicBezTo>
                        <a:pt x="164" y="176"/>
                        <a:pt x="170" y="170"/>
                        <a:pt x="170" y="163"/>
                      </a:cubicBezTo>
                      <a:cubicBezTo>
                        <a:pt x="170" y="158"/>
                        <a:pt x="166" y="153"/>
                        <a:pt x="161" y="151"/>
                      </a:cubicBezTo>
                      <a:cubicBezTo>
                        <a:pt x="163" y="136"/>
                        <a:pt x="163" y="136"/>
                        <a:pt x="163" y="136"/>
                      </a:cubicBezTo>
                      <a:cubicBezTo>
                        <a:pt x="168" y="136"/>
                        <a:pt x="172" y="132"/>
                        <a:pt x="172" y="127"/>
                      </a:cubicBezTo>
                      <a:cubicBezTo>
                        <a:pt x="172" y="124"/>
                        <a:pt x="171" y="122"/>
                        <a:pt x="170" y="121"/>
                      </a:cubicBezTo>
                      <a:cubicBezTo>
                        <a:pt x="178" y="110"/>
                        <a:pt x="178" y="110"/>
                        <a:pt x="178" y="110"/>
                      </a:cubicBezTo>
                      <a:cubicBezTo>
                        <a:pt x="179" y="111"/>
                        <a:pt x="181" y="112"/>
                        <a:pt x="183" y="112"/>
                      </a:cubicBezTo>
                      <a:cubicBezTo>
                        <a:pt x="190" y="112"/>
                        <a:pt x="196" y="106"/>
                        <a:pt x="196" y="98"/>
                      </a:cubicBezTo>
                      <a:cubicBezTo>
                        <a:pt x="196" y="91"/>
                        <a:pt x="190" y="85"/>
                        <a:pt x="183" y="85"/>
                      </a:cubicBezTo>
                      <a:close/>
                      <a:moveTo>
                        <a:pt x="167" y="119"/>
                      </a:moveTo>
                      <a:cubicBezTo>
                        <a:pt x="166" y="118"/>
                        <a:pt x="164" y="117"/>
                        <a:pt x="162" y="117"/>
                      </a:cubicBezTo>
                      <a:cubicBezTo>
                        <a:pt x="158" y="117"/>
                        <a:pt x="155" y="120"/>
                        <a:pt x="154" y="123"/>
                      </a:cubicBezTo>
                      <a:cubicBezTo>
                        <a:pt x="120" y="109"/>
                        <a:pt x="120" y="109"/>
                        <a:pt x="120" y="109"/>
                      </a:cubicBezTo>
                      <a:cubicBezTo>
                        <a:pt x="120" y="110"/>
                        <a:pt x="119" y="110"/>
                        <a:pt x="119" y="111"/>
                      </a:cubicBezTo>
                      <a:cubicBezTo>
                        <a:pt x="153" y="125"/>
                        <a:pt x="153" y="125"/>
                        <a:pt x="153" y="125"/>
                      </a:cubicBezTo>
                      <a:cubicBezTo>
                        <a:pt x="153" y="125"/>
                        <a:pt x="153" y="126"/>
                        <a:pt x="153" y="127"/>
                      </a:cubicBezTo>
                      <a:cubicBezTo>
                        <a:pt x="153" y="131"/>
                        <a:pt x="156" y="135"/>
                        <a:pt x="160" y="136"/>
                      </a:cubicBezTo>
                      <a:cubicBezTo>
                        <a:pt x="158" y="150"/>
                        <a:pt x="158" y="150"/>
                        <a:pt x="158" y="150"/>
                      </a:cubicBezTo>
                      <a:cubicBezTo>
                        <a:pt x="158" y="150"/>
                        <a:pt x="157" y="150"/>
                        <a:pt x="157" y="150"/>
                      </a:cubicBezTo>
                      <a:cubicBezTo>
                        <a:pt x="153" y="150"/>
                        <a:pt x="150" y="151"/>
                        <a:pt x="148" y="153"/>
                      </a:cubicBezTo>
                      <a:cubicBezTo>
                        <a:pt x="114" y="119"/>
                        <a:pt x="114" y="119"/>
                        <a:pt x="114" y="119"/>
                      </a:cubicBezTo>
                      <a:cubicBezTo>
                        <a:pt x="113" y="119"/>
                        <a:pt x="113" y="120"/>
                        <a:pt x="112" y="121"/>
                      </a:cubicBezTo>
                      <a:cubicBezTo>
                        <a:pt x="146" y="155"/>
                        <a:pt x="146" y="155"/>
                        <a:pt x="146" y="155"/>
                      </a:cubicBezTo>
                      <a:cubicBezTo>
                        <a:pt x="145" y="156"/>
                        <a:pt x="145" y="157"/>
                        <a:pt x="144" y="159"/>
                      </a:cubicBezTo>
                      <a:cubicBezTo>
                        <a:pt x="123" y="154"/>
                        <a:pt x="123" y="154"/>
                        <a:pt x="123" y="154"/>
                      </a:cubicBezTo>
                      <a:cubicBezTo>
                        <a:pt x="123" y="153"/>
                        <a:pt x="123" y="153"/>
                        <a:pt x="123" y="152"/>
                      </a:cubicBezTo>
                      <a:cubicBezTo>
                        <a:pt x="123" y="147"/>
                        <a:pt x="119" y="143"/>
                        <a:pt x="114" y="143"/>
                      </a:cubicBezTo>
                      <a:cubicBezTo>
                        <a:pt x="113" y="143"/>
                        <a:pt x="112" y="143"/>
                        <a:pt x="111" y="143"/>
                      </a:cubicBezTo>
                      <a:cubicBezTo>
                        <a:pt x="104" y="126"/>
                        <a:pt x="104" y="126"/>
                        <a:pt x="104" y="126"/>
                      </a:cubicBezTo>
                      <a:cubicBezTo>
                        <a:pt x="104" y="126"/>
                        <a:pt x="103" y="126"/>
                        <a:pt x="103" y="127"/>
                      </a:cubicBezTo>
                      <a:cubicBezTo>
                        <a:pt x="110" y="144"/>
                        <a:pt x="110" y="144"/>
                        <a:pt x="110" y="144"/>
                      </a:cubicBezTo>
                      <a:cubicBezTo>
                        <a:pt x="107" y="145"/>
                        <a:pt x="105" y="149"/>
                        <a:pt x="105" y="152"/>
                      </a:cubicBezTo>
                      <a:cubicBezTo>
                        <a:pt x="105" y="155"/>
                        <a:pt x="105" y="157"/>
                        <a:pt x="107" y="158"/>
                      </a:cubicBezTo>
                      <a:cubicBezTo>
                        <a:pt x="99" y="167"/>
                        <a:pt x="99" y="167"/>
                        <a:pt x="99" y="167"/>
                      </a:cubicBezTo>
                      <a:cubicBezTo>
                        <a:pt x="98" y="165"/>
                        <a:pt x="95" y="164"/>
                        <a:pt x="93" y="164"/>
                      </a:cubicBezTo>
                      <a:cubicBezTo>
                        <a:pt x="93" y="129"/>
                        <a:pt x="93" y="129"/>
                        <a:pt x="93" y="129"/>
                      </a:cubicBezTo>
                      <a:cubicBezTo>
                        <a:pt x="93" y="129"/>
                        <a:pt x="92" y="129"/>
                        <a:pt x="92" y="129"/>
                      </a:cubicBezTo>
                      <a:cubicBezTo>
                        <a:pt x="91" y="129"/>
                        <a:pt x="91" y="129"/>
                        <a:pt x="91" y="129"/>
                      </a:cubicBezTo>
                      <a:cubicBezTo>
                        <a:pt x="91" y="164"/>
                        <a:pt x="91" y="164"/>
                        <a:pt x="91" y="164"/>
                      </a:cubicBezTo>
                      <a:cubicBezTo>
                        <a:pt x="87" y="165"/>
                        <a:pt x="84" y="166"/>
                        <a:pt x="82" y="169"/>
                      </a:cubicBezTo>
                      <a:cubicBezTo>
                        <a:pt x="75" y="164"/>
                        <a:pt x="75" y="164"/>
                        <a:pt x="75" y="164"/>
                      </a:cubicBezTo>
                      <a:cubicBezTo>
                        <a:pt x="75" y="163"/>
                        <a:pt x="75" y="162"/>
                        <a:pt x="75" y="161"/>
                      </a:cubicBezTo>
                      <a:cubicBezTo>
                        <a:pt x="75" y="157"/>
                        <a:pt x="73" y="154"/>
                        <a:pt x="70" y="152"/>
                      </a:cubicBezTo>
                      <a:cubicBezTo>
                        <a:pt x="81" y="127"/>
                        <a:pt x="81" y="127"/>
                        <a:pt x="81" y="127"/>
                      </a:cubicBezTo>
                      <a:cubicBezTo>
                        <a:pt x="81" y="126"/>
                        <a:pt x="80" y="126"/>
                        <a:pt x="80" y="126"/>
                      </a:cubicBezTo>
                      <a:cubicBezTo>
                        <a:pt x="69" y="152"/>
                        <a:pt x="69" y="152"/>
                        <a:pt x="69" y="152"/>
                      </a:cubicBezTo>
                      <a:cubicBezTo>
                        <a:pt x="68" y="151"/>
                        <a:pt x="67" y="151"/>
                        <a:pt x="66" y="151"/>
                      </a:cubicBezTo>
                      <a:cubicBezTo>
                        <a:pt x="61" y="151"/>
                        <a:pt x="57" y="155"/>
                        <a:pt x="57" y="160"/>
                      </a:cubicBezTo>
                      <a:cubicBezTo>
                        <a:pt x="40" y="161"/>
                        <a:pt x="40" y="161"/>
                        <a:pt x="40" y="161"/>
                      </a:cubicBezTo>
                      <a:cubicBezTo>
                        <a:pt x="40" y="159"/>
                        <a:pt x="39" y="157"/>
                        <a:pt x="37" y="155"/>
                      </a:cubicBezTo>
                      <a:cubicBezTo>
                        <a:pt x="72" y="121"/>
                        <a:pt x="72" y="121"/>
                        <a:pt x="72" y="121"/>
                      </a:cubicBezTo>
                      <a:cubicBezTo>
                        <a:pt x="71" y="120"/>
                        <a:pt x="70" y="119"/>
                        <a:pt x="70" y="119"/>
                      </a:cubicBezTo>
                      <a:cubicBezTo>
                        <a:pt x="36" y="153"/>
                        <a:pt x="36" y="153"/>
                        <a:pt x="36" y="153"/>
                      </a:cubicBezTo>
                      <a:cubicBezTo>
                        <a:pt x="34" y="152"/>
                        <a:pt x="33" y="151"/>
                        <a:pt x="31" y="151"/>
                      </a:cubicBezTo>
                      <a:cubicBezTo>
                        <a:pt x="37" y="130"/>
                        <a:pt x="37" y="130"/>
                        <a:pt x="37" y="130"/>
                      </a:cubicBezTo>
                      <a:cubicBezTo>
                        <a:pt x="37" y="130"/>
                        <a:pt x="38" y="130"/>
                        <a:pt x="38" y="130"/>
                      </a:cubicBezTo>
                      <a:cubicBezTo>
                        <a:pt x="43" y="130"/>
                        <a:pt x="48" y="126"/>
                        <a:pt x="48" y="121"/>
                      </a:cubicBezTo>
                      <a:cubicBezTo>
                        <a:pt x="48" y="120"/>
                        <a:pt x="47" y="119"/>
                        <a:pt x="47" y="118"/>
                      </a:cubicBezTo>
                      <a:cubicBezTo>
                        <a:pt x="65" y="111"/>
                        <a:pt x="65" y="111"/>
                        <a:pt x="65" y="111"/>
                      </a:cubicBezTo>
                      <a:cubicBezTo>
                        <a:pt x="64" y="110"/>
                        <a:pt x="64" y="110"/>
                        <a:pt x="64" y="109"/>
                      </a:cubicBezTo>
                      <a:cubicBezTo>
                        <a:pt x="47" y="117"/>
                        <a:pt x="47" y="117"/>
                        <a:pt x="47" y="117"/>
                      </a:cubicBezTo>
                      <a:cubicBezTo>
                        <a:pt x="45" y="114"/>
                        <a:pt x="42" y="112"/>
                        <a:pt x="38" y="112"/>
                      </a:cubicBezTo>
                      <a:cubicBezTo>
                        <a:pt x="36" y="112"/>
                        <a:pt x="34" y="112"/>
                        <a:pt x="32" y="114"/>
                      </a:cubicBezTo>
                      <a:cubicBezTo>
                        <a:pt x="23" y="106"/>
                        <a:pt x="23" y="106"/>
                        <a:pt x="23" y="106"/>
                      </a:cubicBezTo>
                      <a:cubicBezTo>
                        <a:pt x="25" y="104"/>
                        <a:pt x="26" y="102"/>
                        <a:pt x="26" y="100"/>
                      </a:cubicBezTo>
                      <a:cubicBezTo>
                        <a:pt x="62" y="100"/>
                        <a:pt x="62" y="100"/>
                        <a:pt x="62" y="100"/>
                      </a:cubicBezTo>
                      <a:cubicBezTo>
                        <a:pt x="62" y="100"/>
                        <a:pt x="62" y="99"/>
                        <a:pt x="62" y="99"/>
                      </a:cubicBezTo>
                      <a:cubicBezTo>
                        <a:pt x="62" y="98"/>
                        <a:pt x="62" y="98"/>
                        <a:pt x="62" y="97"/>
                      </a:cubicBezTo>
                      <a:cubicBezTo>
                        <a:pt x="26" y="97"/>
                        <a:pt x="26" y="97"/>
                        <a:pt x="26" y="97"/>
                      </a:cubicBezTo>
                      <a:cubicBezTo>
                        <a:pt x="26" y="94"/>
                        <a:pt x="24" y="91"/>
                        <a:pt x="21" y="89"/>
                      </a:cubicBezTo>
                      <a:cubicBezTo>
                        <a:pt x="27" y="82"/>
                        <a:pt x="27" y="82"/>
                        <a:pt x="27" y="82"/>
                      </a:cubicBezTo>
                      <a:cubicBezTo>
                        <a:pt x="28" y="82"/>
                        <a:pt x="29" y="82"/>
                        <a:pt x="30" y="82"/>
                      </a:cubicBezTo>
                      <a:cubicBezTo>
                        <a:pt x="34" y="82"/>
                        <a:pt x="37" y="80"/>
                        <a:pt x="39" y="77"/>
                      </a:cubicBezTo>
                      <a:cubicBezTo>
                        <a:pt x="64" y="88"/>
                        <a:pt x="64" y="88"/>
                        <a:pt x="64" y="88"/>
                      </a:cubicBezTo>
                      <a:cubicBezTo>
                        <a:pt x="64" y="87"/>
                        <a:pt x="64" y="87"/>
                        <a:pt x="65" y="86"/>
                      </a:cubicBezTo>
                      <a:cubicBezTo>
                        <a:pt x="39" y="76"/>
                        <a:pt x="39" y="76"/>
                        <a:pt x="39" y="76"/>
                      </a:cubicBezTo>
                      <a:cubicBezTo>
                        <a:pt x="39" y="75"/>
                        <a:pt x="40" y="74"/>
                        <a:pt x="40" y="73"/>
                      </a:cubicBezTo>
                      <a:cubicBezTo>
                        <a:pt x="40" y="69"/>
                        <a:pt x="37" y="65"/>
                        <a:pt x="33" y="64"/>
                      </a:cubicBezTo>
                      <a:cubicBezTo>
                        <a:pt x="34" y="55"/>
                        <a:pt x="34" y="55"/>
                        <a:pt x="34" y="55"/>
                      </a:cubicBezTo>
                      <a:cubicBezTo>
                        <a:pt x="34" y="55"/>
                        <a:pt x="35" y="55"/>
                        <a:pt x="35" y="55"/>
                      </a:cubicBezTo>
                      <a:cubicBezTo>
                        <a:pt x="38" y="55"/>
                        <a:pt x="41" y="54"/>
                        <a:pt x="43" y="52"/>
                      </a:cubicBezTo>
                      <a:cubicBezTo>
                        <a:pt x="70" y="78"/>
                        <a:pt x="70" y="78"/>
                        <a:pt x="70" y="78"/>
                      </a:cubicBezTo>
                      <a:cubicBezTo>
                        <a:pt x="70" y="78"/>
                        <a:pt x="71" y="77"/>
                        <a:pt x="72" y="77"/>
                      </a:cubicBezTo>
                      <a:cubicBezTo>
                        <a:pt x="45" y="50"/>
                        <a:pt x="45" y="50"/>
                        <a:pt x="45" y="50"/>
                      </a:cubicBezTo>
                      <a:cubicBezTo>
                        <a:pt x="46" y="49"/>
                        <a:pt x="47" y="47"/>
                        <a:pt x="48" y="45"/>
                      </a:cubicBezTo>
                      <a:cubicBezTo>
                        <a:pt x="60" y="46"/>
                        <a:pt x="60" y="46"/>
                        <a:pt x="60" y="46"/>
                      </a:cubicBezTo>
                      <a:cubicBezTo>
                        <a:pt x="61" y="51"/>
                        <a:pt x="65" y="55"/>
                        <a:pt x="70" y="55"/>
                      </a:cubicBezTo>
                      <a:cubicBezTo>
                        <a:pt x="71" y="55"/>
                        <a:pt x="72" y="55"/>
                        <a:pt x="73" y="54"/>
                      </a:cubicBezTo>
                      <a:cubicBezTo>
                        <a:pt x="80" y="71"/>
                        <a:pt x="80" y="71"/>
                        <a:pt x="80" y="71"/>
                      </a:cubicBezTo>
                      <a:cubicBezTo>
                        <a:pt x="80" y="71"/>
                        <a:pt x="81" y="71"/>
                        <a:pt x="81" y="71"/>
                      </a:cubicBezTo>
                      <a:cubicBezTo>
                        <a:pt x="74" y="54"/>
                        <a:pt x="74" y="54"/>
                        <a:pt x="74" y="54"/>
                      </a:cubicBezTo>
                      <a:cubicBezTo>
                        <a:pt x="77" y="52"/>
                        <a:pt x="79" y="49"/>
                        <a:pt x="79" y="45"/>
                      </a:cubicBezTo>
                      <a:cubicBezTo>
                        <a:pt x="79" y="43"/>
                        <a:pt x="78" y="40"/>
                        <a:pt x="76" y="39"/>
                      </a:cubicBezTo>
                      <a:cubicBezTo>
                        <a:pt x="86" y="25"/>
                        <a:pt x="86" y="25"/>
                        <a:pt x="86" y="25"/>
                      </a:cubicBezTo>
                      <a:cubicBezTo>
                        <a:pt x="87" y="26"/>
                        <a:pt x="89" y="27"/>
                        <a:pt x="91" y="27"/>
                      </a:cubicBezTo>
                      <a:cubicBezTo>
                        <a:pt x="91" y="69"/>
                        <a:pt x="91" y="69"/>
                        <a:pt x="91" y="69"/>
                      </a:cubicBezTo>
                      <a:cubicBezTo>
                        <a:pt x="91" y="69"/>
                        <a:pt x="91" y="69"/>
                        <a:pt x="92" y="69"/>
                      </a:cubicBezTo>
                      <a:cubicBezTo>
                        <a:pt x="92" y="69"/>
                        <a:pt x="93" y="69"/>
                        <a:pt x="93" y="69"/>
                      </a:cubicBezTo>
                      <a:cubicBezTo>
                        <a:pt x="93" y="27"/>
                        <a:pt x="93" y="27"/>
                        <a:pt x="93" y="27"/>
                      </a:cubicBezTo>
                      <a:cubicBezTo>
                        <a:pt x="96" y="26"/>
                        <a:pt x="98" y="26"/>
                        <a:pt x="100" y="24"/>
                      </a:cubicBezTo>
                      <a:cubicBezTo>
                        <a:pt x="109" y="33"/>
                        <a:pt x="109" y="33"/>
                        <a:pt x="109" y="33"/>
                      </a:cubicBezTo>
                      <a:cubicBezTo>
                        <a:pt x="108" y="34"/>
                        <a:pt x="108" y="35"/>
                        <a:pt x="108" y="37"/>
                      </a:cubicBezTo>
                      <a:cubicBezTo>
                        <a:pt x="108" y="41"/>
                        <a:pt x="110" y="44"/>
                        <a:pt x="113" y="45"/>
                      </a:cubicBezTo>
                      <a:cubicBezTo>
                        <a:pt x="103" y="71"/>
                        <a:pt x="103" y="71"/>
                        <a:pt x="103" y="71"/>
                      </a:cubicBezTo>
                      <a:cubicBezTo>
                        <a:pt x="103" y="71"/>
                        <a:pt x="104" y="71"/>
                        <a:pt x="104" y="71"/>
                      </a:cubicBezTo>
                      <a:cubicBezTo>
                        <a:pt x="115" y="46"/>
                        <a:pt x="115" y="46"/>
                        <a:pt x="115" y="46"/>
                      </a:cubicBezTo>
                      <a:cubicBezTo>
                        <a:pt x="115" y="46"/>
                        <a:pt x="116" y="46"/>
                        <a:pt x="117" y="46"/>
                      </a:cubicBezTo>
                      <a:cubicBezTo>
                        <a:pt x="121" y="46"/>
                        <a:pt x="125" y="44"/>
                        <a:pt x="126" y="40"/>
                      </a:cubicBezTo>
                      <a:cubicBezTo>
                        <a:pt x="134" y="41"/>
                        <a:pt x="134" y="41"/>
                        <a:pt x="134" y="41"/>
                      </a:cubicBezTo>
                      <a:cubicBezTo>
                        <a:pt x="134" y="42"/>
                        <a:pt x="134" y="42"/>
                        <a:pt x="134" y="43"/>
                      </a:cubicBezTo>
                      <a:cubicBezTo>
                        <a:pt x="134" y="46"/>
                        <a:pt x="135" y="49"/>
                        <a:pt x="137" y="51"/>
                      </a:cubicBezTo>
                      <a:cubicBezTo>
                        <a:pt x="112" y="77"/>
                        <a:pt x="112" y="77"/>
                        <a:pt x="112" y="77"/>
                      </a:cubicBezTo>
                      <a:cubicBezTo>
                        <a:pt x="113" y="77"/>
                        <a:pt x="113" y="78"/>
                        <a:pt x="114" y="78"/>
                      </a:cubicBezTo>
                      <a:cubicBezTo>
                        <a:pt x="139" y="53"/>
                        <a:pt x="139" y="53"/>
                        <a:pt x="139" y="53"/>
                      </a:cubicBezTo>
                      <a:cubicBezTo>
                        <a:pt x="141" y="54"/>
                        <a:pt x="143" y="55"/>
                        <a:pt x="146" y="56"/>
                      </a:cubicBezTo>
                      <a:cubicBezTo>
                        <a:pt x="145" y="67"/>
                        <a:pt x="145" y="67"/>
                        <a:pt x="145" y="67"/>
                      </a:cubicBezTo>
                      <a:cubicBezTo>
                        <a:pt x="140" y="67"/>
                        <a:pt x="136" y="71"/>
                        <a:pt x="136" y="76"/>
                      </a:cubicBezTo>
                      <a:cubicBezTo>
                        <a:pt x="136" y="77"/>
                        <a:pt x="136" y="78"/>
                        <a:pt x="137" y="79"/>
                      </a:cubicBezTo>
                      <a:cubicBezTo>
                        <a:pt x="119" y="86"/>
                        <a:pt x="119" y="86"/>
                        <a:pt x="119" y="86"/>
                      </a:cubicBezTo>
                      <a:cubicBezTo>
                        <a:pt x="119" y="87"/>
                        <a:pt x="120" y="87"/>
                        <a:pt x="120" y="88"/>
                      </a:cubicBezTo>
                      <a:cubicBezTo>
                        <a:pt x="137" y="81"/>
                        <a:pt x="137" y="81"/>
                        <a:pt x="137" y="81"/>
                      </a:cubicBezTo>
                      <a:cubicBezTo>
                        <a:pt x="139" y="84"/>
                        <a:pt x="142" y="86"/>
                        <a:pt x="146" y="86"/>
                      </a:cubicBezTo>
                      <a:cubicBezTo>
                        <a:pt x="148" y="86"/>
                        <a:pt x="150" y="85"/>
                        <a:pt x="152" y="83"/>
                      </a:cubicBezTo>
                      <a:cubicBezTo>
                        <a:pt x="171" y="93"/>
                        <a:pt x="171" y="93"/>
                        <a:pt x="171" y="93"/>
                      </a:cubicBezTo>
                      <a:cubicBezTo>
                        <a:pt x="170" y="95"/>
                        <a:pt x="170" y="96"/>
                        <a:pt x="170" y="97"/>
                      </a:cubicBezTo>
                      <a:cubicBezTo>
                        <a:pt x="122" y="97"/>
                        <a:pt x="122" y="97"/>
                        <a:pt x="122" y="97"/>
                      </a:cubicBezTo>
                      <a:cubicBezTo>
                        <a:pt x="122" y="98"/>
                        <a:pt x="122" y="98"/>
                        <a:pt x="122" y="99"/>
                      </a:cubicBezTo>
                      <a:cubicBezTo>
                        <a:pt x="122" y="99"/>
                        <a:pt x="122" y="100"/>
                        <a:pt x="122" y="100"/>
                      </a:cubicBezTo>
                      <a:cubicBezTo>
                        <a:pt x="170" y="100"/>
                        <a:pt x="170" y="100"/>
                        <a:pt x="170" y="100"/>
                      </a:cubicBezTo>
                      <a:cubicBezTo>
                        <a:pt x="170" y="103"/>
                        <a:pt x="172" y="107"/>
                        <a:pt x="175" y="109"/>
                      </a:cubicBezTo>
                      <a:cubicBezTo>
                        <a:pt x="167" y="119"/>
                        <a:pt x="167" y="119"/>
                        <a:pt x="167" y="119"/>
                      </a:cubicBezTo>
                      <a:cubicBezTo>
                        <a:pt x="167" y="119"/>
                        <a:pt x="167" y="119"/>
                        <a:pt x="167" y="119"/>
                      </a:cubicBezTo>
                      <a:close/>
                      <a:moveTo>
                        <a:pt x="116" y="89"/>
                      </a:moveTo>
                      <a:cubicBezTo>
                        <a:pt x="116" y="89"/>
                        <a:pt x="116" y="88"/>
                        <a:pt x="116" y="88"/>
                      </a:cubicBezTo>
                      <a:cubicBezTo>
                        <a:pt x="114" y="85"/>
                        <a:pt x="113" y="83"/>
                        <a:pt x="111" y="81"/>
                      </a:cubicBezTo>
                      <a:cubicBezTo>
                        <a:pt x="111" y="81"/>
                        <a:pt x="110" y="80"/>
                        <a:pt x="109" y="79"/>
                      </a:cubicBezTo>
                      <a:cubicBezTo>
                        <a:pt x="107" y="78"/>
                        <a:pt x="105" y="76"/>
                        <a:pt x="103" y="75"/>
                      </a:cubicBezTo>
                      <a:cubicBezTo>
                        <a:pt x="102" y="75"/>
                        <a:pt x="102" y="74"/>
                        <a:pt x="101" y="74"/>
                      </a:cubicBezTo>
                      <a:cubicBezTo>
                        <a:pt x="99" y="73"/>
                        <a:pt x="96" y="73"/>
                        <a:pt x="93" y="73"/>
                      </a:cubicBezTo>
                      <a:cubicBezTo>
                        <a:pt x="93" y="73"/>
                        <a:pt x="92" y="73"/>
                        <a:pt x="92" y="73"/>
                      </a:cubicBezTo>
                      <a:cubicBezTo>
                        <a:pt x="91" y="73"/>
                        <a:pt x="91" y="73"/>
                        <a:pt x="91" y="73"/>
                      </a:cubicBezTo>
                      <a:cubicBezTo>
                        <a:pt x="88" y="73"/>
                        <a:pt x="85" y="73"/>
                        <a:pt x="83" y="74"/>
                      </a:cubicBezTo>
                      <a:cubicBezTo>
                        <a:pt x="82" y="74"/>
                        <a:pt x="82" y="75"/>
                        <a:pt x="81" y="75"/>
                      </a:cubicBezTo>
                      <a:cubicBezTo>
                        <a:pt x="79" y="76"/>
                        <a:pt x="76" y="78"/>
                        <a:pt x="74" y="79"/>
                      </a:cubicBezTo>
                      <a:cubicBezTo>
                        <a:pt x="74" y="80"/>
                        <a:pt x="73" y="81"/>
                        <a:pt x="73" y="81"/>
                      </a:cubicBezTo>
                      <a:cubicBezTo>
                        <a:pt x="71" y="83"/>
                        <a:pt x="69" y="85"/>
                        <a:pt x="68" y="88"/>
                      </a:cubicBezTo>
                      <a:cubicBezTo>
                        <a:pt x="68" y="88"/>
                        <a:pt x="68" y="89"/>
                        <a:pt x="68" y="89"/>
                      </a:cubicBezTo>
                      <a:cubicBezTo>
                        <a:pt x="67" y="92"/>
                        <a:pt x="66" y="95"/>
                        <a:pt x="66" y="97"/>
                      </a:cubicBezTo>
                      <a:cubicBezTo>
                        <a:pt x="66" y="98"/>
                        <a:pt x="66" y="98"/>
                        <a:pt x="66" y="99"/>
                      </a:cubicBezTo>
                      <a:cubicBezTo>
                        <a:pt x="66" y="99"/>
                        <a:pt x="66" y="100"/>
                        <a:pt x="66" y="100"/>
                      </a:cubicBezTo>
                      <a:cubicBezTo>
                        <a:pt x="66" y="103"/>
                        <a:pt x="67" y="105"/>
                        <a:pt x="68" y="108"/>
                      </a:cubicBezTo>
                      <a:cubicBezTo>
                        <a:pt x="68" y="108"/>
                        <a:pt x="68" y="109"/>
                        <a:pt x="68" y="109"/>
                      </a:cubicBezTo>
                      <a:cubicBezTo>
                        <a:pt x="69" y="112"/>
                        <a:pt x="71" y="114"/>
                        <a:pt x="73" y="116"/>
                      </a:cubicBezTo>
                      <a:cubicBezTo>
                        <a:pt x="73" y="117"/>
                        <a:pt x="74" y="117"/>
                        <a:pt x="74" y="118"/>
                      </a:cubicBezTo>
                      <a:cubicBezTo>
                        <a:pt x="76" y="120"/>
                        <a:pt x="79" y="121"/>
                        <a:pt x="81" y="122"/>
                      </a:cubicBezTo>
                      <a:cubicBezTo>
                        <a:pt x="82" y="123"/>
                        <a:pt x="82" y="123"/>
                        <a:pt x="83" y="123"/>
                      </a:cubicBezTo>
                      <a:cubicBezTo>
                        <a:pt x="85" y="124"/>
                        <a:pt x="88" y="124"/>
                        <a:pt x="91" y="125"/>
                      </a:cubicBezTo>
                      <a:cubicBezTo>
                        <a:pt x="91" y="125"/>
                        <a:pt x="91" y="125"/>
                        <a:pt x="92" y="125"/>
                      </a:cubicBezTo>
                      <a:cubicBezTo>
                        <a:pt x="92" y="125"/>
                        <a:pt x="93" y="125"/>
                        <a:pt x="93" y="125"/>
                      </a:cubicBezTo>
                      <a:cubicBezTo>
                        <a:pt x="96" y="124"/>
                        <a:pt x="99" y="124"/>
                        <a:pt x="101" y="123"/>
                      </a:cubicBezTo>
                      <a:cubicBezTo>
                        <a:pt x="102" y="123"/>
                        <a:pt x="102" y="123"/>
                        <a:pt x="103" y="122"/>
                      </a:cubicBezTo>
                      <a:cubicBezTo>
                        <a:pt x="105" y="121"/>
                        <a:pt x="107" y="120"/>
                        <a:pt x="109" y="118"/>
                      </a:cubicBezTo>
                      <a:cubicBezTo>
                        <a:pt x="110" y="117"/>
                        <a:pt x="111" y="117"/>
                        <a:pt x="111" y="116"/>
                      </a:cubicBezTo>
                      <a:cubicBezTo>
                        <a:pt x="113" y="114"/>
                        <a:pt x="114" y="112"/>
                        <a:pt x="116" y="109"/>
                      </a:cubicBezTo>
                      <a:cubicBezTo>
                        <a:pt x="116" y="109"/>
                        <a:pt x="116" y="108"/>
                        <a:pt x="116" y="108"/>
                      </a:cubicBezTo>
                      <a:cubicBezTo>
                        <a:pt x="117" y="105"/>
                        <a:pt x="118" y="103"/>
                        <a:pt x="118" y="100"/>
                      </a:cubicBezTo>
                      <a:cubicBezTo>
                        <a:pt x="118" y="100"/>
                        <a:pt x="118" y="99"/>
                        <a:pt x="118" y="99"/>
                      </a:cubicBezTo>
                      <a:cubicBezTo>
                        <a:pt x="118" y="98"/>
                        <a:pt x="118" y="98"/>
                        <a:pt x="118" y="97"/>
                      </a:cubicBezTo>
                      <a:cubicBezTo>
                        <a:pt x="118" y="95"/>
                        <a:pt x="117" y="92"/>
                        <a:pt x="116" y="89"/>
                      </a:cubicBezTo>
                      <a:close/>
                    </a:path>
                  </a:pathLst>
                </a:custGeom>
                <a:solidFill>
                  <a:srgbClr val="F78C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06" name="Freeform 197"/>
                <p:cNvSpPr>
                  <a:spLocks noEditPoints="1"/>
                </p:cNvSpPr>
                <p:nvPr/>
              </p:nvSpPr>
              <p:spPr bwMode="auto">
                <a:xfrm>
                  <a:off x="10442526" y="1165154"/>
                  <a:ext cx="353646" cy="226371"/>
                </a:xfrm>
                <a:custGeom>
                  <a:avLst/>
                  <a:gdLst>
                    <a:gd name="T0" fmla="*/ 149 w 323"/>
                    <a:gd name="T1" fmla="*/ 198 h 198"/>
                    <a:gd name="T2" fmla="*/ 192 w 323"/>
                    <a:gd name="T3" fmla="*/ 172 h 198"/>
                    <a:gd name="T4" fmla="*/ 139 w 323"/>
                    <a:gd name="T5" fmla="*/ 191 h 198"/>
                    <a:gd name="T6" fmla="*/ 146 w 323"/>
                    <a:gd name="T7" fmla="*/ 192 h 198"/>
                    <a:gd name="T8" fmla="*/ 184 w 323"/>
                    <a:gd name="T9" fmla="*/ 180 h 198"/>
                    <a:gd name="T10" fmla="*/ 98 w 323"/>
                    <a:gd name="T11" fmla="*/ 109 h 198"/>
                    <a:gd name="T12" fmla="*/ 187 w 323"/>
                    <a:gd name="T13" fmla="*/ 113 h 198"/>
                    <a:gd name="T14" fmla="*/ 234 w 323"/>
                    <a:gd name="T15" fmla="*/ 76 h 198"/>
                    <a:gd name="T16" fmla="*/ 83 w 323"/>
                    <a:gd name="T17" fmla="*/ 31 h 198"/>
                    <a:gd name="T18" fmla="*/ 178 w 323"/>
                    <a:gd name="T19" fmla="*/ 79 h 198"/>
                    <a:gd name="T20" fmla="*/ 176 w 323"/>
                    <a:gd name="T21" fmla="*/ 58 h 198"/>
                    <a:gd name="T22" fmla="*/ 196 w 323"/>
                    <a:gd name="T23" fmla="*/ 49 h 198"/>
                    <a:gd name="T24" fmla="*/ 153 w 323"/>
                    <a:gd name="T25" fmla="*/ 30 h 198"/>
                    <a:gd name="T26" fmla="*/ 215 w 323"/>
                    <a:gd name="T27" fmla="*/ 89 h 198"/>
                    <a:gd name="T28" fmla="*/ 208 w 323"/>
                    <a:gd name="T29" fmla="*/ 44 h 198"/>
                    <a:gd name="T30" fmla="*/ 189 w 323"/>
                    <a:gd name="T31" fmla="*/ 21 h 198"/>
                    <a:gd name="T32" fmla="*/ 189 w 323"/>
                    <a:gd name="T33" fmla="*/ 21 h 198"/>
                    <a:gd name="T34" fmla="*/ 161 w 323"/>
                    <a:gd name="T35" fmla="*/ 7 h 198"/>
                    <a:gd name="T36" fmla="*/ 101 w 323"/>
                    <a:gd name="T37" fmla="*/ 57 h 198"/>
                    <a:gd name="T38" fmla="*/ 101 w 323"/>
                    <a:gd name="T39" fmla="*/ 49 h 198"/>
                    <a:gd name="T40" fmla="*/ 121 w 323"/>
                    <a:gd name="T41" fmla="*/ 58 h 198"/>
                    <a:gd name="T42" fmla="*/ 115 w 323"/>
                    <a:gd name="T43" fmla="*/ 89 h 198"/>
                    <a:gd name="T44" fmla="*/ 144 w 323"/>
                    <a:gd name="T45" fmla="*/ 30 h 198"/>
                    <a:gd name="T46" fmla="*/ 123 w 323"/>
                    <a:gd name="T47" fmla="*/ 11 h 198"/>
                    <a:gd name="T48" fmla="*/ 114 w 323"/>
                    <a:gd name="T49" fmla="*/ 19 h 198"/>
                    <a:gd name="T50" fmla="*/ 87 w 323"/>
                    <a:gd name="T51" fmla="*/ 38 h 198"/>
                    <a:gd name="T52" fmla="*/ 97 w 323"/>
                    <a:gd name="T53" fmla="*/ 54 h 198"/>
                    <a:gd name="T54" fmla="*/ 46 w 323"/>
                    <a:gd name="T55" fmla="*/ 101 h 198"/>
                    <a:gd name="T56" fmla="*/ 156 w 323"/>
                    <a:gd name="T57" fmla="*/ 141 h 198"/>
                    <a:gd name="T58" fmla="*/ 241 w 323"/>
                    <a:gd name="T59" fmla="*/ 83 h 198"/>
                    <a:gd name="T60" fmla="*/ 0 w 323"/>
                    <a:gd name="T61" fmla="*/ 119 h 198"/>
                    <a:gd name="T62" fmla="*/ 146 w 323"/>
                    <a:gd name="T63" fmla="*/ 169 h 198"/>
                    <a:gd name="T64" fmla="*/ 241 w 323"/>
                    <a:gd name="T65" fmla="*/ 123 h 198"/>
                    <a:gd name="T66" fmla="*/ 12 w 323"/>
                    <a:gd name="T67" fmla="*/ 108 h 198"/>
                    <a:gd name="T68" fmla="*/ 28 w 323"/>
                    <a:gd name="T69" fmla="*/ 108 h 198"/>
                    <a:gd name="T70" fmla="*/ 65 w 323"/>
                    <a:gd name="T71" fmla="*/ 127 h 198"/>
                    <a:gd name="T72" fmla="*/ 61 w 323"/>
                    <a:gd name="T73" fmla="*/ 101 h 198"/>
                    <a:gd name="T74" fmla="*/ 64 w 323"/>
                    <a:gd name="T75" fmla="*/ 113 h 198"/>
                    <a:gd name="T76" fmla="*/ 72 w 323"/>
                    <a:gd name="T77" fmla="*/ 130 h 198"/>
                    <a:gd name="T78" fmla="*/ 72 w 323"/>
                    <a:gd name="T79" fmla="*/ 114 h 198"/>
                    <a:gd name="T80" fmla="*/ 87 w 323"/>
                    <a:gd name="T81" fmla="*/ 141 h 198"/>
                    <a:gd name="T82" fmla="*/ 94 w 323"/>
                    <a:gd name="T83" fmla="*/ 129 h 198"/>
                    <a:gd name="T84" fmla="*/ 127 w 323"/>
                    <a:gd name="T85" fmla="*/ 154 h 198"/>
                    <a:gd name="T86" fmla="*/ 132 w 323"/>
                    <a:gd name="T87" fmla="*/ 139 h 198"/>
                    <a:gd name="T88" fmla="*/ 148 w 323"/>
                    <a:gd name="T89" fmla="*/ 145 h 198"/>
                    <a:gd name="T90" fmla="*/ 195 w 323"/>
                    <a:gd name="T91" fmla="*/ 153 h 198"/>
                    <a:gd name="T92" fmla="*/ 180 w 323"/>
                    <a:gd name="T93" fmla="*/ 140 h 198"/>
                    <a:gd name="T94" fmla="*/ 192 w 323"/>
                    <a:gd name="T95" fmla="*/ 150 h 198"/>
                    <a:gd name="T96" fmla="*/ 214 w 323"/>
                    <a:gd name="T97" fmla="*/ 141 h 198"/>
                    <a:gd name="T98" fmla="*/ 218 w 323"/>
                    <a:gd name="T99" fmla="*/ 121 h 198"/>
                    <a:gd name="T100" fmla="*/ 234 w 323"/>
                    <a:gd name="T101" fmla="*/ 130 h 198"/>
                    <a:gd name="T102" fmla="*/ 237 w 323"/>
                    <a:gd name="T103" fmla="*/ 104 h 198"/>
                    <a:gd name="T104" fmla="*/ 271 w 323"/>
                    <a:gd name="T105" fmla="*/ 112 h 198"/>
                    <a:gd name="T106" fmla="*/ 281 w 323"/>
                    <a:gd name="T107" fmla="*/ 108 h 198"/>
                    <a:gd name="T108" fmla="*/ 97 w 323"/>
                    <a:gd name="T109" fmla="*/ 136 h 198"/>
                    <a:gd name="T110" fmla="*/ 232 w 323"/>
                    <a:gd name="T111" fmla="*/ 116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3" h="198">
                      <a:moveTo>
                        <a:pt x="148" y="178"/>
                      </a:moveTo>
                      <a:cubicBezTo>
                        <a:pt x="130" y="178"/>
                        <a:pt x="111" y="175"/>
                        <a:pt x="95" y="169"/>
                      </a:cubicBezTo>
                      <a:cubicBezTo>
                        <a:pt x="89" y="167"/>
                        <a:pt x="83" y="164"/>
                        <a:pt x="78" y="161"/>
                      </a:cubicBezTo>
                      <a:cubicBezTo>
                        <a:pt x="84" y="169"/>
                        <a:pt x="92" y="177"/>
                        <a:pt x="101" y="183"/>
                      </a:cubicBezTo>
                      <a:cubicBezTo>
                        <a:pt x="105" y="185"/>
                        <a:pt x="109" y="188"/>
                        <a:pt x="114" y="190"/>
                      </a:cubicBezTo>
                      <a:cubicBezTo>
                        <a:pt x="118" y="192"/>
                        <a:pt x="123" y="194"/>
                        <a:pt x="129" y="195"/>
                      </a:cubicBezTo>
                      <a:cubicBezTo>
                        <a:pt x="135" y="197"/>
                        <a:pt x="142" y="198"/>
                        <a:pt x="149" y="198"/>
                      </a:cubicBezTo>
                      <a:cubicBezTo>
                        <a:pt x="149" y="198"/>
                        <a:pt x="149" y="198"/>
                        <a:pt x="149" y="198"/>
                      </a:cubicBezTo>
                      <a:cubicBezTo>
                        <a:pt x="149" y="198"/>
                        <a:pt x="149" y="198"/>
                        <a:pt x="149" y="198"/>
                      </a:cubicBezTo>
                      <a:cubicBezTo>
                        <a:pt x="149" y="198"/>
                        <a:pt x="149" y="198"/>
                        <a:pt x="149" y="198"/>
                      </a:cubicBezTo>
                      <a:cubicBezTo>
                        <a:pt x="149" y="198"/>
                        <a:pt x="149" y="198"/>
                        <a:pt x="149" y="198"/>
                      </a:cubicBezTo>
                      <a:cubicBezTo>
                        <a:pt x="156" y="198"/>
                        <a:pt x="162" y="197"/>
                        <a:pt x="169" y="195"/>
                      </a:cubicBezTo>
                      <a:cubicBezTo>
                        <a:pt x="174" y="194"/>
                        <a:pt x="179" y="192"/>
                        <a:pt x="184" y="190"/>
                      </a:cubicBezTo>
                      <a:cubicBezTo>
                        <a:pt x="188" y="188"/>
                        <a:pt x="193" y="185"/>
                        <a:pt x="197" y="183"/>
                      </a:cubicBezTo>
                      <a:cubicBezTo>
                        <a:pt x="206" y="177"/>
                        <a:pt x="214" y="169"/>
                        <a:pt x="220" y="160"/>
                      </a:cubicBezTo>
                      <a:cubicBezTo>
                        <a:pt x="212" y="165"/>
                        <a:pt x="202" y="169"/>
                        <a:pt x="192" y="172"/>
                      </a:cubicBezTo>
                      <a:cubicBezTo>
                        <a:pt x="178" y="176"/>
                        <a:pt x="163" y="178"/>
                        <a:pt x="148" y="178"/>
                      </a:cubicBezTo>
                      <a:close/>
                      <a:moveTo>
                        <a:pt x="103" y="178"/>
                      </a:moveTo>
                      <a:cubicBezTo>
                        <a:pt x="102" y="177"/>
                        <a:pt x="100" y="176"/>
                        <a:pt x="99" y="174"/>
                      </a:cubicBezTo>
                      <a:cubicBezTo>
                        <a:pt x="101" y="176"/>
                        <a:pt x="104" y="177"/>
                        <a:pt x="106" y="177"/>
                      </a:cubicBezTo>
                      <a:cubicBezTo>
                        <a:pt x="106" y="178"/>
                        <a:pt x="107" y="179"/>
                        <a:pt x="107" y="179"/>
                      </a:cubicBezTo>
                      <a:cubicBezTo>
                        <a:pt x="106" y="179"/>
                        <a:pt x="105" y="178"/>
                        <a:pt x="103" y="178"/>
                      </a:cubicBezTo>
                      <a:close/>
                      <a:moveTo>
                        <a:pt x="146" y="192"/>
                      </a:moveTo>
                      <a:cubicBezTo>
                        <a:pt x="144" y="192"/>
                        <a:pt x="142" y="192"/>
                        <a:pt x="139" y="191"/>
                      </a:cubicBezTo>
                      <a:cubicBezTo>
                        <a:pt x="136" y="191"/>
                        <a:pt x="132" y="190"/>
                        <a:pt x="129" y="189"/>
                      </a:cubicBezTo>
                      <a:cubicBezTo>
                        <a:pt x="127" y="189"/>
                        <a:pt x="124" y="188"/>
                        <a:pt x="122" y="187"/>
                      </a:cubicBezTo>
                      <a:cubicBezTo>
                        <a:pt x="120" y="187"/>
                        <a:pt x="119" y="186"/>
                        <a:pt x="117" y="185"/>
                      </a:cubicBezTo>
                      <a:cubicBezTo>
                        <a:pt x="116" y="184"/>
                        <a:pt x="115" y="182"/>
                        <a:pt x="114" y="181"/>
                      </a:cubicBezTo>
                      <a:cubicBezTo>
                        <a:pt x="114" y="180"/>
                        <a:pt x="113" y="180"/>
                        <a:pt x="113" y="180"/>
                      </a:cubicBezTo>
                      <a:cubicBezTo>
                        <a:pt x="125" y="183"/>
                        <a:pt x="136" y="185"/>
                        <a:pt x="146" y="185"/>
                      </a:cubicBezTo>
                      <a:cubicBezTo>
                        <a:pt x="146" y="192"/>
                        <a:pt x="146" y="192"/>
                        <a:pt x="146" y="192"/>
                      </a:cubicBezTo>
                      <a:cubicBezTo>
                        <a:pt x="146" y="192"/>
                        <a:pt x="146" y="192"/>
                        <a:pt x="146" y="192"/>
                      </a:cubicBezTo>
                      <a:close/>
                      <a:moveTo>
                        <a:pt x="184" y="181"/>
                      </a:moveTo>
                      <a:cubicBezTo>
                        <a:pt x="183" y="182"/>
                        <a:pt x="182" y="184"/>
                        <a:pt x="181" y="185"/>
                      </a:cubicBezTo>
                      <a:cubicBezTo>
                        <a:pt x="179" y="186"/>
                        <a:pt x="177" y="187"/>
                        <a:pt x="175" y="187"/>
                      </a:cubicBezTo>
                      <a:cubicBezTo>
                        <a:pt x="173" y="188"/>
                        <a:pt x="171" y="189"/>
                        <a:pt x="169" y="189"/>
                      </a:cubicBezTo>
                      <a:cubicBezTo>
                        <a:pt x="165" y="190"/>
                        <a:pt x="162" y="191"/>
                        <a:pt x="158" y="191"/>
                      </a:cubicBezTo>
                      <a:cubicBezTo>
                        <a:pt x="156" y="192"/>
                        <a:pt x="154" y="192"/>
                        <a:pt x="152" y="192"/>
                      </a:cubicBezTo>
                      <a:cubicBezTo>
                        <a:pt x="152" y="185"/>
                        <a:pt x="152" y="185"/>
                        <a:pt x="152" y="185"/>
                      </a:cubicBezTo>
                      <a:cubicBezTo>
                        <a:pt x="162" y="185"/>
                        <a:pt x="173" y="183"/>
                        <a:pt x="184" y="180"/>
                      </a:cubicBezTo>
                      <a:cubicBezTo>
                        <a:pt x="184" y="180"/>
                        <a:pt x="184" y="180"/>
                        <a:pt x="184" y="181"/>
                      </a:cubicBezTo>
                      <a:close/>
                      <a:moveTo>
                        <a:pt x="194" y="178"/>
                      </a:moveTo>
                      <a:cubicBezTo>
                        <a:pt x="193" y="178"/>
                        <a:pt x="192" y="179"/>
                        <a:pt x="191" y="179"/>
                      </a:cubicBezTo>
                      <a:cubicBezTo>
                        <a:pt x="191" y="179"/>
                        <a:pt x="191" y="178"/>
                        <a:pt x="191" y="177"/>
                      </a:cubicBezTo>
                      <a:cubicBezTo>
                        <a:pt x="194" y="177"/>
                        <a:pt x="196" y="175"/>
                        <a:pt x="199" y="174"/>
                      </a:cubicBezTo>
                      <a:cubicBezTo>
                        <a:pt x="197" y="176"/>
                        <a:pt x="196" y="177"/>
                        <a:pt x="194" y="178"/>
                      </a:cubicBezTo>
                      <a:close/>
                      <a:moveTo>
                        <a:pt x="66" y="83"/>
                      </a:moveTo>
                      <a:cubicBezTo>
                        <a:pt x="73" y="95"/>
                        <a:pt x="85" y="103"/>
                        <a:pt x="98" y="109"/>
                      </a:cubicBezTo>
                      <a:cubicBezTo>
                        <a:pt x="100" y="110"/>
                        <a:pt x="103" y="111"/>
                        <a:pt x="105" y="112"/>
                      </a:cubicBezTo>
                      <a:cubicBezTo>
                        <a:pt x="105" y="112"/>
                        <a:pt x="105" y="112"/>
                        <a:pt x="105" y="112"/>
                      </a:cubicBezTo>
                      <a:cubicBezTo>
                        <a:pt x="107" y="113"/>
                        <a:pt x="109" y="113"/>
                        <a:pt x="110" y="114"/>
                      </a:cubicBezTo>
                      <a:cubicBezTo>
                        <a:pt x="110" y="114"/>
                        <a:pt x="110" y="113"/>
                        <a:pt x="110" y="113"/>
                      </a:cubicBezTo>
                      <a:cubicBezTo>
                        <a:pt x="116" y="115"/>
                        <a:pt x="121" y="116"/>
                        <a:pt x="127" y="117"/>
                      </a:cubicBezTo>
                      <a:cubicBezTo>
                        <a:pt x="134" y="118"/>
                        <a:pt x="141" y="119"/>
                        <a:pt x="148" y="119"/>
                      </a:cubicBezTo>
                      <a:cubicBezTo>
                        <a:pt x="156" y="119"/>
                        <a:pt x="163" y="118"/>
                        <a:pt x="170" y="117"/>
                      </a:cubicBezTo>
                      <a:cubicBezTo>
                        <a:pt x="175" y="116"/>
                        <a:pt x="181" y="115"/>
                        <a:pt x="187" y="113"/>
                      </a:cubicBezTo>
                      <a:cubicBezTo>
                        <a:pt x="187" y="113"/>
                        <a:pt x="187" y="114"/>
                        <a:pt x="187" y="114"/>
                      </a:cubicBezTo>
                      <a:cubicBezTo>
                        <a:pt x="188" y="113"/>
                        <a:pt x="190" y="113"/>
                        <a:pt x="192" y="112"/>
                      </a:cubicBezTo>
                      <a:cubicBezTo>
                        <a:pt x="192" y="112"/>
                        <a:pt x="192" y="112"/>
                        <a:pt x="192" y="112"/>
                      </a:cubicBezTo>
                      <a:cubicBezTo>
                        <a:pt x="195" y="111"/>
                        <a:pt x="197" y="110"/>
                        <a:pt x="200" y="109"/>
                      </a:cubicBezTo>
                      <a:cubicBezTo>
                        <a:pt x="212" y="103"/>
                        <a:pt x="223" y="95"/>
                        <a:pt x="231" y="83"/>
                      </a:cubicBezTo>
                      <a:cubicBezTo>
                        <a:pt x="231" y="83"/>
                        <a:pt x="231" y="83"/>
                        <a:pt x="231" y="83"/>
                      </a:cubicBezTo>
                      <a:cubicBezTo>
                        <a:pt x="232" y="82"/>
                        <a:pt x="232" y="81"/>
                        <a:pt x="232" y="80"/>
                      </a:cubicBezTo>
                      <a:cubicBezTo>
                        <a:pt x="234" y="76"/>
                        <a:pt x="234" y="76"/>
                        <a:pt x="234" y="76"/>
                      </a:cubicBezTo>
                      <a:cubicBezTo>
                        <a:pt x="234" y="74"/>
                        <a:pt x="233" y="72"/>
                        <a:pt x="233" y="71"/>
                      </a:cubicBezTo>
                      <a:cubicBezTo>
                        <a:pt x="230" y="56"/>
                        <a:pt x="223" y="43"/>
                        <a:pt x="214" y="31"/>
                      </a:cubicBezTo>
                      <a:cubicBezTo>
                        <a:pt x="213" y="30"/>
                        <a:pt x="212" y="29"/>
                        <a:pt x="210" y="27"/>
                      </a:cubicBezTo>
                      <a:cubicBezTo>
                        <a:pt x="210" y="27"/>
                        <a:pt x="206" y="23"/>
                        <a:pt x="206" y="23"/>
                      </a:cubicBezTo>
                      <a:cubicBezTo>
                        <a:pt x="190" y="9"/>
                        <a:pt x="170" y="1"/>
                        <a:pt x="148" y="0"/>
                      </a:cubicBezTo>
                      <a:cubicBezTo>
                        <a:pt x="148" y="0"/>
                        <a:pt x="148" y="0"/>
                        <a:pt x="148" y="0"/>
                      </a:cubicBezTo>
                      <a:cubicBezTo>
                        <a:pt x="127" y="1"/>
                        <a:pt x="107" y="9"/>
                        <a:pt x="91" y="23"/>
                      </a:cubicBezTo>
                      <a:cubicBezTo>
                        <a:pt x="91" y="23"/>
                        <a:pt x="87" y="27"/>
                        <a:pt x="83" y="31"/>
                      </a:cubicBezTo>
                      <a:cubicBezTo>
                        <a:pt x="74" y="43"/>
                        <a:pt x="67" y="56"/>
                        <a:pt x="64" y="71"/>
                      </a:cubicBezTo>
                      <a:cubicBezTo>
                        <a:pt x="64" y="71"/>
                        <a:pt x="63" y="73"/>
                        <a:pt x="63" y="76"/>
                      </a:cubicBezTo>
                      <a:cubicBezTo>
                        <a:pt x="65" y="80"/>
                        <a:pt x="65" y="80"/>
                        <a:pt x="65" y="80"/>
                      </a:cubicBezTo>
                      <a:cubicBezTo>
                        <a:pt x="65" y="81"/>
                        <a:pt x="65" y="82"/>
                        <a:pt x="66" y="83"/>
                      </a:cubicBezTo>
                      <a:close/>
                      <a:moveTo>
                        <a:pt x="151" y="112"/>
                      </a:moveTo>
                      <a:cubicBezTo>
                        <a:pt x="151" y="69"/>
                        <a:pt x="151" y="69"/>
                        <a:pt x="151" y="69"/>
                      </a:cubicBezTo>
                      <a:cubicBezTo>
                        <a:pt x="158" y="69"/>
                        <a:pt x="166" y="68"/>
                        <a:pt x="173" y="66"/>
                      </a:cubicBezTo>
                      <a:cubicBezTo>
                        <a:pt x="175" y="70"/>
                        <a:pt x="177" y="75"/>
                        <a:pt x="178" y="79"/>
                      </a:cubicBezTo>
                      <a:cubicBezTo>
                        <a:pt x="180" y="83"/>
                        <a:pt x="181" y="86"/>
                        <a:pt x="182" y="89"/>
                      </a:cubicBezTo>
                      <a:cubicBezTo>
                        <a:pt x="183" y="93"/>
                        <a:pt x="183" y="96"/>
                        <a:pt x="184" y="100"/>
                      </a:cubicBezTo>
                      <a:cubicBezTo>
                        <a:pt x="185" y="102"/>
                        <a:pt x="185" y="105"/>
                        <a:pt x="186" y="107"/>
                      </a:cubicBezTo>
                      <a:cubicBezTo>
                        <a:pt x="174" y="110"/>
                        <a:pt x="162" y="112"/>
                        <a:pt x="151" y="112"/>
                      </a:cubicBezTo>
                      <a:close/>
                      <a:moveTo>
                        <a:pt x="188" y="48"/>
                      </a:moveTo>
                      <a:cubicBezTo>
                        <a:pt x="188" y="48"/>
                        <a:pt x="188" y="49"/>
                        <a:pt x="189" y="49"/>
                      </a:cubicBezTo>
                      <a:cubicBezTo>
                        <a:pt x="190" y="50"/>
                        <a:pt x="191" y="51"/>
                        <a:pt x="192" y="52"/>
                      </a:cubicBezTo>
                      <a:cubicBezTo>
                        <a:pt x="187" y="54"/>
                        <a:pt x="182" y="57"/>
                        <a:pt x="176" y="58"/>
                      </a:cubicBezTo>
                      <a:cubicBezTo>
                        <a:pt x="171" y="46"/>
                        <a:pt x="164" y="35"/>
                        <a:pt x="158" y="27"/>
                      </a:cubicBezTo>
                      <a:cubicBezTo>
                        <a:pt x="168" y="32"/>
                        <a:pt x="179" y="39"/>
                        <a:pt x="188" y="48"/>
                      </a:cubicBezTo>
                      <a:close/>
                      <a:moveTo>
                        <a:pt x="164" y="24"/>
                      </a:moveTo>
                      <a:cubicBezTo>
                        <a:pt x="172" y="25"/>
                        <a:pt x="180" y="27"/>
                        <a:pt x="186" y="30"/>
                      </a:cubicBezTo>
                      <a:cubicBezTo>
                        <a:pt x="189" y="31"/>
                        <a:pt x="191" y="32"/>
                        <a:pt x="192" y="33"/>
                      </a:cubicBezTo>
                      <a:cubicBezTo>
                        <a:pt x="196" y="35"/>
                        <a:pt x="200" y="37"/>
                        <a:pt x="203" y="40"/>
                      </a:cubicBezTo>
                      <a:cubicBezTo>
                        <a:pt x="203" y="40"/>
                        <a:pt x="202" y="41"/>
                        <a:pt x="202" y="42"/>
                      </a:cubicBezTo>
                      <a:cubicBezTo>
                        <a:pt x="201" y="44"/>
                        <a:pt x="199" y="46"/>
                        <a:pt x="196" y="49"/>
                      </a:cubicBezTo>
                      <a:cubicBezTo>
                        <a:pt x="195" y="48"/>
                        <a:pt x="194" y="47"/>
                        <a:pt x="193" y="46"/>
                      </a:cubicBezTo>
                      <a:cubicBezTo>
                        <a:pt x="193" y="45"/>
                        <a:pt x="193" y="45"/>
                        <a:pt x="193" y="45"/>
                      </a:cubicBezTo>
                      <a:cubicBezTo>
                        <a:pt x="191" y="43"/>
                        <a:pt x="189" y="42"/>
                        <a:pt x="188" y="40"/>
                      </a:cubicBezTo>
                      <a:cubicBezTo>
                        <a:pt x="180" y="34"/>
                        <a:pt x="173" y="28"/>
                        <a:pt x="164" y="24"/>
                      </a:cubicBezTo>
                      <a:close/>
                      <a:moveTo>
                        <a:pt x="171" y="60"/>
                      </a:moveTo>
                      <a:cubicBezTo>
                        <a:pt x="164" y="62"/>
                        <a:pt x="158" y="63"/>
                        <a:pt x="151" y="63"/>
                      </a:cubicBezTo>
                      <a:cubicBezTo>
                        <a:pt x="151" y="27"/>
                        <a:pt x="151" y="27"/>
                        <a:pt x="151" y="27"/>
                      </a:cubicBezTo>
                      <a:cubicBezTo>
                        <a:pt x="152" y="28"/>
                        <a:pt x="152" y="29"/>
                        <a:pt x="153" y="30"/>
                      </a:cubicBezTo>
                      <a:cubicBezTo>
                        <a:pt x="159" y="38"/>
                        <a:pt x="166" y="48"/>
                        <a:pt x="171" y="60"/>
                      </a:cubicBezTo>
                      <a:close/>
                      <a:moveTo>
                        <a:pt x="191" y="105"/>
                      </a:moveTo>
                      <a:cubicBezTo>
                        <a:pt x="190" y="100"/>
                        <a:pt x="189" y="95"/>
                        <a:pt x="187" y="89"/>
                      </a:cubicBezTo>
                      <a:cubicBezTo>
                        <a:pt x="186" y="86"/>
                        <a:pt x="185" y="83"/>
                        <a:pt x="184" y="79"/>
                      </a:cubicBezTo>
                      <a:cubicBezTo>
                        <a:pt x="184" y="79"/>
                        <a:pt x="184" y="78"/>
                        <a:pt x="184" y="78"/>
                      </a:cubicBezTo>
                      <a:cubicBezTo>
                        <a:pt x="182" y="73"/>
                        <a:pt x="180" y="69"/>
                        <a:pt x="179" y="64"/>
                      </a:cubicBezTo>
                      <a:cubicBezTo>
                        <a:pt x="185" y="62"/>
                        <a:pt x="191" y="60"/>
                        <a:pt x="196" y="57"/>
                      </a:cubicBezTo>
                      <a:cubicBezTo>
                        <a:pt x="204" y="67"/>
                        <a:pt x="211" y="78"/>
                        <a:pt x="215" y="89"/>
                      </a:cubicBezTo>
                      <a:cubicBezTo>
                        <a:pt x="215" y="90"/>
                        <a:pt x="215" y="92"/>
                        <a:pt x="216" y="93"/>
                      </a:cubicBezTo>
                      <a:cubicBezTo>
                        <a:pt x="209" y="98"/>
                        <a:pt x="200" y="102"/>
                        <a:pt x="191" y="105"/>
                      </a:cubicBezTo>
                      <a:close/>
                      <a:moveTo>
                        <a:pt x="210" y="36"/>
                      </a:moveTo>
                      <a:cubicBezTo>
                        <a:pt x="212" y="38"/>
                        <a:pt x="213" y="40"/>
                        <a:pt x="214" y="42"/>
                      </a:cubicBezTo>
                      <a:cubicBezTo>
                        <a:pt x="213" y="40"/>
                        <a:pt x="211" y="39"/>
                        <a:pt x="210" y="38"/>
                      </a:cubicBezTo>
                      <a:cubicBezTo>
                        <a:pt x="210" y="38"/>
                        <a:pt x="210" y="37"/>
                        <a:pt x="210" y="36"/>
                      </a:cubicBezTo>
                      <a:close/>
                      <a:moveTo>
                        <a:pt x="208" y="45"/>
                      </a:moveTo>
                      <a:cubicBezTo>
                        <a:pt x="208" y="45"/>
                        <a:pt x="208" y="44"/>
                        <a:pt x="208" y="44"/>
                      </a:cubicBezTo>
                      <a:cubicBezTo>
                        <a:pt x="212" y="47"/>
                        <a:pt x="215" y="51"/>
                        <a:pt x="218" y="54"/>
                      </a:cubicBezTo>
                      <a:cubicBezTo>
                        <a:pt x="221" y="58"/>
                        <a:pt x="223" y="61"/>
                        <a:pt x="225" y="65"/>
                      </a:cubicBezTo>
                      <a:cubicBezTo>
                        <a:pt x="226" y="67"/>
                        <a:pt x="227" y="70"/>
                        <a:pt x="228" y="72"/>
                      </a:cubicBezTo>
                      <a:cubicBezTo>
                        <a:pt x="228" y="73"/>
                        <a:pt x="230" y="79"/>
                        <a:pt x="220" y="89"/>
                      </a:cubicBezTo>
                      <a:cubicBezTo>
                        <a:pt x="219" y="86"/>
                        <a:pt x="218" y="83"/>
                        <a:pt x="217" y="81"/>
                      </a:cubicBezTo>
                      <a:cubicBezTo>
                        <a:pt x="213" y="71"/>
                        <a:pt x="208" y="62"/>
                        <a:pt x="200" y="53"/>
                      </a:cubicBezTo>
                      <a:cubicBezTo>
                        <a:pt x="204" y="51"/>
                        <a:pt x="206" y="48"/>
                        <a:pt x="208" y="45"/>
                      </a:cubicBezTo>
                      <a:close/>
                      <a:moveTo>
                        <a:pt x="189" y="21"/>
                      </a:moveTo>
                      <a:cubicBezTo>
                        <a:pt x="194" y="22"/>
                        <a:pt x="198" y="24"/>
                        <a:pt x="201" y="27"/>
                      </a:cubicBezTo>
                      <a:cubicBezTo>
                        <a:pt x="203" y="29"/>
                        <a:pt x="203" y="31"/>
                        <a:pt x="204" y="33"/>
                      </a:cubicBezTo>
                      <a:cubicBezTo>
                        <a:pt x="200" y="31"/>
                        <a:pt x="196" y="28"/>
                        <a:pt x="191" y="26"/>
                      </a:cubicBezTo>
                      <a:cubicBezTo>
                        <a:pt x="189" y="25"/>
                        <a:pt x="187" y="25"/>
                        <a:pt x="185" y="24"/>
                      </a:cubicBezTo>
                      <a:cubicBezTo>
                        <a:pt x="179" y="21"/>
                        <a:pt x="173" y="20"/>
                        <a:pt x="166" y="19"/>
                      </a:cubicBezTo>
                      <a:cubicBezTo>
                        <a:pt x="169" y="18"/>
                        <a:pt x="171" y="18"/>
                        <a:pt x="173" y="18"/>
                      </a:cubicBezTo>
                      <a:cubicBezTo>
                        <a:pt x="176" y="18"/>
                        <a:pt x="179" y="19"/>
                        <a:pt x="183" y="19"/>
                      </a:cubicBezTo>
                      <a:cubicBezTo>
                        <a:pt x="185" y="20"/>
                        <a:pt x="187" y="20"/>
                        <a:pt x="189" y="21"/>
                      </a:cubicBezTo>
                      <a:close/>
                      <a:moveTo>
                        <a:pt x="174" y="11"/>
                      </a:moveTo>
                      <a:cubicBezTo>
                        <a:pt x="175" y="12"/>
                        <a:pt x="177" y="12"/>
                        <a:pt x="178" y="13"/>
                      </a:cubicBezTo>
                      <a:cubicBezTo>
                        <a:pt x="176" y="13"/>
                        <a:pt x="174" y="13"/>
                        <a:pt x="173" y="13"/>
                      </a:cubicBezTo>
                      <a:cubicBezTo>
                        <a:pt x="168" y="13"/>
                        <a:pt x="164" y="13"/>
                        <a:pt x="160" y="14"/>
                      </a:cubicBezTo>
                      <a:cubicBezTo>
                        <a:pt x="163" y="12"/>
                        <a:pt x="167" y="11"/>
                        <a:pt x="170" y="11"/>
                      </a:cubicBezTo>
                      <a:cubicBezTo>
                        <a:pt x="172" y="11"/>
                        <a:pt x="173" y="11"/>
                        <a:pt x="174" y="11"/>
                      </a:cubicBezTo>
                      <a:close/>
                      <a:moveTo>
                        <a:pt x="151" y="6"/>
                      </a:moveTo>
                      <a:cubicBezTo>
                        <a:pt x="154" y="6"/>
                        <a:pt x="158" y="7"/>
                        <a:pt x="161" y="7"/>
                      </a:cubicBezTo>
                      <a:cubicBezTo>
                        <a:pt x="158" y="9"/>
                        <a:pt x="154" y="11"/>
                        <a:pt x="151" y="14"/>
                      </a:cubicBezTo>
                      <a:cubicBezTo>
                        <a:pt x="151" y="6"/>
                        <a:pt x="151" y="6"/>
                        <a:pt x="151" y="6"/>
                      </a:cubicBezTo>
                      <a:cubicBezTo>
                        <a:pt x="151" y="6"/>
                        <a:pt x="151" y="6"/>
                        <a:pt x="151" y="6"/>
                      </a:cubicBezTo>
                      <a:close/>
                      <a:moveTo>
                        <a:pt x="110" y="89"/>
                      </a:moveTo>
                      <a:cubicBezTo>
                        <a:pt x="108" y="95"/>
                        <a:pt x="107" y="100"/>
                        <a:pt x="106" y="105"/>
                      </a:cubicBezTo>
                      <a:cubicBezTo>
                        <a:pt x="97" y="102"/>
                        <a:pt x="88" y="98"/>
                        <a:pt x="81" y="93"/>
                      </a:cubicBezTo>
                      <a:cubicBezTo>
                        <a:pt x="82" y="92"/>
                        <a:pt x="82" y="90"/>
                        <a:pt x="82" y="89"/>
                      </a:cubicBezTo>
                      <a:cubicBezTo>
                        <a:pt x="86" y="78"/>
                        <a:pt x="93" y="67"/>
                        <a:pt x="101" y="57"/>
                      </a:cubicBezTo>
                      <a:cubicBezTo>
                        <a:pt x="106" y="60"/>
                        <a:pt x="112" y="62"/>
                        <a:pt x="118" y="64"/>
                      </a:cubicBezTo>
                      <a:cubicBezTo>
                        <a:pt x="116" y="69"/>
                        <a:pt x="115" y="73"/>
                        <a:pt x="113" y="78"/>
                      </a:cubicBezTo>
                      <a:cubicBezTo>
                        <a:pt x="113" y="78"/>
                        <a:pt x="113" y="79"/>
                        <a:pt x="113" y="79"/>
                      </a:cubicBezTo>
                      <a:cubicBezTo>
                        <a:pt x="112" y="83"/>
                        <a:pt x="111" y="86"/>
                        <a:pt x="110" y="89"/>
                      </a:cubicBezTo>
                      <a:close/>
                      <a:moveTo>
                        <a:pt x="109" y="40"/>
                      </a:moveTo>
                      <a:cubicBezTo>
                        <a:pt x="108" y="42"/>
                        <a:pt x="106" y="43"/>
                        <a:pt x="104" y="45"/>
                      </a:cubicBezTo>
                      <a:cubicBezTo>
                        <a:pt x="104" y="45"/>
                        <a:pt x="104" y="45"/>
                        <a:pt x="104" y="46"/>
                      </a:cubicBezTo>
                      <a:cubicBezTo>
                        <a:pt x="103" y="47"/>
                        <a:pt x="102" y="48"/>
                        <a:pt x="101" y="49"/>
                      </a:cubicBezTo>
                      <a:cubicBezTo>
                        <a:pt x="98" y="47"/>
                        <a:pt x="96" y="44"/>
                        <a:pt x="95" y="42"/>
                      </a:cubicBezTo>
                      <a:cubicBezTo>
                        <a:pt x="94" y="41"/>
                        <a:pt x="94" y="40"/>
                        <a:pt x="94" y="40"/>
                      </a:cubicBezTo>
                      <a:cubicBezTo>
                        <a:pt x="97" y="37"/>
                        <a:pt x="101" y="35"/>
                        <a:pt x="104" y="33"/>
                      </a:cubicBezTo>
                      <a:cubicBezTo>
                        <a:pt x="106" y="32"/>
                        <a:pt x="109" y="31"/>
                        <a:pt x="111" y="30"/>
                      </a:cubicBezTo>
                      <a:cubicBezTo>
                        <a:pt x="117" y="27"/>
                        <a:pt x="125" y="25"/>
                        <a:pt x="133" y="24"/>
                      </a:cubicBezTo>
                      <a:cubicBezTo>
                        <a:pt x="124" y="28"/>
                        <a:pt x="117" y="34"/>
                        <a:pt x="109" y="40"/>
                      </a:cubicBezTo>
                      <a:close/>
                      <a:moveTo>
                        <a:pt x="139" y="27"/>
                      </a:moveTo>
                      <a:cubicBezTo>
                        <a:pt x="133" y="35"/>
                        <a:pt x="126" y="46"/>
                        <a:pt x="121" y="58"/>
                      </a:cubicBezTo>
                      <a:cubicBezTo>
                        <a:pt x="115" y="57"/>
                        <a:pt x="110" y="54"/>
                        <a:pt x="105" y="52"/>
                      </a:cubicBezTo>
                      <a:cubicBezTo>
                        <a:pt x="106" y="51"/>
                        <a:pt x="107" y="50"/>
                        <a:pt x="108" y="49"/>
                      </a:cubicBezTo>
                      <a:cubicBezTo>
                        <a:pt x="109" y="49"/>
                        <a:pt x="109" y="48"/>
                        <a:pt x="109" y="48"/>
                      </a:cubicBezTo>
                      <a:cubicBezTo>
                        <a:pt x="118" y="39"/>
                        <a:pt x="129" y="32"/>
                        <a:pt x="139" y="27"/>
                      </a:cubicBezTo>
                      <a:close/>
                      <a:moveTo>
                        <a:pt x="146" y="112"/>
                      </a:moveTo>
                      <a:cubicBezTo>
                        <a:pt x="135" y="112"/>
                        <a:pt x="123" y="110"/>
                        <a:pt x="111" y="107"/>
                      </a:cubicBezTo>
                      <a:cubicBezTo>
                        <a:pt x="112" y="105"/>
                        <a:pt x="112" y="102"/>
                        <a:pt x="113" y="100"/>
                      </a:cubicBezTo>
                      <a:cubicBezTo>
                        <a:pt x="114" y="96"/>
                        <a:pt x="115" y="93"/>
                        <a:pt x="115" y="89"/>
                      </a:cubicBezTo>
                      <a:cubicBezTo>
                        <a:pt x="116" y="86"/>
                        <a:pt x="117" y="83"/>
                        <a:pt x="119" y="79"/>
                      </a:cubicBezTo>
                      <a:cubicBezTo>
                        <a:pt x="120" y="75"/>
                        <a:pt x="122" y="70"/>
                        <a:pt x="123" y="66"/>
                      </a:cubicBezTo>
                      <a:cubicBezTo>
                        <a:pt x="132" y="68"/>
                        <a:pt x="139" y="69"/>
                        <a:pt x="146" y="69"/>
                      </a:cubicBezTo>
                      <a:cubicBezTo>
                        <a:pt x="146" y="112"/>
                        <a:pt x="146" y="112"/>
                        <a:pt x="146" y="112"/>
                      </a:cubicBezTo>
                      <a:cubicBezTo>
                        <a:pt x="146" y="112"/>
                        <a:pt x="146" y="112"/>
                        <a:pt x="146" y="112"/>
                      </a:cubicBezTo>
                      <a:close/>
                      <a:moveTo>
                        <a:pt x="146" y="63"/>
                      </a:moveTo>
                      <a:cubicBezTo>
                        <a:pt x="139" y="63"/>
                        <a:pt x="133" y="62"/>
                        <a:pt x="126" y="60"/>
                      </a:cubicBezTo>
                      <a:cubicBezTo>
                        <a:pt x="131" y="48"/>
                        <a:pt x="138" y="38"/>
                        <a:pt x="144" y="30"/>
                      </a:cubicBezTo>
                      <a:cubicBezTo>
                        <a:pt x="145" y="29"/>
                        <a:pt x="145" y="28"/>
                        <a:pt x="146" y="27"/>
                      </a:cubicBezTo>
                      <a:cubicBezTo>
                        <a:pt x="146" y="63"/>
                        <a:pt x="146" y="63"/>
                        <a:pt x="146" y="63"/>
                      </a:cubicBezTo>
                      <a:cubicBezTo>
                        <a:pt x="146" y="63"/>
                        <a:pt x="146" y="63"/>
                        <a:pt x="146" y="63"/>
                      </a:cubicBezTo>
                      <a:close/>
                      <a:moveTo>
                        <a:pt x="146" y="6"/>
                      </a:moveTo>
                      <a:cubicBezTo>
                        <a:pt x="146" y="14"/>
                        <a:pt x="146" y="14"/>
                        <a:pt x="146" y="14"/>
                      </a:cubicBezTo>
                      <a:cubicBezTo>
                        <a:pt x="143" y="11"/>
                        <a:pt x="139" y="9"/>
                        <a:pt x="136" y="7"/>
                      </a:cubicBezTo>
                      <a:cubicBezTo>
                        <a:pt x="139" y="7"/>
                        <a:pt x="143" y="6"/>
                        <a:pt x="146" y="6"/>
                      </a:cubicBezTo>
                      <a:close/>
                      <a:moveTo>
                        <a:pt x="123" y="11"/>
                      </a:moveTo>
                      <a:cubicBezTo>
                        <a:pt x="124" y="11"/>
                        <a:pt x="125" y="11"/>
                        <a:pt x="127" y="11"/>
                      </a:cubicBezTo>
                      <a:cubicBezTo>
                        <a:pt x="130" y="11"/>
                        <a:pt x="134" y="12"/>
                        <a:pt x="138" y="14"/>
                      </a:cubicBezTo>
                      <a:cubicBezTo>
                        <a:pt x="133" y="13"/>
                        <a:pt x="129" y="13"/>
                        <a:pt x="124" y="13"/>
                      </a:cubicBezTo>
                      <a:cubicBezTo>
                        <a:pt x="123" y="13"/>
                        <a:pt x="121" y="13"/>
                        <a:pt x="119" y="13"/>
                      </a:cubicBezTo>
                      <a:cubicBezTo>
                        <a:pt x="120" y="12"/>
                        <a:pt x="122" y="12"/>
                        <a:pt x="123" y="11"/>
                      </a:cubicBezTo>
                      <a:close/>
                      <a:moveTo>
                        <a:pt x="96" y="27"/>
                      </a:moveTo>
                      <a:cubicBezTo>
                        <a:pt x="99" y="24"/>
                        <a:pt x="103" y="22"/>
                        <a:pt x="108" y="21"/>
                      </a:cubicBezTo>
                      <a:cubicBezTo>
                        <a:pt x="110" y="20"/>
                        <a:pt x="112" y="20"/>
                        <a:pt x="114" y="19"/>
                      </a:cubicBezTo>
                      <a:cubicBezTo>
                        <a:pt x="118" y="19"/>
                        <a:pt x="121" y="18"/>
                        <a:pt x="124" y="18"/>
                      </a:cubicBezTo>
                      <a:cubicBezTo>
                        <a:pt x="126" y="18"/>
                        <a:pt x="128" y="18"/>
                        <a:pt x="131" y="19"/>
                      </a:cubicBezTo>
                      <a:cubicBezTo>
                        <a:pt x="124" y="20"/>
                        <a:pt x="118" y="21"/>
                        <a:pt x="112" y="24"/>
                      </a:cubicBezTo>
                      <a:cubicBezTo>
                        <a:pt x="110" y="25"/>
                        <a:pt x="108" y="25"/>
                        <a:pt x="106" y="26"/>
                      </a:cubicBezTo>
                      <a:cubicBezTo>
                        <a:pt x="101" y="28"/>
                        <a:pt x="97" y="31"/>
                        <a:pt x="93" y="34"/>
                      </a:cubicBezTo>
                      <a:cubicBezTo>
                        <a:pt x="94" y="31"/>
                        <a:pt x="94" y="29"/>
                        <a:pt x="96" y="27"/>
                      </a:cubicBezTo>
                      <a:close/>
                      <a:moveTo>
                        <a:pt x="87" y="36"/>
                      </a:moveTo>
                      <a:cubicBezTo>
                        <a:pt x="87" y="37"/>
                        <a:pt x="87" y="38"/>
                        <a:pt x="87" y="38"/>
                      </a:cubicBezTo>
                      <a:cubicBezTo>
                        <a:pt x="85" y="39"/>
                        <a:pt x="84" y="40"/>
                        <a:pt x="83" y="42"/>
                      </a:cubicBezTo>
                      <a:cubicBezTo>
                        <a:pt x="84" y="40"/>
                        <a:pt x="85" y="38"/>
                        <a:pt x="87" y="36"/>
                      </a:cubicBezTo>
                      <a:close/>
                      <a:moveTo>
                        <a:pt x="70" y="71"/>
                      </a:moveTo>
                      <a:cubicBezTo>
                        <a:pt x="70" y="69"/>
                        <a:pt x="71" y="67"/>
                        <a:pt x="72" y="65"/>
                      </a:cubicBezTo>
                      <a:cubicBezTo>
                        <a:pt x="74" y="61"/>
                        <a:pt x="76" y="58"/>
                        <a:pt x="79" y="54"/>
                      </a:cubicBezTo>
                      <a:cubicBezTo>
                        <a:pt x="82" y="51"/>
                        <a:pt x="85" y="47"/>
                        <a:pt x="89" y="44"/>
                      </a:cubicBezTo>
                      <a:cubicBezTo>
                        <a:pt x="89" y="44"/>
                        <a:pt x="89" y="45"/>
                        <a:pt x="89" y="45"/>
                      </a:cubicBezTo>
                      <a:cubicBezTo>
                        <a:pt x="91" y="48"/>
                        <a:pt x="93" y="51"/>
                        <a:pt x="97" y="54"/>
                      </a:cubicBezTo>
                      <a:cubicBezTo>
                        <a:pt x="90" y="62"/>
                        <a:pt x="84" y="71"/>
                        <a:pt x="80" y="81"/>
                      </a:cubicBezTo>
                      <a:cubicBezTo>
                        <a:pt x="79" y="83"/>
                        <a:pt x="78" y="86"/>
                        <a:pt x="77" y="89"/>
                      </a:cubicBezTo>
                      <a:cubicBezTo>
                        <a:pt x="72" y="84"/>
                        <a:pt x="70" y="79"/>
                        <a:pt x="69" y="73"/>
                      </a:cubicBezTo>
                      <a:cubicBezTo>
                        <a:pt x="69" y="73"/>
                        <a:pt x="69" y="72"/>
                        <a:pt x="70" y="71"/>
                      </a:cubicBezTo>
                      <a:close/>
                      <a:moveTo>
                        <a:pt x="42" y="93"/>
                      </a:moveTo>
                      <a:cubicBezTo>
                        <a:pt x="39" y="93"/>
                        <a:pt x="38" y="99"/>
                        <a:pt x="38" y="101"/>
                      </a:cubicBezTo>
                      <a:cubicBezTo>
                        <a:pt x="38" y="108"/>
                        <a:pt x="41" y="109"/>
                        <a:pt x="42" y="109"/>
                      </a:cubicBezTo>
                      <a:cubicBezTo>
                        <a:pt x="43" y="109"/>
                        <a:pt x="46" y="108"/>
                        <a:pt x="46" y="101"/>
                      </a:cubicBezTo>
                      <a:cubicBezTo>
                        <a:pt x="46" y="99"/>
                        <a:pt x="45" y="93"/>
                        <a:pt x="42" y="93"/>
                      </a:cubicBezTo>
                      <a:close/>
                      <a:moveTo>
                        <a:pt x="256" y="93"/>
                      </a:moveTo>
                      <a:cubicBezTo>
                        <a:pt x="253" y="93"/>
                        <a:pt x="253" y="99"/>
                        <a:pt x="253" y="101"/>
                      </a:cubicBezTo>
                      <a:cubicBezTo>
                        <a:pt x="253" y="108"/>
                        <a:pt x="255" y="109"/>
                        <a:pt x="256" y="109"/>
                      </a:cubicBezTo>
                      <a:cubicBezTo>
                        <a:pt x="257" y="109"/>
                        <a:pt x="260" y="108"/>
                        <a:pt x="260" y="101"/>
                      </a:cubicBezTo>
                      <a:cubicBezTo>
                        <a:pt x="260" y="99"/>
                        <a:pt x="260" y="93"/>
                        <a:pt x="256" y="93"/>
                      </a:cubicBezTo>
                      <a:close/>
                      <a:moveTo>
                        <a:pt x="164" y="144"/>
                      </a:moveTo>
                      <a:cubicBezTo>
                        <a:pt x="162" y="137"/>
                        <a:pt x="157" y="139"/>
                        <a:pt x="156" y="141"/>
                      </a:cubicBezTo>
                      <a:cubicBezTo>
                        <a:pt x="155" y="142"/>
                        <a:pt x="154" y="143"/>
                        <a:pt x="154" y="145"/>
                      </a:cubicBezTo>
                      <a:cubicBezTo>
                        <a:pt x="153" y="149"/>
                        <a:pt x="154" y="156"/>
                        <a:pt x="159" y="156"/>
                      </a:cubicBezTo>
                      <a:cubicBezTo>
                        <a:pt x="163" y="156"/>
                        <a:pt x="164" y="151"/>
                        <a:pt x="164" y="146"/>
                      </a:cubicBezTo>
                      <a:cubicBezTo>
                        <a:pt x="164" y="145"/>
                        <a:pt x="164" y="145"/>
                        <a:pt x="164" y="144"/>
                      </a:cubicBezTo>
                      <a:close/>
                      <a:moveTo>
                        <a:pt x="323" y="101"/>
                      </a:moveTo>
                      <a:cubicBezTo>
                        <a:pt x="292" y="71"/>
                        <a:pt x="292" y="71"/>
                        <a:pt x="292" y="71"/>
                      </a:cubicBezTo>
                      <a:cubicBezTo>
                        <a:pt x="292" y="83"/>
                        <a:pt x="292" y="83"/>
                        <a:pt x="292" y="83"/>
                      </a:cubicBezTo>
                      <a:cubicBezTo>
                        <a:pt x="241" y="83"/>
                        <a:pt x="241" y="83"/>
                        <a:pt x="241" y="83"/>
                      </a:cubicBezTo>
                      <a:cubicBezTo>
                        <a:pt x="241" y="85"/>
                        <a:pt x="240" y="86"/>
                        <a:pt x="240" y="87"/>
                      </a:cubicBezTo>
                      <a:cubicBezTo>
                        <a:pt x="233" y="103"/>
                        <a:pt x="215" y="116"/>
                        <a:pt x="189" y="124"/>
                      </a:cubicBezTo>
                      <a:cubicBezTo>
                        <a:pt x="176" y="128"/>
                        <a:pt x="162" y="129"/>
                        <a:pt x="148" y="129"/>
                      </a:cubicBezTo>
                      <a:cubicBezTo>
                        <a:pt x="113" y="129"/>
                        <a:pt x="79" y="117"/>
                        <a:pt x="63" y="96"/>
                      </a:cubicBezTo>
                      <a:cubicBezTo>
                        <a:pt x="61" y="94"/>
                        <a:pt x="60" y="92"/>
                        <a:pt x="58" y="90"/>
                      </a:cubicBezTo>
                      <a:cubicBezTo>
                        <a:pt x="57" y="88"/>
                        <a:pt x="56" y="86"/>
                        <a:pt x="56" y="83"/>
                      </a:cubicBezTo>
                      <a:cubicBezTo>
                        <a:pt x="0" y="83"/>
                        <a:pt x="0" y="83"/>
                        <a:pt x="0" y="83"/>
                      </a:cubicBezTo>
                      <a:cubicBezTo>
                        <a:pt x="0" y="119"/>
                        <a:pt x="0" y="119"/>
                        <a:pt x="0" y="119"/>
                      </a:cubicBezTo>
                      <a:cubicBezTo>
                        <a:pt x="55" y="119"/>
                        <a:pt x="55" y="119"/>
                        <a:pt x="55" y="119"/>
                      </a:cubicBezTo>
                      <a:cubicBezTo>
                        <a:pt x="55" y="120"/>
                        <a:pt x="55" y="122"/>
                        <a:pt x="56" y="123"/>
                      </a:cubicBezTo>
                      <a:cubicBezTo>
                        <a:pt x="57" y="127"/>
                        <a:pt x="60" y="131"/>
                        <a:pt x="63" y="135"/>
                      </a:cubicBezTo>
                      <a:cubicBezTo>
                        <a:pt x="64" y="137"/>
                        <a:pt x="65" y="138"/>
                        <a:pt x="66" y="140"/>
                      </a:cubicBezTo>
                      <a:cubicBezTo>
                        <a:pt x="70" y="144"/>
                        <a:pt x="74" y="147"/>
                        <a:pt x="79" y="150"/>
                      </a:cubicBezTo>
                      <a:cubicBezTo>
                        <a:pt x="86" y="155"/>
                        <a:pt x="94" y="159"/>
                        <a:pt x="103" y="162"/>
                      </a:cubicBezTo>
                      <a:cubicBezTo>
                        <a:pt x="105" y="162"/>
                        <a:pt x="107" y="163"/>
                        <a:pt x="109" y="163"/>
                      </a:cubicBezTo>
                      <a:cubicBezTo>
                        <a:pt x="120" y="167"/>
                        <a:pt x="133" y="168"/>
                        <a:pt x="146" y="169"/>
                      </a:cubicBezTo>
                      <a:cubicBezTo>
                        <a:pt x="147" y="169"/>
                        <a:pt x="148" y="169"/>
                        <a:pt x="148" y="169"/>
                      </a:cubicBezTo>
                      <a:cubicBezTo>
                        <a:pt x="150" y="169"/>
                        <a:pt x="151" y="169"/>
                        <a:pt x="152" y="169"/>
                      </a:cubicBezTo>
                      <a:cubicBezTo>
                        <a:pt x="164" y="168"/>
                        <a:pt x="177" y="167"/>
                        <a:pt x="189" y="163"/>
                      </a:cubicBezTo>
                      <a:cubicBezTo>
                        <a:pt x="189" y="163"/>
                        <a:pt x="189" y="163"/>
                        <a:pt x="189" y="163"/>
                      </a:cubicBezTo>
                      <a:cubicBezTo>
                        <a:pt x="191" y="163"/>
                        <a:pt x="193" y="162"/>
                        <a:pt x="194" y="161"/>
                      </a:cubicBezTo>
                      <a:cubicBezTo>
                        <a:pt x="204" y="158"/>
                        <a:pt x="212" y="154"/>
                        <a:pt x="219" y="149"/>
                      </a:cubicBezTo>
                      <a:cubicBezTo>
                        <a:pt x="224" y="146"/>
                        <a:pt x="228" y="142"/>
                        <a:pt x="232" y="138"/>
                      </a:cubicBezTo>
                      <a:cubicBezTo>
                        <a:pt x="236" y="134"/>
                        <a:pt x="239" y="129"/>
                        <a:pt x="241" y="123"/>
                      </a:cubicBezTo>
                      <a:cubicBezTo>
                        <a:pt x="242" y="122"/>
                        <a:pt x="242" y="120"/>
                        <a:pt x="243" y="119"/>
                      </a:cubicBezTo>
                      <a:cubicBezTo>
                        <a:pt x="292" y="119"/>
                        <a:pt x="292" y="119"/>
                        <a:pt x="292" y="119"/>
                      </a:cubicBezTo>
                      <a:cubicBezTo>
                        <a:pt x="292" y="131"/>
                        <a:pt x="292" y="131"/>
                        <a:pt x="292" y="131"/>
                      </a:cubicBezTo>
                      <a:cubicBezTo>
                        <a:pt x="323" y="101"/>
                        <a:pt x="323" y="101"/>
                        <a:pt x="323" y="101"/>
                      </a:cubicBezTo>
                      <a:cubicBezTo>
                        <a:pt x="323" y="101"/>
                        <a:pt x="323" y="101"/>
                        <a:pt x="323" y="101"/>
                      </a:cubicBezTo>
                      <a:close/>
                      <a:moveTo>
                        <a:pt x="28" y="112"/>
                      </a:moveTo>
                      <a:cubicBezTo>
                        <a:pt x="12" y="112"/>
                        <a:pt x="12" y="112"/>
                        <a:pt x="12" y="112"/>
                      </a:cubicBezTo>
                      <a:cubicBezTo>
                        <a:pt x="12" y="108"/>
                        <a:pt x="12" y="108"/>
                        <a:pt x="12" y="108"/>
                      </a:cubicBezTo>
                      <a:cubicBezTo>
                        <a:pt x="18" y="108"/>
                        <a:pt x="18" y="108"/>
                        <a:pt x="18" y="108"/>
                      </a:cubicBezTo>
                      <a:cubicBezTo>
                        <a:pt x="18" y="94"/>
                        <a:pt x="18" y="94"/>
                        <a:pt x="18" y="94"/>
                      </a:cubicBezTo>
                      <a:cubicBezTo>
                        <a:pt x="13" y="97"/>
                        <a:pt x="13" y="97"/>
                        <a:pt x="13" y="97"/>
                      </a:cubicBezTo>
                      <a:cubicBezTo>
                        <a:pt x="11" y="93"/>
                        <a:pt x="11" y="93"/>
                        <a:pt x="11" y="93"/>
                      </a:cubicBezTo>
                      <a:cubicBezTo>
                        <a:pt x="19" y="90"/>
                        <a:pt x="19" y="90"/>
                        <a:pt x="19" y="90"/>
                      </a:cubicBezTo>
                      <a:cubicBezTo>
                        <a:pt x="22" y="90"/>
                        <a:pt x="22" y="90"/>
                        <a:pt x="22" y="90"/>
                      </a:cubicBezTo>
                      <a:cubicBezTo>
                        <a:pt x="22" y="108"/>
                        <a:pt x="22" y="108"/>
                        <a:pt x="22" y="108"/>
                      </a:cubicBezTo>
                      <a:cubicBezTo>
                        <a:pt x="28" y="108"/>
                        <a:pt x="28" y="108"/>
                        <a:pt x="28" y="108"/>
                      </a:cubicBezTo>
                      <a:cubicBezTo>
                        <a:pt x="28" y="112"/>
                        <a:pt x="28" y="112"/>
                        <a:pt x="28" y="112"/>
                      </a:cubicBezTo>
                      <a:cubicBezTo>
                        <a:pt x="28" y="112"/>
                        <a:pt x="28" y="112"/>
                        <a:pt x="28" y="112"/>
                      </a:cubicBezTo>
                      <a:close/>
                      <a:moveTo>
                        <a:pt x="42" y="112"/>
                      </a:moveTo>
                      <a:cubicBezTo>
                        <a:pt x="35" y="112"/>
                        <a:pt x="34" y="106"/>
                        <a:pt x="34" y="101"/>
                      </a:cubicBezTo>
                      <a:cubicBezTo>
                        <a:pt x="34" y="96"/>
                        <a:pt x="36" y="90"/>
                        <a:pt x="42" y="90"/>
                      </a:cubicBezTo>
                      <a:cubicBezTo>
                        <a:pt x="49" y="90"/>
                        <a:pt x="50" y="96"/>
                        <a:pt x="50" y="101"/>
                      </a:cubicBezTo>
                      <a:cubicBezTo>
                        <a:pt x="50" y="106"/>
                        <a:pt x="49" y="112"/>
                        <a:pt x="42" y="112"/>
                      </a:cubicBezTo>
                      <a:close/>
                      <a:moveTo>
                        <a:pt x="65" y="127"/>
                      </a:moveTo>
                      <a:cubicBezTo>
                        <a:pt x="64" y="125"/>
                        <a:pt x="62" y="123"/>
                        <a:pt x="61" y="121"/>
                      </a:cubicBezTo>
                      <a:cubicBezTo>
                        <a:pt x="60" y="120"/>
                        <a:pt x="60" y="118"/>
                        <a:pt x="59" y="117"/>
                      </a:cubicBezTo>
                      <a:cubicBezTo>
                        <a:pt x="59" y="113"/>
                        <a:pt x="59" y="113"/>
                        <a:pt x="59" y="113"/>
                      </a:cubicBezTo>
                      <a:cubicBezTo>
                        <a:pt x="60" y="114"/>
                        <a:pt x="60" y="115"/>
                        <a:pt x="61" y="116"/>
                      </a:cubicBezTo>
                      <a:cubicBezTo>
                        <a:pt x="61" y="117"/>
                        <a:pt x="61" y="117"/>
                        <a:pt x="62" y="118"/>
                      </a:cubicBezTo>
                      <a:cubicBezTo>
                        <a:pt x="62" y="110"/>
                        <a:pt x="62" y="110"/>
                        <a:pt x="62" y="110"/>
                      </a:cubicBezTo>
                      <a:cubicBezTo>
                        <a:pt x="62" y="102"/>
                        <a:pt x="62" y="102"/>
                        <a:pt x="62" y="102"/>
                      </a:cubicBezTo>
                      <a:cubicBezTo>
                        <a:pt x="61" y="102"/>
                        <a:pt x="61" y="102"/>
                        <a:pt x="61" y="101"/>
                      </a:cubicBezTo>
                      <a:cubicBezTo>
                        <a:pt x="61" y="101"/>
                        <a:pt x="61" y="101"/>
                        <a:pt x="61" y="101"/>
                      </a:cubicBezTo>
                      <a:cubicBezTo>
                        <a:pt x="60" y="101"/>
                        <a:pt x="60" y="101"/>
                        <a:pt x="59" y="100"/>
                      </a:cubicBezTo>
                      <a:cubicBezTo>
                        <a:pt x="59" y="97"/>
                        <a:pt x="59" y="97"/>
                        <a:pt x="59" y="97"/>
                      </a:cubicBezTo>
                      <a:cubicBezTo>
                        <a:pt x="59" y="95"/>
                        <a:pt x="59" y="95"/>
                        <a:pt x="59" y="95"/>
                      </a:cubicBezTo>
                      <a:cubicBezTo>
                        <a:pt x="60" y="96"/>
                        <a:pt x="61" y="97"/>
                        <a:pt x="62" y="98"/>
                      </a:cubicBezTo>
                      <a:cubicBezTo>
                        <a:pt x="63" y="99"/>
                        <a:pt x="63" y="100"/>
                        <a:pt x="64" y="100"/>
                      </a:cubicBezTo>
                      <a:cubicBezTo>
                        <a:pt x="64" y="105"/>
                        <a:pt x="64" y="105"/>
                        <a:pt x="64" y="105"/>
                      </a:cubicBezTo>
                      <a:cubicBezTo>
                        <a:pt x="64" y="113"/>
                        <a:pt x="64" y="113"/>
                        <a:pt x="64" y="113"/>
                      </a:cubicBezTo>
                      <a:cubicBezTo>
                        <a:pt x="64" y="121"/>
                        <a:pt x="64" y="121"/>
                        <a:pt x="64" y="121"/>
                      </a:cubicBezTo>
                      <a:cubicBezTo>
                        <a:pt x="64" y="122"/>
                        <a:pt x="65" y="122"/>
                        <a:pt x="65" y="123"/>
                      </a:cubicBezTo>
                      <a:cubicBezTo>
                        <a:pt x="66" y="124"/>
                        <a:pt x="67" y="125"/>
                        <a:pt x="68" y="126"/>
                      </a:cubicBezTo>
                      <a:cubicBezTo>
                        <a:pt x="68" y="130"/>
                        <a:pt x="68" y="130"/>
                        <a:pt x="68" y="130"/>
                      </a:cubicBezTo>
                      <a:cubicBezTo>
                        <a:pt x="67" y="129"/>
                        <a:pt x="66" y="128"/>
                        <a:pt x="65" y="127"/>
                      </a:cubicBezTo>
                      <a:close/>
                      <a:moveTo>
                        <a:pt x="77" y="138"/>
                      </a:moveTo>
                      <a:cubicBezTo>
                        <a:pt x="75" y="137"/>
                        <a:pt x="74" y="136"/>
                        <a:pt x="72" y="134"/>
                      </a:cubicBezTo>
                      <a:cubicBezTo>
                        <a:pt x="72" y="130"/>
                        <a:pt x="72" y="130"/>
                        <a:pt x="72" y="130"/>
                      </a:cubicBezTo>
                      <a:cubicBezTo>
                        <a:pt x="73" y="132"/>
                        <a:pt x="75" y="133"/>
                        <a:pt x="76" y="134"/>
                      </a:cubicBezTo>
                      <a:cubicBezTo>
                        <a:pt x="77" y="134"/>
                        <a:pt x="77" y="134"/>
                        <a:pt x="77" y="135"/>
                      </a:cubicBezTo>
                      <a:cubicBezTo>
                        <a:pt x="77" y="125"/>
                        <a:pt x="77" y="125"/>
                        <a:pt x="77" y="125"/>
                      </a:cubicBezTo>
                      <a:cubicBezTo>
                        <a:pt x="77" y="124"/>
                        <a:pt x="77" y="124"/>
                        <a:pt x="77" y="124"/>
                      </a:cubicBezTo>
                      <a:cubicBezTo>
                        <a:pt x="77" y="119"/>
                        <a:pt x="77" y="119"/>
                        <a:pt x="77" y="119"/>
                      </a:cubicBezTo>
                      <a:cubicBezTo>
                        <a:pt x="76" y="119"/>
                        <a:pt x="74" y="118"/>
                        <a:pt x="73" y="118"/>
                      </a:cubicBezTo>
                      <a:cubicBezTo>
                        <a:pt x="73" y="117"/>
                        <a:pt x="73" y="117"/>
                        <a:pt x="73" y="117"/>
                      </a:cubicBezTo>
                      <a:cubicBezTo>
                        <a:pt x="72" y="114"/>
                        <a:pt x="72" y="114"/>
                        <a:pt x="72" y="114"/>
                      </a:cubicBezTo>
                      <a:cubicBezTo>
                        <a:pt x="72" y="114"/>
                        <a:pt x="72" y="114"/>
                        <a:pt x="72" y="114"/>
                      </a:cubicBezTo>
                      <a:cubicBezTo>
                        <a:pt x="72" y="113"/>
                        <a:pt x="72" y="113"/>
                        <a:pt x="72" y="113"/>
                      </a:cubicBezTo>
                      <a:cubicBezTo>
                        <a:pt x="74" y="114"/>
                        <a:pt x="76" y="114"/>
                        <a:pt x="78" y="115"/>
                      </a:cubicBezTo>
                      <a:cubicBezTo>
                        <a:pt x="79" y="115"/>
                        <a:pt x="80" y="116"/>
                        <a:pt x="81" y="116"/>
                      </a:cubicBezTo>
                      <a:cubicBezTo>
                        <a:pt x="81" y="121"/>
                        <a:pt x="81" y="121"/>
                        <a:pt x="81" y="121"/>
                      </a:cubicBezTo>
                      <a:cubicBezTo>
                        <a:pt x="81" y="128"/>
                        <a:pt x="81" y="128"/>
                        <a:pt x="81" y="128"/>
                      </a:cubicBezTo>
                      <a:cubicBezTo>
                        <a:pt x="81" y="137"/>
                        <a:pt x="81" y="137"/>
                        <a:pt x="81" y="137"/>
                      </a:cubicBezTo>
                      <a:cubicBezTo>
                        <a:pt x="83" y="138"/>
                        <a:pt x="85" y="140"/>
                        <a:pt x="87" y="141"/>
                      </a:cubicBezTo>
                      <a:cubicBezTo>
                        <a:pt x="87" y="145"/>
                        <a:pt x="87" y="145"/>
                        <a:pt x="87" y="145"/>
                      </a:cubicBezTo>
                      <a:cubicBezTo>
                        <a:pt x="83" y="143"/>
                        <a:pt x="80" y="141"/>
                        <a:pt x="77" y="138"/>
                      </a:cubicBezTo>
                      <a:close/>
                      <a:moveTo>
                        <a:pt x="110" y="149"/>
                      </a:moveTo>
                      <a:cubicBezTo>
                        <a:pt x="109" y="150"/>
                        <a:pt x="109" y="150"/>
                        <a:pt x="108" y="151"/>
                      </a:cubicBezTo>
                      <a:cubicBezTo>
                        <a:pt x="107" y="153"/>
                        <a:pt x="105" y="153"/>
                        <a:pt x="103" y="153"/>
                      </a:cubicBezTo>
                      <a:cubicBezTo>
                        <a:pt x="100" y="152"/>
                        <a:pt x="96" y="149"/>
                        <a:pt x="95" y="146"/>
                      </a:cubicBezTo>
                      <a:cubicBezTo>
                        <a:pt x="94" y="145"/>
                        <a:pt x="93" y="139"/>
                        <a:pt x="93" y="134"/>
                      </a:cubicBezTo>
                      <a:cubicBezTo>
                        <a:pt x="93" y="132"/>
                        <a:pt x="93" y="130"/>
                        <a:pt x="94" y="129"/>
                      </a:cubicBezTo>
                      <a:cubicBezTo>
                        <a:pt x="95" y="126"/>
                        <a:pt x="97" y="126"/>
                        <a:pt x="101" y="127"/>
                      </a:cubicBezTo>
                      <a:cubicBezTo>
                        <a:pt x="106" y="128"/>
                        <a:pt x="108" y="131"/>
                        <a:pt x="109" y="134"/>
                      </a:cubicBezTo>
                      <a:cubicBezTo>
                        <a:pt x="109" y="135"/>
                        <a:pt x="109" y="135"/>
                        <a:pt x="110" y="135"/>
                      </a:cubicBezTo>
                      <a:cubicBezTo>
                        <a:pt x="110" y="137"/>
                        <a:pt x="110" y="138"/>
                        <a:pt x="111" y="140"/>
                      </a:cubicBezTo>
                      <a:cubicBezTo>
                        <a:pt x="111" y="145"/>
                        <a:pt x="110" y="149"/>
                        <a:pt x="110" y="149"/>
                      </a:cubicBezTo>
                      <a:close/>
                      <a:moveTo>
                        <a:pt x="119" y="157"/>
                      </a:moveTo>
                      <a:cubicBezTo>
                        <a:pt x="119" y="153"/>
                        <a:pt x="119" y="153"/>
                        <a:pt x="119" y="153"/>
                      </a:cubicBezTo>
                      <a:cubicBezTo>
                        <a:pt x="122" y="153"/>
                        <a:pt x="124" y="154"/>
                        <a:pt x="127" y="154"/>
                      </a:cubicBezTo>
                      <a:cubicBezTo>
                        <a:pt x="127" y="143"/>
                        <a:pt x="127" y="143"/>
                        <a:pt x="127" y="143"/>
                      </a:cubicBezTo>
                      <a:cubicBezTo>
                        <a:pt x="127" y="139"/>
                        <a:pt x="127" y="139"/>
                        <a:pt x="127" y="139"/>
                      </a:cubicBezTo>
                      <a:cubicBezTo>
                        <a:pt x="125" y="139"/>
                        <a:pt x="122" y="139"/>
                        <a:pt x="120" y="140"/>
                      </a:cubicBezTo>
                      <a:cubicBezTo>
                        <a:pt x="119" y="137"/>
                        <a:pt x="119" y="137"/>
                        <a:pt x="119" y="137"/>
                      </a:cubicBezTo>
                      <a:cubicBezTo>
                        <a:pt x="118" y="135"/>
                        <a:pt x="118" y="135"/>
                        <a:pt x="118" y="135"/>
                      </a:cubicBezTo>
                      <a:cubicBezTo>
                        <a:pt x="122" y="135"/>
                        <a:pt x="126" y="134"/>
                        <a:pt x="129" y="134"/>
                      </a:cubicBezTo>
                      <a:cubicBezTo>
                        <a:pt x="130" y="134"/>
                        <a:pt x="131" y="134"/>
                        <a:pt x="132" y="134"/>
                      </a:cubicBezTo>
                      <a:cubicBezTo>
                        <a:pt x="132" y="139"/>
                        <a:pt x="132" y="139"/>
                        <a:pt x="132" y="139"/>
                      </a:cubicBezTo>
                      <a:cubicBezTo>
                        <a:pt x="132" y="144"/>
                        <a:pt x="132" y="144"/>
                        <a:pt x="132" y="144"/>
                      </a:cubicBezTo>
                      <a:cubicBezTo>
                        <a:pt x="132" y="155"/>
                        <a:pt x="132" y="155"/>
                        <a:pt x="132" y="155"/>
                      </a:cubicBezTo>
                      <a:cubicBezTo>
                        <a:pt x="135" y="155"/>
                        <a:pt x="138" y="155"/>
                        <a:pt x="141" y="156"/>
                      </a:cubicBezTo>
                      <a:cubicBezTo>
                        <a:pt x="141" y="160"/>
                        <a:pt x="141" y="160"/>
                        <a:pt x="141" y="160"/>
                      </a:cubicBezTo>
                      <a:cubicBezTo>
                        <a:pt x="133" y="159"/>
                        <a:pt x="126" y="158"/>
                        <a:pt x="119" y="157"/>
                      </a:cubicBezTo>
                      <a:close/>
                      <a:moveTo>
                        <a:pt x="152" y="159"/>
                      </a:moveTo>
                      <a:cubicBezTo>
                        <a:pt x="152" y="159"/>
                        <a:pt x="152" y="159"/>
                        <a:pt x="152" y="158"/>
                      </a:cubicBezTo>
                      <a:cubicBezTo>
                        <a:pt x="148" y="155"/>
                        <a:pt x="148" y="149"/>
                        <a:pt x="148" y="145"/>
                      </a:cubicBezTo>
                      <a:cubicBezTo>
                        <a:pt x="148" y="144"/>
                        <a:pt x="149" y="143"/>
                        <a:pt x="149" y="142"/>
                      </a:cubicBezTo>
                      <a:cubicBezTo>
                        <a:pt x="149" y="141"/>
                        <a:pt x="150" y="140"/>
                        <a:pt x="150" y="139"/>
                      </a:cubicBezTo>
                      <a:cubicBezTo>
                        <a:pt x="153" y="136"/>
                        <a:pt x="157" y="135"/>
                        <a:pt x="159" y="135"/>
                      </a:cubicBezTo>
                      <a:cubicBezTo>
                        <a:pt x="163" y="135"/>
                        <a:pt x="166" y="136"/>
                        <a:pt x="167" y="138"/>
                      </a:cubicBezTo>
                      <a:cubicBezTo>
                        <a:pt x="168" y="140"/>
                        <a:pt x="169" y="141"/>
                        <a:pt x="169" y="144"/>
                      </a:cubicBezTo>
                      <a:cubicBezTo>
                        <a:pt x="169" y="144"/>
                        <a:pt x="169" y="144"/>
                        <a:pt x="169" y="144"/>
                      </a:cubicBezTo>
                      <a:cubicBezTo>
                        <a:pt x="172" y="160"/>
                        <a:pt x="158" y="163"/>
                        <a:pt x="152" y="159"/>
                      </a:cubicBezTo>
                      <a:close/>
                      <a:moveTo>
                        <a:pt x="195" y="153"/>
                      </a:moveTo>
                      <a:cubicBezTo>
                        <a:pt x="194" y="154"/>
                        <a:pt x="192" y="154"/>
                        <a:pt x="191" y="155"/>
                      </a:cubicBezTo>
                      <a:cubicBezTo>
                        <a:pt x="191" y="155"/>
                        <a:pt x="190" y="155"/>
                        <a:pt x="189" y="155"/>
                      </a:cubicBezTo>
                      <a:cubicBezTo>
                        <a:pt x="186" y="156"/>
                        <a:pt x="182" y="157"/>
                        <a:pt x="179" y="158"/>
                      </a:cubicBezTo>
                      <a:cubicBezTo>
                        <a:pt x="179" y="153"/>
                        <a:pt x="179" y="153"/>
                        <a:pt x="179" y="153"/>
                      </a:cubicBezTo>
                      <a:cubicBezTo>
                        <a:pt x="181" y="153"/>
                        <a:pt x="184" y="152"/>
                        <a:pt x="187" y="152"/>
                      </a:cubicBezTo>
                      <a:cubicBezTo>
                        <a:pt x="187" y="140"/>
                        <a:pt x="187" y="140"/>
                        <a:pt x="187" y="140"/>
                      </a:cubicBezTo>
                      <a:cubicBezTo>
                        <a:pt x="187" y="136"/>
                        <a:pt x="187" y="136"/>
                        <a:pt x="187" y="136"/>
                      </a:cubicBezTo>
                      <a:cubicBezTo>
                        <a:pt x="185" y="137"/>
                        <a:pt x="182" y="139"/>
                        <a:pt x="180" y="140"/>
                      </a:cubicBezTo>
                      <a:cubicBezTo>
                        <a:pt x="178" y="137"/>
                        <a:pt x="178" y="137"/>
                        <a:pt x="178" y="137"/>
                      </a:cubicBezTo>
                      <a:cubicBezTo>
                        <a:pt x="178" y="136"/>
                        <a:pt x="178" y="136"/>
                        <a:pt x="178" y="136"/>
                      </a:cubicBezTo>
                      <a:cubicBezTo>
                        <a:pt x="181" y="135"/>
                        <a:pt x="185" y="132"/>
                        <a:pt x="189" y="131"/>
                      </a:cubicBezTo>
                      <a:cubicBezTo>
                        <a:pt x="189" y="130"/>
                        <a:pt x="190" y="130"/>
                        <a:pt x="191" y="130"/>
                      </a:cubicBezTo>
                      <a:cubicBezTo>
                        <a:pt x="192" y="130"/>
                        <a:pt x="192" y="130"/>
                        <a:pt x="192" y="129"/>
                      </a:cubicBezTo>
                      <a:cubicBezTo>
                        <a:pt x="192" y="133"/>
                        <a:pt x="192" y="133"/>
                        <a:pt x="192" y="133"/>
                      </a:cubicBezTo>
                      <a:cubicBezTo>
                        <a:pt x="192" y="139"/>
                        <a:pt x="192" y="139"/>
                        <a:pt x="192" y="139"/>
                      </a:cubicBezTo>
                      <a:cubicBezTo>
                        <a:pt x="192" y="150"/>
                        <a:pt x="192" y="150"/>
                        <a:pt x="192" y="150"/>
                      </a:cubicBezTo>
                      <a:cubicBezTo>
                        <a:pt x="193" y="150"/>
                        <a:pt x="194" y="149"/>
                        <a:pt x="195" y="149"/>
                      </a:cubicBezTo>
                      <a:cubicBezTo>
                        <a:pt x="197" y="149"/>
                        <a:pt x="198" y="148"/>
                        <a:pt x="200" y="147"/>
                      </a:cubicBezTo>
                      <a:cubicBezTo>
                        <a:pt x="200" y="152"/>
                        <a:pt x="200" y="152"/>
                        <a:pt x="200" y="152"/>
                      </a:cubicBezTo>
                      <a:cubicBezTo>
                        <a:pt x="198" y="152"/>
                        <a:pt x="197" y="153"/>
                        <a:pt x="195" y="153"/>
                      </a:cubicBezTo>
                      <a:close/>
                      <a:moveTo>
                        <a:pt x="221" y="141"/>
                      </a:moveTo>
                      <a:cubicBezTo>
                        <a:pt x="217" y="144"/>
                        <a:pt x="212" y="147"/>
                        <a:pt x="207" y="149"/>
                      </a:cubicBezTo>
                      <a:cubicBezTo>
                        <a:pt x="207" y="145"/>
                        <a:pt x="207" y="145"/>
                        <a:pt x="207" y="145"/>
                      </a:cubicBezTo>
                      <a:cubicBezTo>
                        <a:pt x="209" y="144"/>
                        <a:pt x="211" y="143"/>
                        <a:pt x="214" y="141"/>
                      </a:cubicBezTo>
                      <a:cubicBezTo>
                        <a:pt x="214" y="129"/>
                        <a:pt x="214" y="129"/>
                        <a:pt x="214" y="129"/>
                      </a:cubicBezTo>
                      <a:cubicBezTo>
                        <a:pt x="214" y="126"/>
                        <a:pt x="214" y="126"/>
                        <a:pt x="214" y="126"/>
                      </a:cubicBezTo>
                      <a:cubicBezTo>
                        <a:pt x="212" y="128"/>
                        <a:pt x="210" y="129"/>
                        <a:pt x="208" y="131"/>
                      </a:cubicBezTo>
                      <a:cubicBezTo>
                        <a:pt x="206" y="128"/>
                        <a:pt x="206" y="128"/>
                        <a:pt x="206" y="128"/>
                      </a:cubicBezTo>
                      <a:cubicBezTo>
                        <a:pt x="207" y="128"/>
                        <a:pt x="207" y="127"/>
                        <a:pt x="208" y="127"/>
                      </a:cubicBezTo>
                      <a:cubicBezTo>
                        <a:pt x="210" y="125"/>
                        <a:pt x="213" y="122"/>
                        <a:pt x="215" y="120"/>
                      </a:cubicBezTo>
                      <a:cubicBezTo>
                        <a:pt x="216" y="120"/>
                        <a:pt x="217" y="119"/>
                        <a:pt x="218" y="118"/>
                      </a:cubicBezTo>
                      <a:cubicBezTo>
                        <a:pt x="218" y="121"/>
                        <a:pt x="218" y="121"/>
                        <a:pt x="218" y="121"/>
                      </a:cubicBezTo>
                      <a:cubicBezTo>
                        <a:pt x="218" y="127"/>
                        <a:pt x="218" y="127"/>
                        <a:pt x="218" y="127"/>
                      </a:cubicBezTo>
                      <a:cubicBezTo>
                        <a:pt x="218" y="139"/>
                        <a:pt x="218" y="139"/>
                        <a:pt x="218" y="139"/>
                      </a:cubicBezTo>
                      <a:cubicBezTo>
                        <a:pt x="219" y="138"/>
                        <a:pt x="220" y="138"/>
                        <a:pt x="221" y="137"/>
                      </a:cubicBezTo>
                      <a:cubicBezTo>
                        <a:pt x="222" y="136"/>
                        <a:pt x="223" y="136"/>
                        <a:pt x="223" y="135"/>
                      </a:cubicBezTo>
                      <a:cubicBezTo>
                        <a:pt x="223" y="139"/>
                        <a:pt x="223" y="139"/>
                        <a:pt x="223" y="139"/>
                      </a:cubicBezTo>
                      <a:cubicBezTo>
                        <a:pt x="223" y="140"/>
                        <a:pt x="222" y="141"/>
                        <a:pt x="221" y="141"/>
                      </a:cubicBezTo>
                      <a:close/>
                      <a:moveTo>
                        <a:pt x="237" y="123"/>
                      </a:moveTo>
                      <a:cubicBezTo>
                        <a:pt x="237" y="126"/>
                        <a:pt x="236" y="128"/>
                        <a:pt x="234" y="130"/>
                      </a:cubicBezTo>
                      <a:cubicBezTo>
                        <a:pt x="233" y="132"/>
                        <a:pt x="232" y="133"/>
                        <a:pt x="231" y="133"/>
                      </a:cubicBezTo>
                      <a:cubicBezTo>
                        <a:pt x="230" y="133"/>
                        <a:pt x="229" y="132"/>
                        <a:pt x="229" y="130"/>
                      </a:cubicBezTo>
                      <a:cubicBezTo>
                        <a:pt x="228" y="127"/>
                        <a:pt x="227" y="123"/>
                        <a:pt x="228" y="119"/>
                      </a:cubicBezTo>
                      <a:cubicBezTo>
                        <a:pt x="229" y="115"/>
                        <a:pt x="230" y="112"/>
                        <a:pt x="232" y="108"/>
                      </a:cubicBezTo>
                      <a:cubicBezTo>
                        <a:pt x="232" y="107"/>
                        <a:pt x="233" y="106"/>
                        <a:pt x="234" y="106"/>
                      </a:cubicBezTo>
                      <a:cubicBezTo>
                        <a:pt x="235" y="104"/>
                        <a:pt x="236" y="103"/>
                        <a:pt x="237" y="104"/>
                      </a:cubicBezTo>
                      <a:cubicBezTo>
                        <a:pt x="237" y="104"/>
                        <a:pt x="237" y="104"/>
                        <a:pt x="237" y="104"/>
                      </a:cubicBezTo>
                      <a:cubicBezTo>
                        <a:pt x="237" y="104"/>
                        <a:pt x="237" y="104"/>
                        <a:pt x="237" y="104"/>
                      </a:cubicBezTo>
                      <a:cubicBezTo>
                        <a:pt x="239" y="107"/>
                        <a:pt x="239" y="117"/>
                        <a:pt x="237" y="123"/>
                      </a:cubicBezTo>
                      <a:close/>
                      <a:moveTo>
                        <a:pt x="256" y="112"/>
                      </a:moveTo>
                      <a:cubicBezTo>
                        <a:pt x="250" y="112"/>
                        <a:pt x="249" y="106"/>
                        <a:pt x="249" y="101"/>
                      </a:cubicBezTo>
                      <a:cubicBezTo>
                        <a:pt x="249" y="96"/>
                        <a:pt x="250" y="90"/>
                        <a:pt x="256" y="90"/>
                      </a:cubicBezTo>
                      <a:cubicBezTo>
                        <a:pt x="263" y="90"/>
                        <a:pt x="264" y="96"/>
                        <a:pt x="264" y="101"/>
                      </a:cubicBezTo>
                      <a:cubicBezTo>
                        <a:pt x="264" y="106"/>
                        <a:pt x="263" y="112"/>
                        <a:pt x="256" y="112"/>
                      </a:cubicBezTo>
                      <a:close/>
                      <a:moveTo>
                        <a:pt x="287" y="112"/>
                      </a:moveTo>
                      <a:cubicBezTo>
                        <a:pt x="271" y="112"/>
                        <a:pt x="271" y="112"/>
                        <a:pt x="271" y="112"/>
                      </a:cubicBezTo>
                      <a:cubicBezTo>
                        <a:pt x="271" y="108"/>
                        <a:pt x="271" y="108"/>
                        <a:pt x="271" y="108"/>
                      </a:cubicBezTo>
                      <a:cubicBezTo>
                        <a:pt x="277" y="108"/>
                        <a:pt x="277" y="108"/>
                        <a:pt x="277" y="108"/>
                      </a:cubicBezTo>
                      <a:cubicBezTo>
                        <a:pt x="277" y="94"/>
                        <a:pt x="277" y="94"/>
                        <a:pt x="277" y="94"/>
                      </a:cubicBezTo>
                      <a:cubicBezTo>
                        <a:pt x="272" y="97"/>
                        <a:pt x="272" y="97"/>
                        <a:pt x="272" y="97"/>
                      </a:cubicBezTo>
                      <a:cubicBezTo>
                        <a:pt x="270" y="93"/>
                        <a:pt x="270" y="93"/>
                        <a:pt x="270" y="93"/>
                      </a:cubicBezTo>
                      <a:cubicBezTo>
                        <a:pt x="278" y="90"/>
                        <a:pt x="278" y="90"/>
                        <a:pt x="278" y="90"/>
                      </a:cubicBezTo>
                      <a:cubicBezTo>
                        <a:pt x="281" y="90"/>
                        <a:pt x="281" y="90"/>
                        <a:pt x="281" y="90"/>
                      </a:cubicBezTo>
                      <a:cubicBezTo>
                        <a:pt x="281" y="108"/>
                        <a:pt x="281" y="108"/>
                        <a:pt x="281" y="108"/>
                      </a:cubicBezTo>
                      <a:cubicBezTo>
                        <a:pt x="287" y="108"/>
                        <a:pt x="287" y="108"/>
                        <a:pt x="287" y="108"/>
                      </a:cubicBezTo>
                      <a:cubicBezTo>
                        <a:pt x="287" y="112"/>
                        <a:pt x="287" y="112"/>
                        <a:pt x="287" y="112"/>
                      </a:cubicBezTo>
                      <a:cubicBezTo>
                        <a:pt x="287" y="112"/>
                        <a:pt x="287" y="112"/>
                        <a:pt x="287" y="112"/>
                      </a:cubicBezTo>
                      <a:close/>
                      <a:moveTo>
                        <a:pt x="104" y="133"/>
                      </a:moveTo>
                      <a:cubicBezTo>
                        <a:pt x="104" y="133"/>
                        <a:pt x="104" y="133"/>
                        <a:pt x="103" y="132"/>
                      </a:cubicBezTo>
                      <a:cubicBezTo>
                        <a:pt x="102" y="131"/>
                        <a:pt x="101" y="130"/>
                        <a:pt x="100" y="131"/>
                      </a:cubicBezTo>
                      <a:cubicBezTo>
                        <a:pt x="99" y="131"/>
                        <a:pt x="99" y="131"/>
                        <a:pt x="99" y="131"/>
                      </a:cubicBezTo>
                      <a:cubicBezTo>
                        <a:pt x="98" y="132"/>
                        <a:pt x="97" y="134"/>
                        <a:pt x="97" y="136"/>
                      </a:cubicBezTo>
                      <a:cubicBezTo>
                        <a:pt x="97" y="138"/>
                        <a:pt x="97" y="140"/>
                        <a:pt x="97" y="141"/>
                      </a:cubicBezTo>
                      <a:cubicBezTo>
                        <a:pt x="98" y="147"/>
                        <a:pt x="101" y="148"/>
                        <a:pt x="101" y="148"/>
                      </a:cubicBezTo>
                      <a:cubicBezTo>
                        <a:pt x="102" y="148"/>
                        <a:pt x="102" y="148"/>
                        <a:pt x="103" y="148"/>
                      </a:cubicBezTo>
                      <a:cubicBezTo>
                        <a:pt x="104" y="148"/>
                        <a:pt x="104" y="148"/>
                        <a:pt x="105" y="147"/>
                      </a:cubicBezTo>
                      <a:cubicBezTo>
                        <a:pt x="106" y="145"/>
                        <a:pt x="106" y="142"/>
                        <a:pt x="106" y="139"/>
                      </a:cubicBezTo>
                      <a:cubicBezTo>
                        <a:pt x="105" y="137"/>
                        <a:pt x="105" y="135"/>
                        <a:pt x="104" y="133"/>
                      </a:cubicBezTo>
                      <a:close/>
                      <a:moveTo>
                        <a:pt x="235" y="109"/>
                      </a:moveTo>
                      <a:cubicBezTo>
                        <a:pt x="234" y="109"/>
                        <a:pt x="232" y="110"/>
                        <a:pt x="232" y="116"/>
                      </a:cubicBezTo>
                      <a:cubicBezTo>
                        <a:pt x="231" y="117"/>
                        <a:pt x="231" y="119"/>
                        <a:pt x="231" y="122"/>
                      </a:cubicBezTo>
                      <a:cubicBezTo>
                        <a:pt x="231" y="125"/>
                        <a:pt x="232" y="129"/>
                        <a:pt x="234" y="127"/>
                      </a:cubicBezTo>
                      <a:cubicBezTo>
                        <a:pt x="236" y="124"/>
                        <a:pt x="236" y="115"/>
                        <a:pt x="236" y="111"/>
                      </a:cubicBezTo>
                      <a:cubicBezTo>
                        <a:pt x="235" y="110"/>
                        <a:pt x="235" y="109"/>
                        <a:pt x="235" y="109"/>
                      </a:cubicBezTo>
                      <a:close/>
                    </a:path>
                  </a:pathLst>
                </a:custGeom>
                <a:solidFill>
                  <a:srgbClr val="5A5A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07" name="Freeform 198"/>
                <p:cNvSpPr>
                  <a:spLocks noEditPoints="1"/>
                </p:cNvSpPr>
                <p:nvPr/>
              </p:nvSpPr>
              <p:spPr bwMode="auto">
                <a:xfrm>
                  <a:off x="11581770" y="1479207"/>
                  <a:ext cx="112061" cy="128276"/>
                </a:xfrm>
                <a:custGeom>
                  <a:avLst/>
                  <a:gdLst>
                    <a:gd name="T0" fmla="*/ 102 w 102"/>
                    <a:gd name="T1" fmla="*/ 21 h 112"/>
                    <a:gd name="T2" fmla="*/ 101 w 102"/>
                    <a:gd name="T3" fmla="*/ 20 h 112"/>
                    <a:gd name="T4" fmla="*/ 101 w 102"/>
                    <a:gd name="T5" fmla="*/ 19 h 112"/>
                    <a:gd name="T6" fmla="*/ 100 w 102"/>
                    <a:gd name="T7" fmla="*/ 18 h 112"/>
                    <a:gd name="T8" fmla="*/ 100 w 102"/>
                    <a:gd name="T9" fmla="*/ 17 h 112"/>
                    <a:gd name="T10" fmla="*/ 99 w 102"/>
                    <a:gd name="T11" fmla="*/ 17 h 112"/>
                    <a:gd name="T12" fmla="*/ 98 w 102"/>
                    <a:gd name="T13" fmla="*/ 17 h 112"/>
                    <a:gd name="T14" fmla="*/ 97 w 102"/>
                    <a:gd name="T15" fmla="*/ 16 h 112"/>
                    <a:gd name="T16" fmla="*/ 96 w 102"/>
                    <a:gd name="T17" fmla="*/ 16 h 112"/>
                    <a:gd name="T18" fmla="*/ 11 w 102"/>
                    <a:gd name="T19" fmla="*/ 5 h 112"/>
                    <a:gd name="T20" fmla="*/ 0 w 102"/>
                    <a:gd name="T21" fmla="*/ 8 h 112"/>
                    <a:gd name="T22" fmla="*/ 23 w 102"/>
                    <a:gd name="T23" fmla="*/ 94 h 112"/>
                    <a:gd name="T24" fmla="*/ 23 w 102"/>
                    <a:gd name="T25" fmla="*/ 96 h 112"/>
                    <a:gd name="T26" fmla="*/ 24 w 102"/>
                    <a:gd name="T27" fmla="*/ 96 h 112"/>
                    <a:gd name="T28" fmla="*/ 25 w 102"/>
                    <a:gd name="T29" fmla="*/ 97 h 112"/>
                    <a:gd name="T30" fmla="*/ 26 w 102"/>
                    <a:gd name="T31" fmla="*/ 98 h 112"/>
                    <a:gd name="T32" fmla="*/ 26 w 102"/>
                    <a:gd name="T33" fmla="*/ 98 h 112"/>
                    <a:gd name="T34" fmla="*/ 43 w 102"/>
                    <a:gd name="T35" fmla="*/ 98 h 112"/>
                    <a:gd name="T36" fmla="*/ 77 w 102"/>
                    <a:gd name="T37" fmla="*/ 94 h 112"/>
                    <a:gd name="T38" fmla="*/ 91 w 102"/>
                    <a:gd name="T39" fmla="*/ 93 h 112"/>
                    <a:gd name="T40" fmla="*/ 32 w 102"/>
                    <a:gd name="T41" fmla="*/ 87 h 112"/>
                    <a:gd name="T42" fmla="*/ 91 w 102"/>
                    <a:gd name="T43" fmla="*/ 66 h 112"/>
                    <a:gd name="T44" fmla="*/ 92 w 102"/>
                    <a:gd name="T45" fmla="*/ 66 h 112"/>
                    <a:gd name="T46" fmla="*/ 93 w 102"/>
                    <a:gd name="T47" fmla="*/ 66 h 112"/>
                    <a:gd name="T48" fmla="*/ 94 w 102"/>
                    <a:gd name="T49" fmla="*/ 65 h 112"/>
                    <a:gd name="T50" fmla="*/ 94 w 102"/>
                    <a:gd name="T51" fmla="*/ 65 h 112"/>
                    <a:gd name="T52" fmla="*/ 95 w 102"/>
                    <a:gd name="T53" fmla="*/ 64 h 112"/>
                    <a:gd name="T54" fmla="*/ 96 w 102"/>
                    <a:gd name="T55" fmla="*/ 63 h 112"/>
                    <a:gd name="T56" fmla="*/ 96 w 102"/>
                    <a:gd name="T57" fmla="*/ 62 h 112"/>
                    <a:gd name="T58" fmla="*/ 96 w 102"/>
                    <a:gd name="T59" fmla="*/ 61 h 112"/>
                    <a:gd name="T60" fmla="*/ 102 w 102"/>
                    <a:gd name="T61" fmla="*/ 22 h 112"/>
                    <a:gd name="T62" fmla="*/ 102 w 102"/>
                    <a:gd name="T63" fmla="*/ 22 h 112"/>
                    <a:gd name="T64" fmla="*/ 24 w 102"/>
                    <a:gd name="T65" fmla="*/ 55 h 112"/>
                    <a:gd name="T66" fmla="*/ 87 w 102"/>
                    <a:gd name="T67" fmla="*/ 47 h 112"/>
                    <a:gd name="T68" fmla="*/ 86 w 102"/>
                    <a:gd name="T69" fmla="*/ 55 h 112"/>
                    <a:gd name="T70" fmla="*/ 19 w 102"/>
                    <a:gd name="T71" fmla="*/ 35 h 112"/>
                    <a:gd name="T72" fmla="*/ 90 w 102"/>
                    <a:gd name="T73" fmla="*/ 27 h 112"/>
                    <a:gd name="T74" fmla="*/ 89 w 102"/>
                    <a:gd name="T75" fmla="*/ 35 h 112"/>
                    <a:gd name="T76" fmla="*/ 34 w 102"/>
                    <a:gd name="T77" fmla="*/ 112 h 112"/>
                    <a:gd name="T78" fmla="*/ 34 w 102"/>
                    <a:gd name="T79" fmla="*/ 97 h 112"/>
                    <a:gd name="T80" fmla="*/ 85 w 102"/>
                    <a:gd name="T81" fmla="*/ 105 h 112"/>
                    <a:gd name="T82" fmla="*/ 69 w 102"/>
                    <a:gd name="T83" fmla="*/ 105 h 112"/>
                    <a:gd name="T84" fmla="*/ 85 w 102"/>
                    <a:gd name="T85" fmla="*/ 10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2" h="112">
                      <a:moveTo>
                        <a:pt x="102" y="22"/>
                      </a:moveTo>
                      <a:cubicBezTo>
                        <a:pt x="102" y="21"/>
                        <a:pt x="102" y="21"/>
                        <a:pt x="102" y="21"/>
                      </a:cubicBezTo>
                      <a:cubicBezTo>
                        <a:pt x="102" y="21"/>
                        <a:pt x="102" y="21"/>
                        <a:pt x="102" y="21"/>
                      </a:cubicBezTo>
                      <a:cubicBezTo>
                        <a:pt x="101" y="20"/>
                        <a:pt x="101" y="20"/>
                        <a:pt x="101" y="20"/>
                      </a:cubicBezTo>
                      <a:cubicBezTo>
                        <a:pt x="101" y="20"/>
                        <a:pt x="101" y="20"/>
                        <a:pt x="101" y="20"/>
                      </a:cubicBezTo>
                      <a:cubicBezTo>
                        <a:pt x="101" y="19"/>
                        <a:pt x="101" y="19"/>
                        <a:pt x="101" y="19"/>
                      </a:cubicBezTo>
                      <a:cubicBezTo>
                        <a:pt x="101" y="19"/>
                        <a:pt x="101" y="19"/>
                        <a:pt x="101" y="19"/>
                      </a:cubicBezTo>
                      <a:cubicBezTo>
                        <a:pt x="101" y="19"/>
                        <a:pt x="101" y="19"/>
                        <a:pt x="100" y="18"/>
                      </a:cubicBezTo>
                      <a:cubicBezTo>
                        <a:pt x="100" y="18"/>
                        <a:pt x="100" y="18"/>
                        <a:pt x="100" y="18"/>
                      </a:cubicBezTo>
                      <a:cubicBezTo>
                        <a:pt x="100" y="18"/>
                        <a:pt x="100" y="18"/>
                        <a:pt x="100" y="17"/>
                      </a:cubicBezTo>
                      <a:cubicBezTo>
                        <a:pt x="100" y="17"/>
                        <a:pt x="99" y="17"/>
                        <a:pt x="99" y="17"/>
                      </a:cubicBezTo>
                      <a:cubicBezTo>
                        <a:pt x="99" y="17"/>
                        <a:pt x="99" y="17"/>
                        <a:pt x="99" y="17"/>
                      </a:cubicBezTo>
                      <a:cubicBezTo>
                        <a:pt x="98" y="17"/>
                        <a:pt x="98" y="17"/>
                        <a:pt x="98" y="17"/>
                      </a:cubicBezTo>
                      <a:cubicBezTo>
                        <a:pt x="98" y="17"/>
                        <a:pt x="98" y="17"/>
                        <a:pt x="98" y="17"/>
                      </a:cubicBezTo>
                      <a:cubicBezTo>
                        <a:pt x="98" y="16"/>
                        <a:pt x="97" y="16"/>
                        <a:pt x="97" y="16"/>
                      </a:cubicBezTo>
                      <a:cubicBezTo>
                        <a:pt x="97" y="16"/>
                        <a:pt x="97" y="16"/>
                        <a:pt x="97" y="16"/>
                      </a:cubicBezTo>
                      <a:cubicBezTo>
                        <a:pt x="97" y="16"/>
                        <a:pt x="97" y="16"/>
                        <a:pt x="97" y="16"/>
                      </a:cubicBezTo>
                      <a:cubicBezTo>
                        <a:pt x="96" y="16"/>
                        <a:pt x="96" y="16"/>
                        <a:pt x="96" y="16"/>
                      </a:cubicBezTo>
                      <a:cubicBezTo>
                        <a:pt x="14" y="16"/>
                        <a:pt x="14" y="16"/>
                        <a:pt x="14" y="16"/>
                      </a:cubicBezTo>
                      <a:cubicBezTo>
                        <a:pt x="11" y="5"/>
                        <a:pt x="11" y="5"/>
                        <a:pt x="11" y="5"/>
                      </a:cubicBezTo>
                      <a:cubicBezTo>
                        <a:pt x="10" y="2"/>
                        <a:pt x="7" y="0"/>
                        <a:pt x="4" y="1"/>
                      </a:cubicBezTo>
                      <a:cubicBezTo>
                        <a:pt x="1" y="2"/>
                        <a:pt x="0" y="5"/>
                        <a:pt x="0" y="8"/>
                      </a:cubicBezTo>
                      <a:cubicBezTo>
                        <a:pt x="22" y="94"/>
                        <a:pt x="22" y="94"/>
                        <a:pt x="22" y="94"/>
                      </a:cubicBezTo>
                      <a:cubicBezTo>
                        <a:pt x="23" y="94"/>
                        <a:pt x="23" y="94"/>
                        <a:pt x="23" y="94"/>
                      </a:cubicBezTo>
                      <a:cubicBezTo>
                        <a:pt x="23" y="95"/>
                        <a:pt x="23" y="95"/>
                        <a:pt x="23" y="95"/>
                      </a:cubicBezTo>
                      <a:cubicBezTo>
                        <a:pt x="23" y="95"/>
                        <a:pt x="23" y="96"/>
                        <a:pt x="23" y="96"/>
                      </a:cubicBezTo>
                      <a:cubicBezTo>
                        <a:pt x="23" y="96"/>
                        <a:pt x="23" y="96"/>
                        <a:pt x="23" y="96"/>
                      </a:cubicBezTo>
                      <a:cubicBezTo>
                        <a:pt x="23" y="96"/>
                        <a:pt x="24" y="96"/>
                        <a:pt x="24" y="96"/>
                      </a:cubicBezTo>
                      <a:cubicBezTo>
                        <a:pt x="24" y="97"/>
                        <a:pt x="24" y="97"/>
                        <a:pt x="24" y="97"/>
                      </a:cubicBezTo>
                      <a:cubicBezTo>
                        <a:pt x="25" y="97"/>
                        <a:pt x="25" y="97"/>
                        <a:pt x="25" y="97"/>
                      </a:cubicBezTo>
                      <a:cubicBezTo>
                        <a:pt x="25" y="97"/>
                        <a:pt x="25" y="97"/>
                        <a:pt x="25" y="97"/>
                      </a:cubicBezTo>
                      <a:cubicBezTo>
                        <a:pt x="25" y="97"/>
                        <a:pt x="25" y="97"/>
                        <a:pt x="26" y="98"/>
                      </a:cubicBezTo>
                      <a:cubicBezTo>
                        <a:pt x="26" y="98"/>
                        <a:pt x="26" y="98"/>
                        <a:pt x="26" y="98"/>
                      </a:cubicBezTo>
                      <a:cubicBezTo>
                        <a:pt x="26" y="98"/>
                        <a:pt x="26" y="98"/>
                        <a:pt x="26" y="98"/>
                      </a:cubicBezTo>
                      <a:cubicBezTo>
                        <a:pt x="28" y="95"/>
                        <a:pt x="31" y="94"/>
                        <a:pt x="34" y="94"/>
                      </a:cubicBezTo>
                      <a:cubicBezTo>
                        <a:pt x="38" y="94"/>
                        <a:pt x="41" y="96"/>
                        <a:pt x="43" y="98"/>
                      </a:cubicBezTo>
                      <a:cubicBezTo>
                        <a:pt x="68" y="98"/>
                        <a:pt x="68" y="98"/>
                        <a:pt x="68" y="98"/>
                      </a:cubicBezTo>
                      <a:cubicBezTo>
                        <a:pt x="71" y="96"/>
                        <a:pt x="73" y="94"/>
                        <a:pt x="77" y="94"/>
                      </a:cubicBezTo>
                      <a:cubicBezTo>
                        <a:pt x="81" y="94"/>
                        <a:pt x="84" y="96"/>
                        <a:pt x="86" y="98"/>
                      </a:cubicBezTo>
                      <a:cubicBezTo>
                        <a:pt x="89" y="98"/>
                        <a:pt x="91" y="96"/>
                        <a:pt x="91" y="93"/>
                      </a:cubicBezTo>
                      <a:cubicBezTo>
                        <a:pt x="91" y="90"/>
                        <a:pt x="88" y="87"/>
                        <a:pt x="85" y="87"/>
                      </a:cubicBezTo>
                      <a:cubicBezTo>
                        <a:pt x="32" y="87"/>
                        <a:pt x="32" y="87"/>
                        <a:pt x="32" y="87"/>
                      </a:cubicBezTo>
                      <a:cubicBezTo>
                        <a:pt x="27" y="66"/>
                        <a:pt x="27" y="66"/>
                        <a:pt x="27" y="66"/>
                      </a:cubicBezTo>
                      <a:cubicBezTo>
                        <a:pt x="91" y="66"/>
                        <a:pt x="91" y="66"/>
                        <a:pt x="91" y="66"/>
                      </a:cubicBezTo>
                      <a:cubicBezTo>
                        <a:pt x="91" y="66"/>
                        <a:pt x="91" y="66"/>
                        <a:pt x="91" y="66"/>
                      </a:cubicBezTo>
                      <a:cubicBezTo>
                        <a:pt x="91" y="66"/>
                        <a:pt x="91" y="66"/>
                        <a:pt x="92" y="66"/>
                      </a:cubicBezTo>
                      <a:cubicBezTo>
                        <a:pt x="92" y="66"/>
                        <a:pt x="92" y="66"/>
                        <a:pt x="92" y="66"/>
                      </a:cubicBezTo>
                      <a:cubicBezTo>
                        <a:pt x="92" y="66"/>
                        <a:pt x="93" y="66"/>
                        <a:pt x="93" y="66"/>
                      </a:cubicBezTo>
                      <a:cubicBezTo>
                        <a:pt x="93" y="66"/>
                        <a:pt x="93" y="66"/>
                        <a:pt x="93" y="65"/>
                      </a:cubicBezTo>
                      <a:cubicBezTo>
                        <a:pt x="94" y="65"/>
                        <a:pt x="94" y="65"/>
                        <a:pt x="94" y="65"/>
                      </a:cubicBezTo>
                      <a:cubicBezTo>
                        <a:pt x="94" y="65"/>
                        <a:pt x="94" y="65"/>
                        <a:pt x="94" y="65"/>
                      </a:cubicBezTo>
                      <a:cubicBezTo>
                        <a:pt x="94" y="65"/>
                        <a:pt x="94" y="65"/>
                        <a:pt x="94" y="65"/>
                      </a:cubicBezTo>
                      <a:cubicBezTo>
                        <a:pt x="95" y="65"/>
                        <a:pt x="95" y="64"/>
                        <a:pt x="95" y="64"/>
                      </a:cubicBezTo>
                      <a:cubicBezTo>
                        <a:pt x="95" y="64"/>
                        <a:pt x="95" y="64"/>
                        <a:pt x="95" y="64"/>
                      </a:cubicBezTo>
                      <a:cubicBezTo>
                        <a:pt x="96" y="63"/>
                        <a:pt x="96" y="63"/>
                        <a:pt x="96" y="63"/>
                      </a:cubicBezTo>
                      <a:cubicBezTo>
                        <a:pt x="96" y="63"/>
                        <a:pt x="96" y="63"/>
                        <a:pt x="96" y="63"/>
                      </a:cubicBezTo>
                      <a:cubicBezTo>
                        <a:pt x="96" y="63"/>
                        <a:pt x="96" y="63"/>
                        <a:pt x="96" y="62"/>
                      </a:cubicBezTo>
                      <a:cubicBezTo>
                        <a:pt x="96" y="62"/>
                        <a:pt x="96" y="62"/>
                        <a:pt x="96" y="62"/>
                      </a:cubicBezTo>
                      <a:cubicBezTo>
                        <a:pt x="96" y="62"/>
                        <a:pt x="96" y="62"/>
                        <a:pt x="96" y="62"/>
                      </a:cubicBezTo>
                      <a:cubicBezTo>
                        <a:pt x="96" y="61"/>
                        <a:pt x="96" y="61"/>
                        <a:pt x="96" y="61"/>
                      </a:cubicBezTo>
                      <a:cubicBezTo>
                        <a:pt x="102" y="23"/>
                        <a:pt x="102" y="23"/>
                        <a:pt x="102" y="23"/>
                      </a:cubicBezTo>
                      <a:cubicBezTo>
                        <a:pt x="102" y="22"/>
                        <a:pt x="102" y="22"/>
                        <a:pt x="102" y="22"/>
                      </a:cubicBezTo>
                      <a:cubicBezTo>
                        <a:pt x="102" y="22"/>
                        <a:pt x="102" y="22"/>
                        <a:pt x="102" y="22"/>
                      </a:cubicBezTo>
                      <a:cubicBezTo>
                        <a:pt x="102" y="22"/>
                        <a:pt x="102" y="22"/>
                        <a:pt x="102" y="22"/>
                      </a:cubicBezTo>
                      <a:close/>
                      <a:moveTo>
                        <a:pt x="86" y="55"/>
                      </a:moveTo>
                      <a:cubicBezTo>
                        <a:pt x="24" y="55"/>
                        <a:pt x="24" y="55"/>
                        <a:pt x="24" y="55"/>
                      </a:cubicBezTo>
                      <a:cubicBezTo>
                        <a:pt x="22" y="47"/>
                        <a:pt x="22" y="47"/>
                        <a:pt x="22" y="47"/>
                      </a:cubicBezTo>
                      <a:cubicBezTo>
                        <a:pt x="87" y="47"/>
                        <a:pt x="87" y="47"/>
                        <a:pt x="87" y="47"/>
                      </a:cubicBezTo>
                      <a:cubicBezTo>
                        <a:pt x="86" y="55"/>
                        <a:pt x="86" y="55"/>
                        <a:pt x="86" y="55"/>
                      </a:cubicBezTo>
                      <a:cubicBezTo>
                        <a:pt x="86" y="55"/>
                        <a:pt x="86" y="55"/>
                        <a:pt x="86" y="55"/>
                      </a:cubicBezTo>
                      <a:close/>
                      <a:moveTo>
                        <a:pt x="89" y="35"/>
                      </a:moveTo>
                      <a:cubicBezTo>
                        <a:pt x="19" y="35"/>
                        <a:pt x="19" y="35"/>
                        <a:pt x="19" y="35"/>
                      </a:cubicBezTo>
                      <a:cubicBezTo>
                        <a:pt x="17" y="27"/>
                        <a:pt x="17" y="27"/>
                        <a:pt x="17" y="27"/>
                      </a:cubicBezTo>
                      <a:cubicBezTo>
                        <a:pt x="90" y="27"/>
                        <a:pt x="90" y="27"/>
                        <a:pt x="90" y="27"/>
                      </a:cubicBezTo>
                      <a:cubicBezTo>
                        <a:pt x="89" y="35"/>
                        <a:pt x="89" y="35"/>
                        <a:pt x="89" y="35"/>
                      </a:cubicBezTo>
                      <a:cubicBezTo>
                        <a:pt x="89" y="35"/>
                        <a:pt x="89" y="35"/>
                        <a:pt x="89" y="35"/>
                      </a:cubicBezTo>
                      <a:close/>
                      <a:moveTo>
                        <a:pt x="42" y="105"/>
                      </a:moveTo>
                      <a:cubicBezTo>
                        <a:pt x="42" y="109"/>
                        <a:pt x="39" y="112"/>
                        <a:pt x="34" y="112"/>
                      </a:cubicBezTo>
                      <a:cubicBezTo>
                        <a:pt x="30" y="112"/>
                        <a:pt x="27" y="109"/>
                        <a:pt x="27" y="105"/>
                      </a:cubicBezTo>
                      <a:cubicBezTo>
                        <a:pt x="27" y="100"/>
                        <a:pt x="30" y="97"/>
                        <a:pt x="34" y="97"/>
                      </a:cubicBezTo>
                      <a:cubicBezTo>
                        <a:pt x="39" y="97"/>
                        <a:pt x="42" y="100"/>
                        <a:pt x="42" y="105"/>
                      </a:cubicBezTo>
                      <a:close/>
                      <a:moveTo>
                        <a:pt x="85" y="105"/>
                      </a:moveTo>
                      <a:cubicBezTo>
                        <a:pt x="85" y="109"/>
                        <a:pt x="82" y="112"/>
                        <a:pt x="77" y="112"/>
                      </a:cubicBezTo>
                      <a:cubicBezTo>
                        <a:pt x="73" y="112"/>
                        <a:pt x="69" y="109"/>
                        <a:pt x="69" y="105"/>
                      </a:cubicBezTo>
                      <a:cubicBezTo>
                        <a:pt x="69" y="100"/>
                        <a:pt x="73" y="97"/>
                        <a:pt x="77" y="97"/>
                      </a:cubicBezTo>
                      <a:cubicBezTo>
                        <a:pt x="82" y="97"/>
                        <a:pt x="85" y="100"/>
                        <a:pt x="85" y="105"/>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08" name="Freeform 199"/>
                <p:cNvSpPr>
                  <a:spLocks noEditPoints="1"/>
                </p:cNvSpPr>
                <p:nvPr/>
              </p:nvSpPr>
              <p:spPr bwMode="auto">
                <a:xfrm rot="5400000">
                  <a:off x="11948084" y="817760"/>
                  <a:ext cx="171729" cy="169023"/>
                </a:xfrm>
                <a:custGeom>
                  <a:avLst/>
                  <a:gdLst>
                    <a:gd name="T0" fmla="*/ 132 w 156"/>
                    <a:gd name="T1" fmla="*/ 15 h 148"/>
                    <a:gd name="T2" fmla="*/ 78 w 156"/>
                    <a:gd name="T3" fmla="*/ 0 h 148"/>
                    <a:gd name="T4" fmla="*/ 24 w 156"/>
                    <a:gd name="T5" fmla="*/ 15 h 148"/>
                    <a:gd name="T6" fmla="*/ 0 w 156"/>
                    <a:gd name="T7" fmla="*/ 55 h 148"/>
                    <a:gd name="T8" fmla="*/ 25 w 156"/>
                    <a:gd name="T9" fmla="*/ 96 h 148"/>
                    <a:gd name="T10" fmla="*/ 20 w 156"/>
                    <a:gd name="T11" fmla="*/ 121 h 148"/>
                    <a:gd name="T12" fmla="*/ 16 w 156"/>
                    <a:gd name="T13" fmla="*/ 142 h 148"/>
                    <a:gd name="T14" fmla="*/ 15 w 156"/>
                    <a:gd name="T15" fmla="*/ 148 h 148"/>
                    <a:gd name="T16" fmla="*/ 19 w 156"/>
                    <a:gd name="T17" fmla="*/ 143 h 148"/>
                    <a:gd name="T18" fmla="*/ 33 w 156"/>
                    <a:gd name="T19" fmla="*/ 127 h 148"/>
                    <a:gd name="T20" fmla="*/ 53 w 156"/>
                    <a:gd name="T21" fmla="*/ 107 h 148"/>
                    <a:gd name="T22" fmla="*/ 78 w 156"/>
                    <a:gd name="T23" fmla="*/ 110 h 148"/>
                    <a:gd name="T24" fmla="*/ 132 w 156"/>
                    <a:gd name="T25" fmla="*/ 94 h 148"/>
                    <a:gd name="T26" fmla="*/ 156 w 156"/>
                    <a:gd name="T27" fmla="*/ 55 h 148"/>
                    <a:gd name="T28" fmla="*/ 132 w 156"/>
                    <a:gd name="T29" fmla="*/ 15 h 148"/>
                    <a:gd name="T30" fmla="*/ 36 w 156"/>
                    <a:gd name="T31" fmla="*/ 92 h 148"/>
                    <a:gd name="T32" fmla="*/ 36 w 156"/>
                    <a:gd name="T33" fmla="*/ 91 h 148"/>
                    <a:gd name="T34" fmla="*/ 35 w 156"/>
                    <a:gd name="T35" fmla="*/ 91 h 148"/>
                    <a:gd name="T36" fmla="*/ 9 w 156"/>
                    <a:gd name="T37" fmla="*/ 55 h 148"/>
                    <a:gd name="T38" fmla="*/ 78 w 156"/>
                    <a:gd name="T39" fmla="*/ 10 h 148"/>
                    <a:gd name="T40" fmla="*/ 147 w 156"/>
                    <a:gd name="T41" fmla="*/ 55 h 148"/>
                    <a:gd name="T42" fmla="*/ 78 w 156"/>
                    <a:gd name="T43" fmla="*/ 100 h 148"/>
                    <a:gd name="T44" fmla="*/ 51 w 156"/>
                    <a:gd name="T45" fmla="*/ 97 h 148"/>
                    <a:gd name="T46" fmla="*/ 50 w 156"/>
                    <a:gd name="T47" fmla="*/ 96 h 148"/>
                    <a:gd name="T48" fmla="*/ 49 w 156"/>
                    <a:gd name="T49" fmla="*/ 97 h 148"/>
                    <a:gd name="T50" fmla="*/ 30 w 156"/>
                    <a:gd name="T51" fmla="*/ 118 h 148"/>
                    <a:gd name="T52" fmla="*/ 36 w 156"/>
                    <a:gd name="T53" fmla="*/ 92 h 148"/>
                    <a:gd name="T54" fmla="*/ 36 w 156"/>
                    <a:gd name="T55" fmla="*/ 9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6" h="148">
                      <a:moveTo>
                        <a:pt x="132" y="15"/>
                      </a:moveTo>
                      <a:cubicBezTo>
                        <a:pt x="118" y="5"/>
                        <a:pt x="98" y="0"/>
                        <a:pt x="78" y="0"/>
                      </a:cubicBezTo>
                      <a:cubicBezTo>
                        <a:pt x="57" y="0"/>
                        <a:pt x="38" y="5"/>
                        <a:pt x="24" y="15"/>
                      </a:cubicBezTo>
                      <a:cubicBezTo>
                        <a:pt x="8" y="26"/>
                        <a:pt x="0" y="40"/>
                        <a:pt x="0" y="55"/>
                      </a:cubicBezTo>
                      <a:cubicBezTo>
                        <a:pt x="0" y="70"/>
                        <a:pt x="9" y="85"/>
                        <a:pt x="25" y="96"/>
                      </a:cubicBezTo>
                      <a:cubicBezTo>
                        <a:pt x="20" y="121"/>
                        <a:pt x="20" y="121"/>
                        <a:pt x="20" y="121"/>
                      </a:cubicBezTo>
                      <a:cubicBezTo>
                        <a:pt x="16" y="142"/>
                        <a:pt x="16" y="142"/>
                        <a:pt x="16" y="142"/>
                      </a:cubicBezTo>
                      <a:cubicBezTo>
                        <a:pt x="15" y="148"/>
                        <a:pt x="15" y="148"/>
                        <a:pt x="15" y="148"/>
                      </a:cubicBezTo>
                      <a:cubicBezTo>
                        <a:pt x="19" y="143"/>
                        <a:pt x="19" y="143"/>
                        <a:pt x="19" y="143"/>
                      </a:cubicBezTo>
                      <a:cubicBezTo>
                        <a:pt x="33" y="127"/>
                        <a:pt x="33" y="127"/>
                        <a:pt x="33" y="127"/>
                      </a:cubicBezTo>
                      <a:cubicBezTo>
                        <a:pt x="53" y="107"/>
                        <a:pt x="53" y="107"/>
                        <a:pt x="53" y="107"/>
                      </a:cubicBezTo>
                      <a:cubicBezTo>
                        <a:pt x="61" y="108"/>
                        <a:pt x="69" y="110"/>
                        <a:pt x="78" y="110"/>
                      </a:cubicBezTo>
                      <a:cubicBezTo>
                        <a:pt x="98" y="110"/>
                        <a:pt x="118" y="104"/>
                        <a:pt x="132" y="94"/>
                      </a:cubicBezTo>
                      <a:cubicBezTo>
                        <a:pt x="148" y="84"/>
                        <a:pt x="156" y="70"/>
                        <a:pt x="156" y="55"/>
                      </a:cubicBezTo>
                      <a:cubicBezTo>
                        <a:pt x="156" y="40"/>
                        <a:pt x="148" y="26"/>
                        <a:pt x="132" y="15"/>
                      </a:cubicBezTo>
                      <a:close/>
                      <a:moveTo>
                        <a:pt x="36" y="92"/>
                      </a:moveTo>
                      <a:cubicBezTo>
                        <a:pt x="36" y="91"/>
                        <a:pt x="36" y="91"/>
                        <a:pt x="36" y="91"/>
                      </a:cubicBezTo>
                      <a:cubicBezTo>
                        <a:pt x="35" y="91"/>
                        <a:pt x="35" y="91"/>
                        <a:pt x="35" y="91"/>
                      </a:cubicBezTo>
                      <a:cubicBezTo>
                        <a:pt x="18" y="81"/>
                        <a:pt x="9" y="69"/>
                        <a:pt x="9" y="55"/>
                      </a:cubicBezTo>
                      <a:cubicBezTo>
                        <a:pt x="9" y="30"/>
                        <a:pt x="40" y="10"/>
                        <a:pt x="78" y="10"/>
                      </a:cubicBezTo>
                      <a:cubicBezTo>
                        <a:pt x="116" y="10"/>
                        <a:pt x="147" y="30"/>
                        <a:pt x="147" y="55"/>
                      </a:cubicBezTo>
                      <a:cubicBezTo>
                        <a:pt x="147" y="80"/>
                        <a:pt x="116" y="100"/>
                        <a:pt x="78" y="100"/>
                      </a:cubicBezTo>
                      <a:cubicBezTo>
                        <a:pt x="68" y="100"/>
                        <a:pt x="59" y="99"/>
                        <a:pt x="51" y="97"/>
                      </a:cubicBezTo>
                      <a:cubicBezTo>
                        <a:pt x="50" y="96"/>
                        <a:pt x="50" y="96"/>
                        <a:pt x="50" y="96"/>
                      </a:cubicBezTo>
                      <a:cubicBezTo>
                        <a:pt x="49" y="97"/>
                        <a:pt x="49" y="97"/>
                        <a:pt x="49" y="97"/>
                      </a:cubicBezTo>
                      <a:cubicBezTo>
                        <a:pt x="30" y="118"/>
                        <a:pt x="30" y="118"/>
                        <a:pt x="30" y="118"/>
                      </a:cubicBezTo>
                      <a:cubicBezTo>
                        <a:pt x="36" y="92"/>
                        <a:pt x="36" y="92"/>
                        <a:pt x="36" y="92"/>
                      </a:cubicBezTo>
                      <a:cubicBezTo>
                        <a:pt x="36" y="92"/>
                        <a:pt x="36" y="92"/>
                        <a:pt x="36" y="92"/>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09" name="Freeform 200"/>
                <p:cNvSpPr>
                  <a:spLocks/>
                </p:cNvSpPr>
                <p:nvPr/>
              </p:nvSpPr>
              <p:spPr bwMode="auto">
                <a:xfrm rot="5400000">
                  <a:off x="11921028" y="929604"/>
                  <a:ext cx="136801" cy="140349"/>
                </a:xfrm>
                <a:custGeom>
                  <a:avLst/>
                  <a:gdLst>
                    <a:gd name="T0" fmla="*/ 124 w 124"/>
                    <a:gd name="T1" fmla="*/ 45 h 123"/>
                    <a:gd name="T2" fmla="*/ 104 w 124"/>
                    <a:gd name="T3" fmla="*/ 12 h 123"/>
                    <a:gd name="T4" fmla="*/ 60 w 124"/>
                    <a:gd name="T5" fmla="*/ 0 h 123"/>
                    <a:gd name="T6" fmla="*/ 58 w 124"/>
                    <a:gd name="T7" fmla="*/ 0 h 123"/>
                    <a:gd name="T8" fmla="*/ 58 w 124"/>
                    <a:gd name="T9" fmla="*/ 2 h 123"/>
                    <a:gd name="T10" fmla="*/ 58 w 124"/>
                    <a:gd name="T11" fmla="*/ 7 h 123"/>
                    <a:gd name="T12" fmla="*/ 58 w 124"/>
                    <a:gd name="T13" fmla="*/ 8 h 123"/>
                    <a:gd name="T14" fmla="*/ 60 w 124"/>
                    <a:gd name="T15" fmla="*/ 8 h 123"/>
                    <a:gd name="T16" fmla="*/ 116 w 124"/>
                    <a:gd name="T17" fmla="*/ 45 h 123"/>
                    <a:gd name="T18" fmla="*/ 95 w 124"/>
                    <a:gd name="T19" fmla="*/ 74 h 123"/>
                    <a:gd name="T20" fmla="*/ 93 w 124"/>
                    <a:gd name="T21" fmla="*/ 75 h 123"/>
                    <a:gd name="T22" fmla="*/ 93 w 124"/>
                    <a:gd name="T23" fmla="*/ 76 h 123"/>
                    <a:gd name="T24" fmla="*/ 98 w 124"/>
                    <a:gd name="T25" fmla="*/ 97 h 123"/>
                    <a:gd name="T26" fmla="*/ 83 w 124"/>
                    <a:gd name="T27" fmla="*/ 80 h 123"/>
                    <a:gd name="T28" fmla="*/ 82 w 124"/>
                    <a:gd name="T29" fmla="*/ 79 h 123"/>
                    <a:gd name="T30" fmla="*/ 81 w 124"/>
                    <a:gd name="T31" fmla="*/ 80 h 123"/>
                    <a:gd name="T32" fmla="*/ 59 w 124"/>
                    <a:gd name="T33" fmla="*/ 82 h 123"/>
                    <a:gd name="T34" fmla="*/ 9 w 124"/>
                    <a:gd name="T35" fmla="*/ 63 h 123"/>
                    <a:gd name="T36" fmla="*/ 8 w 124"/>
                    <a:gd name="T37" fmla="*/ 61 h 123"/>
                    <a:gd name="T38" fmla="*/ 7 w 124"/>
                    <a:gd name="T39" fmla="*/ 62 h 123"/>
                    <a:gd name="T40" fmla="*/ 2 w 124"/>
                    <a:gd name="T41" fmla="*/ 63 h 123"/>
                    <a:gd name="T42" fmla="*/ 0 w 124"/>
                    <a:gd name="T43" fmla="*/ 64 h 123"/>
                    <a:gd name="T44" fmla="*/ 1 w 124"/>
                    <a:gd name="T45" fmla="*/ 66 h 123"/>
                    <a:gd name="T46" fmla="*/ 14 w 124"/>
                    <a:gd name="T47" fmla="*/ 78 h 123"/>
                    <a:gd name="T48" fmla="*/ 59 w 124"/>
                    <a:gd name="T49" fmla="*/ 91 h 123"/>
                    <a:gd name="T50" fmla="*/ 79 w 124"/>
                    <a:gd name="T51" fmla="*/ 89 h 123"/>
                    <a:gd name="T52" fmla="*/ 95 w 124"/>
                    <a:gd name="T53" fmla="*/ 106 h 123"/>
                    <a:gd name="T54" fmla="*/ 107 w 124"/>
                    <a:gd name="T55" fmla="*/ 119 h 123"/>
                    <a:gd name="T56" fmla="*/ 111 w 124"/>
                    <a:gd name="T57" fmla="*/ 123 h 123"/>
                    <a:gd name="T58" fmla="*/ 110 w 124"/>
                    <a:gd name="T59" fmla="*/ 118 h 123"/>
                    <a:gd name="T60" fmla="*/ 107 w 124"/>
                    <a:gd name="T61" fmla="*/ 100 h 123"/>
                    <a:gd name="T62" fmla="*/ 103 w 124"/>
                    <a:gd name="T63" fmla="*/ 79 h 123"/>
                    <a:gd name="T64" fmla="*/ 124 w 124"/>
                    <a:gd name="T65" fmla="*/ 4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4" h="123">
                      <a:moveTo>
                        <a:pt x="124" y="45"/>
                      </a:moveTo>
                      <a:cubicBezTo>
                        <a:pt x="124" y="32"/>
                        <a:pt x="117" y="21"/>
                        <a:pt x="104" y="12"/>
                      </a:cubicBezTo>
                      <a:cubicBezTo>
                        <a:pt x="92" y="4"/>
                        <a:pt x="76" y="0"/>
                        <a:pt x="60" y="0"/>
                      </a:cubicBezTo>
                      <a:cubicBezTo>
                        <a:pt x="58" y="0"/>
                        <a:pt x="58" y="0"/>
                        <a:pt x="58" y="0"/>
                      </a:cubicBezTo>
                      <a:cubicBezTo>
                        <a:pt x="58" y="2"/>
                        <a:pt x="58" y="2"/>
                        <a:pt x="58" y="2"/>
                      </a:cubicBezTo>
                      <a:cubicBezTo>
                        <a:pt x="58" y="3"/>
                        <a:pt x="58" y="5"/>
                        <a:pt x="58" y="7"/>
                      </a:cubicBezTo>
                      <a:cubicBezTo>
                        <a:pt x="58" y="8"/>
                        <a:pt x="58" y="8"/>
                        <a:pt x="58" y="8"/>
                      </a:cubicBezTo>
                      <a:cubicBezTo>
                        <a:pt x="60" y="8"/>
                        <a:pt x="60" y="8"/>
                        <a:pt x="60" y="8"/>
                      </a:cubicBezTo>
                      <a:cubicBezTo>
                        <a:pt x="91" y="8"/>
                        <a:pt x="116" y="25"/>
                        <a:pt x="116" y="45"/>
                      </a:cubicBezTo>
                      <a:cubicBezTo>
                        <a:pt x="116" y="57"/>
                        <a:pt x="108" y="68"/>
                        <a:pt x="95" y="74"/>
                      </a:cubicBezTo>
                      <a:cubicBezTo>
                        <a:pt x="93" y="75"/>
                        <a:pt x="93" y="75"/>
                        <a:pt x="93" y="75"/>
                      </a:cubicBezTo>
                      <a:cubicBezTo>
                        <a:pt x="93" y="76"/>
                        <a:pt x="93" y="76"/>
                        <a:pt x="93" y="76"/>
                      </a:cubicBezTo>
                      <a:cubicBezTo>
                        <a:pt x="98" y="97"/>
                        <a:pt x="98" y="97"/>
                        <a:pt x="98" y="97"/>
                      </a:cubicBezTo>
                      <a:cubicBezTo>
                        <a:pt x="83" y="80"/>
                        <a:pt x="83" y="80"/>
                        <a:pt x="83" y="80"/>
                      </a:cubicBezTo>
                      <a:cubicBezTo>
                        <a:pt x="82" y="79"/>
                        <a:pt x="82" y="79"/>
                        <a:pt x="82" y="79"/>
                      </a:cubicBezTo>
                      <a:cubicBezTo>
                        <a:pt x="81" y="80"/>
                        <a:pt x="81" y="80"/>
                        <a:pt x="81" y="80"/>
                      </a:cubicBezTo>
                      <a:cubicBezTo>
                        <a:pt x="74" y="82"/>
                        <a:pt x="66" y="82"/>
                        <a:pt x="59" y="82"/>
                      </a:cubicBezTo>
                      <a:cubicBezTo>
                        <a:pt x="38" y="82"/>
                        <a:pt x="19" y="75"/>
                        <a:pt x="9" y="63"/>
                      </a:cubicBezTo>
                      <a:cubicBezTo>
                        <a:pt x="8" y="61"/>
                        <a:pt x="8" y="61"/>
                        <a:pt x="8" y="61"/>
                      </a:cubicBezTo>
                      <a:cubicBezTo>
                        <a:pt x="7" y="62"/>
                        <a:pt x="7" y="62"/>
                        <a:pt x="7" y="62"/>
                      </a:cubicBezTo>
                      <a:cubicBezTo>
                        <a:pt x="6" y="63"/>
                        <a:pt x="4" y="63"/>
                        <a:pt x="2" y="63"/>
                      </a:cubicBezTo>
                      <a:cubicBezTo>
                        <a:pt x="0" y="64"/>
                        <a:pt x="0" y="64"/>
                        <a:pt x="0" y="64"/>
                      </a:cubicBezTo>
                      <a:cubicBezTo>
                        <a:pt x="1" y="66"/>
                        <a:pt x="1" y="66"/>
                        <a:pt x="1" y="66"/>
                      </a:cubicBezTo>
                      <a:cubicBezTo>
                        <a:pt x="5" y="71"/>
                        <a:pt x="9" y="74"/>
                        <a:pt x="14" y="78"/>
                      </a:cubicBezTo>
                      <a:cubicBezTo>
                        <a:pt x="27" y="87"/>
                        <a:pt x="43" y="91"/>
                        <a:pt x="59" y="91"/>
                      </a:cubicBezTo>
                      <a:cubicBezTo>
                        <a:pt x="66" y="91"/>
                        <a:pt x="73" y="90"/>
                        <a:pt x="79" y="89"/>
                      </a:cubicBezTo>
                      <a:cubicBezTo>
                        <a:pt x="95" y="106"/>
                        <a:pt x="95" y="106"/>
                        <a:pt x="95" y="106"/>
                      </a:cubicBezTo>
                      <a:cubicBezTo>
                        <a:pt x="107" y="119"/>
                        <a:pt x="107" y="119"/>
                        <a:pt x="107" y="119"/>
                      </a:cubicBezTo>
                      <a:cubicBezTo>
                        <a:pt x="111" y="123"/>
                        <a:pt x="111" y="123"/>
                        <a:pt x="111" y="123"/>
                      </a:cubicBezTo>
                      <a:cubicBezTo>
                        <a:pt x="110" y="118"/>
                        <a:pt x="110" y="118"/>
                        <a:pt x="110" y="118"/>
                      </a:cubicBezTo>
                      <a:cubicBezTo>
                        <a:pt x="107" y="100"/>
                        <a:pt x="107" y="100"/>
                        <a:pt x="107" y="100"/>
                      </a:cubicBezTo>
                      <a:cubicBezTo>
                        <a:pt x="103" y="79"/>
                        <a:pt x="103" y="79"/>
                        <a:pt x="103" y="79"/>
                      </a:cubicBezTo>
                      <a:cubicBezTo>
                        <a:pt x="116" y="71"/>
                        <a:pt x="124" y="58"/>
                        <a:pt x="124" y="45"/>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grpSp>
              <p:nvGrpSpPr>
                <p:cNvPr id="610" name="Group 609"/>
                <p:cNvGrpSpPr/>
                <p:nvPr/>
              </p:nvGrpSpPr>
              <p:grpSpPr>
                <a:xfrm rot="16200000">
                  <a:off x="11187929" y="138102"/>
                  <a:ext cx="129784" cy="222667"/>
                  <a:chOff x="11193360" y="90196"/>
                  <a:chExt cx="129784" cy="222667"/>
                </a:xfrm>
              </p:grpSpPr>
              <p:sp>
                <p:nvSpPr>
                  <p:cNvPr id="671" name="Freeform 201"/>
                  <p:cNvSpPr>
                    <a:spLocks/>
                  </p:cNvSpPr>
                  <p:nvPr/>
                </p:nvSpPr>
                <p:spPr bwMode="auto">
                  <a:xfrm rot="5400000">
                    <a:off x="11176293" y="164556"/>
                    <a:ext cx="219755" cy="73947"/>
                  </a:xfrm>
                  <a:custGeom>
                    <a:avLst/>
                    <a:gdLst>
                      <a:gd name="T0" fmla="*/ 100 w 201"/>
                      <a:gd name="T1" fmla="*/ 65 h 65"/>
                      <a:gd name="T2" fmla="*/ 107 w 201"/>
                      <a:gd name="T3" fmla="*/ 63 h 65"/>
                      <a:gd name="T4" fmla="*/ 107 w 201"/>
                      <a:gd name="T5" fmla="*/ 63 h 65"/>
                      <a:gd name="T6" fmla="*/ 201 w 201"/>
                      <a:gd name="T7" fmla="*/ 7 h 65"/>
                      <a:gd name="T8" fmla="*/ 189 w 201"/>
                      <a:gd name="T9" fmla="*/ 0 h 65"/>
                      <a:gd name="T10" fmla="*/ 11 w 201"/>
                      <a:gd name="T11" fmla="*/ 0 h 65"/>
                      <a:gd name="T12" fmla="*/ 0 w 201"/>
                      <a:gd name="T13" fmla="*/ 7 h 65"/>
                      <a:gd name="T14" fmla="*/ 93 w 201"/>
                      <a:gd name="T15" fmla="*/ 63 h 65"/>
                      <a:gd name="T16" fmla="*/ 100 w 201"/>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65">
                        <a:moveTo>
                          <a:pt x="100" y="65"/>
                        </a:moveTo>
                        <a:cubicBezTo>
                          <a:pt x="103" y="65"/>
                          <a:pt x="105" y="64"/>
                          <a:pt x="107" y="63"/>
                        </a:cubicBezTo>
                        <a:cubicBezTo>
                          <a:pt x="107" y="63"/>
                          <a:pt x="107" y="63"/>
                          <a:pt x="107" y="63"/>
                        </a:cubicBezTo>
                        <a:cubicBezTo>
                          <a:pt x="201" y="7"/>
                          <a:pt x="201" y="7"/>
                          <a:pt x="201" y="7"/>
                        </a:cubicBezTo>
                        <a:cubicBezTo>
                          <a:pt x="199" y="3"/>
                          <a:pt x="194" y="0"/>
                          <a:pt x="189" y="0"/>
                        </a:cubicBezTo>
                        <a:cubicBezTo>
                          <a:pt x="11" y="0"/>
                          <a:pt x="11" y="0"/>
                          <a:pt x="11" y="0"/>
                        </a:cubicBezTo>
                        <a:cubicBezTo>
                          <a:pt x="6" y="0"/>
                          <a:pt x="2" y="3"/>
                          <a:pt x="0" y="7"/>
                        </a:cubicBezTo>
                        <a:cubicBezTo>
                          <a:pt x="93" y="63"/>
                          <a:pt x="93" y="63"/>
                          <a:pt x="93" y="63"/>
                        </a:cubicBezTo>
                        <a:cubicBezTo>
                          <a:pt x="95" y="64"/>
                          <a:pt x="98" y="65"/>
                          <a:pt x="100" y="65"/>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72" name="Freeform 202"/>
                  <p:cNvSpPr>
                    <a:spLocks/>
                  </p:cNvSpPr>
                  <p:nvPr/>
                </p:nvSpPr>
                <p:spPr bwMode="auto">
                  <a:xfrm rot="5400000">
                    <a:off x="11233754" y="243090"/>
                    <a:ext cx="62580" cy="76966"/>
                  </a:xfrm>
                  <a:custGeom>
                    <a:avLst/>
                    <a:gdLst>
                      <a:gd name="T0" fmla="*/ 43 w 43"/>
                      <a:gd name="T1" fmla="*/ 51 h 51"/>
                      <a:gd name="T2" fmla="*/ 43 w 43"/>
                      <a:gd name="T3" fmla="*/ 0 h 51"/>
                      <a:gd name="T4" fmla="*/ 0 w 43"/>
                      <a:gd name="T5" fmla="*/ 25 h 51"/>
                      <a:gd name="T6" fmla="*/ 43 w 43"/>
                      <a:gd name="T7" fmla="*/ 51 h 51"/>
                      <a:gd name="T8" fmla="*/ 43 w 43"/>
                      <a:gd name="T9" fmla="*/ 51 h 51"/>
                      <a:gd name="T10" fmla="*/ 43 w 43"/>
                      <a:gd name="T11" fmla="*/ 51 h 51"/>
                    </a:gdLst>
                    <a:ahLst/>
                    <a:cxnLst>
                      <a:cxn ang="0">
                        <a:pos x="T0" y="T1"/>
                      </a:cxn>
                      <a:cxn ang="0">
                        <a:pos x="T2" y="T3"/>
                      </a:cxn>
                      <a:cxn ang="0">
                        <a:pos x="T4" y="T5"/>
                      </a:cxn>
                      <a:cxn ang="0">
                        <a:pos x="T6" y="T7"/>
                      </a:cxn>
                      <a:cxn ang="0">
                        <a:pos x="T8" y="T9"/>
                      </a:cxn>
                      <a:cxn ang="0">
                        <a:pos x="T10" y="T11"/>
                      </a:cxn>
                    </a:cxnLst>
                    <a:rect l="0" t="0" r="r" b="b"/>
                    <a:pathLst>
                      <a:path w="43" h="51">
                        <a:moveTo>
                          <a:pt x="43" y="51"/>
                        </a:moveTo>
                        <a:lnTo>
                          <a:pt x="43" y="0"/>
                        </a:lnTo>
                        <a:lnTo>
                          <a:pt x="0" y="25"/>
                        </a:lnTo>
                        <a:lnTo>
                          <a:pt x="43" y="51"/>
                        </a:lnTo>
                        <a:lnTo>
                          <a:pt x="43" y="51"/>
                        </a:lnTo>
                        <a:lnTo>
                          <a:pt x="43" y="51"/>
                        </a:ln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73" name="Freeform 203"/>
                  <p:cNvSpPr>
                    <a:spLocks/>
                  </p:cNvSpPr>
                  <p:nvPr/>
                </p:nvSpPr>
                <p:spPr bwMode="auto">
                  <a:xfrm rot="5400000">
                    <a:off x="11114473" y="169083"/>
                    <a:ext cx="222666" cy="64892"/>
                  </a:xfrm>
                  <a:custGeom>
                    <a:avLst/>
                    <a:gdLst>
                      <a:gd name="T0" fmla="*/ 0 w 203"/>
                      <a:gd name="T1" fmla="*/ 46 h 58"/>
                      <a:gd name="T2" fmla="*/ 12 w 203"/>
                      <a:gd name="T3" fmla="*/ 58 h 58"/>
                      <a:gd name="T4" fmla="*/ 190 w 203"/>
                      <a:gd name="T5" fmla="*/ 58 h 58"/>
                      <a:gd name="T6" fmla="*/ 203 w 203"/>
                      <a:gd name="T7" fmla="*/ 46 h 58"/>
                      <a:gd name="T8" fmla="*/ 203 w 203"/>
                      <a:gd name="T9" fmla="*/ 39 h 58"/>
                      <a:gd name="T10" fmla="*/ 137 w 203"/>
                      <a:gd name="T11" fmla="*/ 0 h 58"/>
                      <a:gd name="T12" fmla="*/ 113 w 203"/>
                      <a:gd name="T13" fmla="*/ 14 h 58"/>
                      <a:gd name="T14" fmla="*/ 101 w 203"/>
                      <a:gd name="T15" fmla="*/ 17 h 58"/>
                      <a:gd name="T16" fmla="*/ 101 w 203"/>
                      <a:gd name="T17" fmla="*/ 17 h 58"/>
                      <a:gd name="T18" fmla="*/ 89 w 203"/>
                      <a:gd name="T19" fmla="*/ 14 h 58"/>
                      <a:gd name="T20" fmla="*/ 65 w 203"/>
                      <a:gd name="T21" fmla="*/ 0 h 58"/>
                      <a:gd name="T22" fmla="*/ 0 w 203"/>
                      <a:gd name="T23" fmla="*/ 39 h 58"/>
                      <a:gd name="T24" fmla="*/ 0 w 203"/>
                      <a:gd name="T25" fmla="*/ 46 h 58"/>
                      <a:gd name="T26" fmla="*/ 0 w 203"/>
                      <a:gd name="T27" fmla="*/ 4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3" h="58">
                        <a:moveTo>
                          <a:pt x="0" y="46"/>
                        </a:moveTo>
                        <a:cubicBezTo>
                          <a:pt x="0" y="53"/>
                          <a:pt x="5" y="58"/>
                          <a:pt x="12" y="58"/>
                        </a:cubicBezTo>
                        <a:cubicBezTo>
                          <a:pt x="190" y="58"/>
                          <a:pt x="190" y="58"/>
                          <a:pt x="190" y="58"/>
                        </a:cubicBezTo>
                        <a:cubicBezTo>
                          <a:pt x="197" y="58"/>
                          <a:pt x="203" y="53"/>
                          <a:pt x="203" y="46"/>
                        </a:cubicBezTo>
                        <a:cubicBezTo>
                          <a:pt x="203" y="39"/>
                          <a:pt x="203" y="39"/>
                          <a:pt x="203" y="39"/>
                        </a:cubicBezTo>
                        <a:cubicBezTo>
                          <a:pt x="137" y="0"/>
                          <a:pt x="137" y="0"/>
                          <a:pt x="137" y="0"/>
                        </a:cubicBezTo>
                        <a:cubicBezTo>
                          <a:pt x="113" y="14"/>
                          <a:pt x="113" y="14"/>
                          <a:pt x="113" y="14"/>
                        </a:cubicBezTo>
                        <a:cubicBezTo>
                          <a:pt x="110" y="16"/>
                          <a:pt x="106" y="17"/>
                          <a:pt x="101" y="17"/>
                        </a:cubicBezTo>
                        <a:cubicBezTo>
                          <a:pt x="101" y="17"/>
                          <a:pt x="101" y="17"/>
                          <a:pt x="101" y="17"/>
                        </a:cubicBezTo>
                        <a:cubicBezTo>
                          <a:pt x="97" y="17"/>
                          <a:pt x="93" y="16"/>
                          <a:pt x="89" y="14"/>
                        </a:cubicBezTo>
                        <a:cubicBezTo>
                          <a:pt x="65" y="0"/>
                          <a:pt x="65" y="0"/>
                          <a:pt x="65" y="0"/>
                        </a:cubicBezTo>
                        <a:cubicBezTo>
                          <a:pt x="0" y="39"/>
                          <a:pt x="0" y="39"/>
                          <a:pt x="0" y="39"/>
                        </a:cubicBezTo>
                        <a:cubicBezTo>
                          <a:pt x="0" y="46"/>
                          <a:pt x="0" y="46"/>
                          <a:pt x="0" y="46"/>
                        </a:cubicBezTo>
                        <a:cubicBezTo>
                          <a:pt x="0" y="46"/>
                          <a:pt x="0" y="46"/>
                          <a:pt x="0" y="46"/>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74" name="Freeform 204"/>
                  <p:cNvSpPr>
                    <a:spLocks/>
                  </p:cNvSpPr>
                  <p:nvPr/>
                </p:nvSpPr>
                <p:spPr bwMode="auto">
                  <a:xfrm rot="5400000">
                    <a:off x="11234482" y="82276"/>
                    <a:ext cx="61124" cy="76966"/>
                  </a:xfrm>
                  <a:custGeom>
                    <a:avLst/>
                    <a:gdLst>
                      <a:gd name="T0" fmla="*/ 42 w 42"/>
                      <a:gd name="T1" fmla="*/ 25 h 51"/>
                      <a:gd name="T2" fmla="*/ 0 w 42"/>
                      <a:gd name="T3" fmla="*/ 0 h 51"/>
                      <a:gd name="T4" fmla="*/ 0 w 42"/>
                      <a:gd name="T5" fmla="*/ 51 h 51"/>
                      <a:gd name="T6" fmla="*/ 42 w 42"/>
                      <a:gd name="T7" fmla="*/ 25 h 51"/>
                      <a:gd name="T8" fmla="*/ 42 w 42"/>
                      <a:gd name="T9" fmla="*/ 25 h 51"/>
                      <a:gd name="T10" fmla="*/ 42 w 42"/>
                      <a:gd name="T11" fmla="*/ 25 h 51"/>
                    </a:gdLst>
                    <a:ahLst/>
                    <a:cxnLst>
                      <a:cxn ang="0">
                        <a:pos x="T0" y="T1"/>
                      </a:cxn>
                      <a:cxn ang="0">
                        <a:pos x="T2" y="T3"/>
                      </a:cxn>
                      <a:cxn ang="0">
                        <a:pos x="T4" y="T5"/>
                      </a:cxn>
                      <a:cxn ang="0">
                        <a:pos x="T6" y="T7"/>
                      </a:cxn>
                      <a:cxn ang="0">
                        <a:pos x="T8" y="T9"/>
                      </a:cxn>
                      <a:cxn ang="0">
                        <a:pos x="T10" y="T11"/>
                      </a:cxn>
                    </a:cxnLst>
                    <a:rect l="0" t="0" r="r" b="b"/>
                    <a:pathLst>
                      <a:path w="42" h="51">
                        <a:moveTo>
                          <a:pt x="42" y="25"/>
                        </a:moveTo>
                        <a:lnTo>
                          <a:pt x="0" y="0"/>
                        </a:lnTo>
                        <a:lnTo>
                          <a:pt x="0" y="51"/>
                        </a:lnTo>
                        <a:lnTo>
                          <a:pt x="42" y="25"/>
                        </a:lnTo>
                        <a:lnTo>
                          <a:pt x="42" y="25"/>
                        </a:lnTo>
                        <a:lnTo>
                          <a:pt x="42" y="25"/>
                        </a:ln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grpSp>
            <p:sp>
              <p:nvSpPr>
                <p:cNvPr id="611" name="Freeform 205"/>
                <p:cNvSpPr>
                  <a:spLocks noEditPoints="1"/>
                </p:cNvSpPr>
                <p:nvPr/>
              </p:nvSpPr>
              <p:spPr bwMode="auto">
                <a:xfrm rot="19800000">
                  <a:off x="11189998" y="1751243"/>
                  <a:ext cx="299798" cy="230898"/>
                </a:xfrm>
                <a:custGeom>
                  <a:avLst/>
                  <a:gdLst>
                    <a:gd name="T0" fmla="*/ 232 w 273"/>
                    <a:gd name="T1" fmla="*/ 117 h 203"/>
                    <a:gd name="T2" fmla="*/ 251 w 273"/>
                    <a:gd name="T3" fmla="*/ 185 h 203"/>
                    <a:gd name="T4" fmla="*/ 32 w 273"/>
                    <a:gd name="T5" fmla="*/ 30 h 203"/>
                    <a:gd name="T6" fmla="*/ 99 w 273"/>
                    <a:gd name="T7" fmla="*/ 7 h 203"/>
                    <a:gd name="T8" fmla="*/ 56 w 273"/>
                    <a:gd name="T9" fmla="*/ 1 h 203"/>
                    <a:gd name="T10" fmla="*/ 48 w 273"/>
                    <a:gd name="T11" fmla="*/ 24 h 203"/>
                    <a:gd name="T12" fmla="*/ 0 w 273"/>
                    <a:gd name="T13" fmla="*/ 31 h 203"/>
                    <a:gd name="T14" fmla="*/ 23 w 273"/>
                    <a:gd name="T15" fmla="*/ 20 h 203"/>
                    <a:gd name="T16" fmla="*/ 172 w 273"/>
                    <a:gd name="T17" fmla="*/ 185 h 203"/>
                    <a:gd name="T18" fmla="*/ 45 w 273"/>
                    <a:gd name="T19" fmla="*/ 102 h 203"/>
                    <a:gd name="T20" fmla="*/ 83 w 273"/>
                    <a:gd name="T21" fmla="*/ 51 h 203"/>
                    <a:gd name="T22" fmla="*/ 93 w 273"/>
                    <a:gd name="T23" fmla="*/ 78 h 203"/>
                    <a:gd name="T24" fmla="*/ 99 w 273"/>
                    <a:gd name="T25" fmla="*/ 39 h 203"/>
                    <a:gd name="T26" fmla="*/ 135 w 273"/>
                    <a:gd name="T27" fmla="*/ 11 h 203"/>
                    <a:gd name="T28" fmla="*/ 206 w 273"/>
                    <a:gd name="T29" fmla="*/ 158 h 203"/>
                    <a:gd name="T30" fmla="*/ 204 w 273"/>
                    <a:gd name="T31" fmla="*/ 127 h 203"/>
                    <a:gd name="T32" fmla="*/ 163 w 273"/>
                    <a:gd name="T33" fmla="*/ 169 h 203"/>
                    <a:gd name="T34" fmla="*/ 92 w 273"/>
                    <a:gd name="T35" fmla="*/ 126 h 203"/>
                    <a:gd name="T36" fmla="*/ 92 w 273"/>
                    <a:gd name="T37" fmla="*/ 87 h 203"/>
                    <a:gd name="T38" fmla="*/ 62 w 273"/>
                    <a:gd name="T39" fmla="*/ 102 h 203"/>
                    <a:gd name="T40" fmla="*/ 107 w 273"/>
                    <a:gd name="T41" fmla="*/ 169 h 203"/>
                    <a:gd name="T42" fmla="*/ 68 w 273"/>
                    <a:gd name="T43" fmla="*/ 128 h 203"/>
                    <a:gd name="T44" fmla="*/ 107 w 273"/>
                    <a:gd name="T45" fmla="*/ 169 h 203"/>
                    <a:gd name="T46" fmla="*/ 104 w 273"/>
                    <a:gd name="T47" fmla="*/ 138 h 203"/>
                    <a:gd name="T48" fmla="*/ 131 w 273"/>
                    <a:gd name="T49" fmla="*/ 140 h 203"/>
                    <a:gd name="T50" fmla="*/ 101 w 273"/>
                    <a:gd name="T51" fmla="*/ 89 h 203"/>
                    <a:gd name="T52" fmla="*/ 103 w 273"/>
                    <a:gd name="T53" fmla="*/ 127 h 203"/>
                    <a:gd name="T54" fmla="*/ 131 w 273"/>
                    <a:gd name="T55" fmla="*/ 90 h 203"/>
                    <a:gd name="T56" fmla="*/ 123 w 273"/>
                    <a:gd name="T57" fmla="*/ 32 h 203"/>
                    <a:gd name="T58" fmla="*/ 131 w 273"/>
                    <a:gd name="T59" fmla="*/ 80 h 203"/>
                    <a:gd name="T60" fmla="*/ 206 w 273"/>
                    <a:gd name="T61" fmla="*/ 80 h 203"/>
                    <a:gd name="T62" fmla="*/ 180 w 273"/>
                    <a:gd name="T63" fmla="*/ 103 h 203"/>
                    <a:gd name="T64" fmla="*/ 208 w 273"/>
                    <a:gd name="T65" fmla="*/ 112 h 203"/>
                    <a:gd name="T66" fmla="*/ 206 w 273"/>
                    <a:gd name="T67" fmla="*/ 80 h 203"/>
                    <a:gd name="T68" fmla="*/ 179 w 273"/>
                    <a:gd name="T69" fmla="*/ 78 h 203"/>
                    <a:gd name="T70" fmla="*/ 187 w 273"/>
                    <a:gd name="T71" fmla="*/ 51 h 203"/>
                    <a:gd name="T72" fmla="*/ 141 w 273"/>
                    <a:gd name="T73" fmla="*/ 80 h 203"/>
                    <a:gd name="T74" fmla="*/ 141 w 273"/>
                    <a:gd name="T75" fmla="*/ 30 h 203"/>
                    <a:gd name="T76" fmla="*/ 141 w 273"/>
                    <a:gd name="T77" fmla="*/ 80 h 203"/>
                    <a:gd name="T78" fmla="*/ 169 w 273"/>
                    <a:gd name="T79" fmla="*/ 127 h 203"/>
                    <a:gd name="T80" fmla="*/ 170 w 273"/>
                    <a:gd name="T81" fmla="*/ 89 h 203"/>
                    <a:gd name="T82" fmla="*/ 141 w 273"/>
                    <a:gd name="T83" fmla="*/ 130 h 203"/>
                    <a:gd name="T84" fmla="*/ 166 w 273"/>
                    <a:gd name="T85" fmla="*/ 138 h 203"/>
                    <a:gd name="T86" fmla="*/ 141 w 273"/>
                    <a:gd name="T87" fmla="*/ 175 h 203"/>
                    <a:gd name="T88" fmla="*/ 225 w 273"/>
                    <a:gd name="T89" fmla="*/ 179 h 203"/>
                    <a:gd name="T90" fmla="*/ 183 w 273"/>
                    <a:gd name="T91" fmla="*/ 155 h 203"/>
                    <a:gd name="T92" fmla="*/ 193 w 273"/>
                    <a:gd name="T93" fmla="*/ 191 h 203"/>
                    <a:gd name="T94" fmla="*/ 251 w 273"/>
                    <a:gd name="T95" fmla="*/ 188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3" h="203">
                      <a:moveTo>
                        <a:pt x="251" y="185"/>
                      </a:moveTo>
                      <a:cubicBezTo>
                        <a:pt x="261" y="164"/>
                        <a:pt x="232" y="117"/>
                        <a:pt x="232" y="117"/>
                      </a:cubicBezTo>
                      <a:cubicBezTo>
                        <a:pt x="232" y="117"/>
                        <a:pt x="273" y="141"/>
                        <a:pt x="273" y="174"/>
                      </a:cubicBezTo>
                      <a:cubicBezTo>
                        <a:pt x="268" y="177"/>
                        <a:pt x="259" y="181"/>
                        <a:pt x="251" y="185"/>
                      </a:cubicBezTo>
                      <a:close/>
                      <a:moveTo>
                        <a:pt x="48" y="24"/>
                      </a:moveTo>
                      <a:cubicBezTo>
                        <a:pt x="32" y="30"/>
                        <a:pt x="32" y="30"/>
                        <a:pt x="32" y="30"/>
                      </a:cubicBezTo>
                      <a:cubicBezTo>
                        <a:pt x="92" y="48"/>
                        <a:pt x="92" y="48"/>
                        <a:pt x="92" y="48"/>
                      </a:cubicBezTo>
                      <a:cubicBezTo>
                        <a:pt x="99" y="7"/>
                        <a:pt x="99" y="7"/>
                        <a:pt x="99" y="7"/>
                      </a:cubicBezTo>
                      <a:cubicBezTo>
                        <a:pt x="82" y="13"/>
                        <a:pt x="82" y="13"/>
                        <a:pt x="82" y="13"/>
                      </a:cubicBezTo>
                      <a:cubicBezTo>
                        <a:pt x="78" y="8"/>
                        <a:pt x="66" y="0"/>
                        <a:pt x="56" y="1"/>
                      </a:cubicBezTo>
                      <a:cubicBezTo>
                        <a:pt x="51" y="3"/>
                        <a:pt x="31" y="11"/>
                        <a:pt x="23" y="15"/>
                      </a:cubicBezTo>
                      <a:cubicBezTo>
                        <a:pt x="32" y="13"/>
                        <a:pt x="44" y="21"/>
                        <a:pt x="48" y="24"/>
                      </a:cubicBezTo>
                      <a:close/>
                      <a:moveTo>
                        <a:pt x="23" y="20"/>
                      </a:moveTo>
                      <a:cubicBezTo>
                        <a:pt x="16" y="22"/>
                        <a:pt x="6" y="27"/>
                        <a:pt x="0" y="31"/>
                      </a:cubicBezTo>
                      <a:cubicBezTo>
                        <a:pt x="0" y="62"/>
                        <a:pt x="42" y="86"/>
                        <a:pt x="42" y="86"/>
                      </a:cubicBezTo>
                      <a:cubicBezTo>
                        <a:pt x="42" y="86"/>
                        <a:pt x="14" y="39"/>
                        <a:pt x="23" y="20"/>
                      </a:cubicBezTo>
                      <a:close/>
                      <a:moveTo>
                        <a:pt x="176" y="162"/>
                      </a:moveTo>
                      <a:cubicBezTo>
                        <a:pt x="172" y="185"/>
                        <a:pt x="172" y="185"/>
                        <a:pt x="172" y="185"/>
                      </a:cubicBezTo>
                      <a:cubicBezTo>
                        <a:pt x="161" y="189"/>
                        <a:pt x="148" y="192"/>
                        <a:pt x="135" y="192"/>
                      </a:cubicBezTo>
                      <a:cubicBezTo>
                        <a:pt x="85" y="192"/>
                        <a:pt x="45" y="152"/>
                        <a:pt x="45" y="102"/>
                      </a:cubicBezTo>
                      <a:cubicBezTo>
                        <a:pt x="45" y="80"/>
                        <a:pt x="54" y="61"/>
                        <a:pt x="66" y="45"/>
                      </a:cubicBezTo>
                      <a:cubicBezTo>
                        <a:pt x="83" y="51"/>
                        <a:pt x="83" y="51"/>
                        <a:pt x="83" y="51"/>
                      </a:cubicBezTo>
                      <a:cubicBezTo>
                        <a:pt x="78" y="56"/>
                        <a:pt x="73" y="63"/>
                        <a:pt x="69" y="71"/>
                      </a:cubicBezTo>
                      <a:cubicBezTo>
                        <a:pt x="72" y="73"/>
                        <a:pt x="78" y="75"/>
                        <a:pt x="93" y="78"/>
                      </a:cubicBezTo>
                      <a:cubicBezTo>
                        <a:pt x="96" y="59"/>
                        <a:pt x="100" y="45"/>
                        <a:pt x="109" y="34"/>
                      </a:cubicBezTo>
                      <a:cubicBezTo>
                        <a:pt x="106" y="35"/>
                        <a:pt x="101" y="37"/>
                        <a:pt x="99" y="39"/>
                      </a:cubicBezTo>
                      <a:cubicBezTo>
                        <a:pt x="101" y="18"/>
                        <a:pt x="101" y="18"/>
                        <a:pt x="101" y="18"/>
                      </a:cubicBezTo>
                      <a:cubicBezTo>
                        <a:pt x="113" y="14"/>
                        <a:pt x="124" y="11"/>
                        <a:pt x="135" y="11"/>
                      </a:cubicBezTo>
                      <a:cubicBezTo>
                        <a:pt x="186" y="11"/>
                        <a:pt x="225" y="52"/>
                        <a:pt x="225" y="102"/>
                      </a:cubicBezTo>
                      <a:cubicBezTo>
                        <a:pt x="225" y="123"/>
                        <a:pt x="218" y="143"/>
                        <a:pt x="206" y="158"/>
                      </a:cubicBezTo>
                      <a:cubicBezTo>
                        <a:pt x="189" y="152"/>
                        <a:pt x="189" y="152"/>
                        <a:pt x="189" y="152"/>
                      </a:cubicBezTo>
                      <a:cubicBezTo>
                        <a:pt x="196" y="145"/>
                        <a:pt x="200" y="137"/>
                        <a:pt x="204" y="127"/>
                      </a:cubicBezTo>
                      <a:cubicBezTo>
                        <a:pt x="199" y="131"/>
                        <a:pt x="187" y="134"/>
                        <a:pt x="178" y="136"/>
                      </a:cubicBezTo>
                      <a:cubicBezTo>
                        <a:pt x="175" y="150"/>
                        <a:pt x="170" y="161"/>
                        <a:pt x="163" y="169"/>
                      </a:cubicBezTo>
                      <a:cubicBezTo>
                        <a:pt x="168" y="168"/>
                        <a:pt x="172" y="165"/>
                        <a:pt x="176" y="162"/>
                      </a:cubicBezTo>
                      <a:close/>
                      <a:moveTo>
                        <a:pt x="92" y="126"/>
                      </a:moveTo>
                      <a:cubicBezTo>
                        <a:pt x="92" y="119"/>
                        <a:pt x="90" y="110"/>
                        <a:pt x="90" y="103"/>
                      </a:cubicBezTo>
                      <a:cubicBezTo>
                        <a:pt x="90" y="97"/>
                        <a:pt x="90" y="93"/>
                        <a:pt x="92" y="87"/>
                      </a:cubicBezTo>
                      <a:cubicBezTo>
                        <a:pt x="80" y="86"/>
                        <a:pt x="71" y="83"/>
                        <a:pt x="65" y="80"/>
                      </a:cubicBezTo>
                      <a:cubicBezTo>
                        <a:pt x="63" y="87"/>
                        <a:pt x="62" y="95"/>
                        <a:pt x="62" y="102"/>
                      </a:cubicBezTo>
                      <a:cubicBezTo>
                        <a:pt x="62" y="114"/>
                        <a:pt x="63" y="120"/>
                        <a:pt x="92" y="126"/>
                      </a:cubicBezTo>
                      <a:close/>
                      <a:moveTo>
                        <a:pt x="107" y="169"/>
                      </a:moveTo>
                      <a:cubicBezTo>
                        <a:pt x="101" y="161"/>
                        <a:pt x="97" y="150"/>
                        <a:pt x="94" y="137"/>
                      </a:cubicBezTo>
                      <a:cubicBezTo>
                        <a:pt x="83" y="134"/>
                        <a:pt x="75" y="131"/>
                        <a:pt x="68" y="128"/>
                      </a:cubicBezTo>
                      <a:cubicBezTo>
                        <a:pt x="71" y="138"/>
                        <a:pt x="76" y="147"/>
                        <a:pt x="83" y="154"/>
                      </a:cubicBezTo>
                      <a:cubicBezTo>
                        <a:pt x="90" y="161"/>
                        <a:pt x="99" y="167"/>
                        <a:pt x="107" y="169"/>
                      </a:cubicBezTo>
                      <a:close/>
                      <a:moveTo>
                        <a:pt x="131" y="140"/>
                      </a:moveTo>
                      <a:cubicBezTo>
                        <a:pt x="121" y="140"/>
                        <a:pt x="113" y="138"/>
                        <a:pt x="104" y="138"/>
                      </a:cubicBezTo>
                      <a:cubicBezTo>
                        <a:pt x="109" y="151"/>
                        <a:pt x="116" y="175"/>
                        <a:pt x="131" y="175"/>
                      </a:cubicBezTo>
                      <a:cubicBezTo>
                        <a:pt x="131" y="175"/>
                        <a:pt x="131" y="175"/>
                        <a:pt x="131" y="140"/>
                      </a:cubicBezTo>
                      <a:close/>
                      <a:moveTo>
                        <a:pt x="131" y="90"/>
                      </a:moveTo>
                      <a:cubicBezTo>
                        <a:pt x="120" y="90"/>
                        <a:pt x="110" y="89"/>
                        <a:pt x="101" y="89"/>
                      </a:cubicBezTo>
                      <a:cubicBezTo>
                        <a:pt x="100" y="93"/>
                        <a:pt x="100" y="97"/>
                        <a:pt x="100" y="103"/>
                      </a:cubicBezTo>
                      <a:cubicBezTo>
                        <a:pt x="100" y="112"/>
                        <a:pt x="101" y="120"/>
                        <a:pt x="103" y="127"/>
                      </a:cubicBezTo>
                      <a:cubicBezTo>
                        <a:pt x="111" y="128"/>
                        <a:pt x="121" y="130"/>
                        <a:pt x="131" y="130"/>
                      </a:cubicBezTo>
                      <a:cubicBezTo>
                        <a:pt x="131" y="130"/>
                        <a:pt x="131" y="130"/>
                        <a:pt x="131" y="90"/>
                      </a:cubicBezTo>
                      <a:close/>
                      <a:moveTo>
                        <a:pt x="131" y="30"/>
                      </a:moveTo>
                      <a:cubicBezTo>
                        <a:pt x="128" y="30"/>
                        <a:pt x="125" y="31"/>
                        <a:pt x="123" y="32"/>
                      </a:cubicBezTo>
                      <a:cubicBezTo>
                        <a:pt x="114" y="41"/>
                        <a:pt x="106" y="59"/>
                        <a:pt x="101" y="79"/>
                      </a:cubicBezTo>
                      <a:cubicBezTo>
                        <a:pt x="111" y="80"/>
                        <a:pt x="121" y="80"/>
                        <a:pt x="131" y="80"/>
                      </a:cubicBezTo>
                      <a:cubicBezTo>
                        <a:pt x="131" y="80"/>
                        <a:pt x="131" y="80"/>
                        <a:pt x="131" y="30"/>
                      </a:cubicBezTo>
                      <a:close/>
                      <a:moveTo>
                        <a:pt x="206" y="80"/>
                      </a:moveTo>
                      <a:cubicBezTo>
                        <a:pt x="200" y="83"/>
                        <a:pt x="193" y="85"/>
                        <a:pt x="180" y="87"/>
                      </a:cubicBezTo>
                      <a:cubicBezTo>
                        <a:pt x="180" y="93"/>
                        <a:pt x="180" y="97"/>
                        <a:pt x="180" y="103"/>
                      </a:cubicBezTo>
                      <a:cubicBezTo>
                        <a:pt x="180" y="110"/>
                        <a:pt x="180" y="119"/>
                        <a:pt x="179" y="126"/>
                      </a:cubicBezTo>
                      <a:cubicBezTo>
                        <a:pt x="196" y="121"/>
                        <a:pt x="204" y="116"/>
                        <a:pt x="208" y="112"/>
                      </a:cubicBezTo>
                      <a:cubicBezTo>
                        <a:pt x="208" y="109"/>
                        <a:pt x="208" y="106"/>
                        <a:pt x="208" y="102"/>
                      </a:cubicBezTo>
                      <a:cubicBezTo>
                        <a:pt x="208" y="95"/>
                        <a:pt x="207" y="87"/>
                        <a:pt x="206" y="80"/>
                      </a:cubicBezTo>
                      <a:close/>
                      <a:moveTo>
                        <a:pt x="162" y="34"/>
                      </a:moveTo>
                      <a:cubicBezTo>
                        <a:pt x="170" y="45"/>
                        <a:pt x="176" y="59"/>
                        <a:pt x="179" y="78"/>
                      </a:cubicBezTo>
                      <a:cubicBezTo>
                        <a:pt x="194" y="73"/>
                        <a:pt x="199" y="73"/>
                        <a:pt x="201" y="71"/>
                      </a:cubicBezTo>
                      <a:cubicBezTo>
                        <a:pt x="199" y="63"/>
                        <a:pt x="193" y="56"/>
                        <a:pt x="187" y="51"/>
                      </a:cubicBezTo>
                      <a:cubicBezTo>
                        <a:pt x="180" y="42"/>
                        <a:pt x="172" y="38"/>
                        <a:pt x="162" y="34"/>
                      </a:cubicBezTo>
                      <a:close/>
                      <a:moveTo>
                        <a:pt x="141" y="80"/>
                      </a:moveTo>
                      <a:cubicBezTo>
                        <a:pt x="151" y="80"/>
                        <a:pt x="159" y="80"/>
                        <a:pt x="169" y="79"/>
                      </a:cubicBezTo>
                      <a:cubicBezTo>
                        <a:pt x="165" y="54"/>
                        <a:pt x="154" y="34"/>
                        <a:pt x="141" y="30"/>
                      </a:cubicBezTo>
                      <a:cubicBezTo>
                        <a:pt x="141" y="30"/>
                        <a:pt x="141" y="30"/>
                        <a:pt x="141" y="30"/>
                      </a:cubicBezTo>
                      <a:cubicBezTo>
                        <a:pt x="141" y="30"/>
                        <a:pt x="141" y="30"/>
                        <a:pt x="141" y="80"/>
                      </a:cubicBezTo>
                      <a:close/>
                      <a:moveTo>
                        <a:pt x="141" y="130"/>
                      </a:moveTo>
                      <a:cubicBezTo>
                        <a:pt x="151" y="130"/>
                        <a:pt x="159" y="128"/>
                        <a:pt x="169" y="127"/>
                      </a:cubicBezTo>
                      <a:cubicBezTo>
                        <a:pt x="170" y="120"/>
                        <a:pt x="170" y="112"/>
                        <a:pt x="170" y="103"/>
                      </a:cubicBezTo>
                      <a:cubicBezTo>
                        <a:pt x="170" y="97"/>
                        <a:pt x="170" y="93"/>
                        <a:pt x="170" y="89"/>
                      </a:cubicBezTo>
                      <a:cubicBezTo>
                        <a:pt x="161" y="89"/>
                        <a:pt x="151" y="90"/>
                        <a:pt x="141" y="90"/>
                      </a:cubicBezTo>
                      <a:cubicBezTo>
                        <a:pt x="141" y="90"/>
                        <a:pt x="141" y="90"/>
                        <a:pt x="141" y="130"/>
                      </a:cubicBezTo>
                      <a:close/>
                      <a:moveTo>
                        <a:pt x="159" y="157"/>
                      </a:moveTo>
                      <a:cubicBezTo>
                        <a:pt x="162" y="151"/>
                        <a:pt x="165" y="145"/>
                        <a:pt x="166" y="138"/>
                      </a:cubicBezTo>
                      <a:cubicBezTo>
                        <a:pt x="158" y="138"/>
                        <a:pt x="149" y="140"/>
                        <a:pt x="141" y="140"/>
                      </a:cubicBezTo>
                      <a:cubicBezTo>
                        <a:pt x="141" y="140"/>
                        <a:pt x="141" y="140"/>
                        <a:pt x="141" y="175"/>
                      </a:cubicBezTo>
                      <a:cubicBezTo>
                        <a:pt x="148" y="175"/>
                        <a:pt x="155" y="168"/>
                        <a:pt x="159" y="157"/>
                      </a:cubicBezTo>
                      <a:close/>
                      <a:moveTo>
                        <a:pt x="225" y="179"/>
                      </a:moveTo>
                      <a:cubicBezTo>
                        <a:pt x="241" y="174"/>
                        <a:pt x="241" y="174"/>
                        <a:pt x="241" y="174"/>
                      </a:cubicBezTo>
                      <a:cubicBezTo>
                        <a:pt x="183" y="155"/>
                        <a:pt x="183" y="155"/>
                        <a:pt x="183" y="155"/>
                      </a:cubicBezTo>
                      <a:cubicBezTo>
                        <a:pt x="175" y="196"/>
                        <a:pt x="175" y="196"/>
                        <a:pt x="175" y="196"/>
                      </a:cubicBezTo>
                      <a:cubicBezTo>
                        <a:pt x="193" y="191"/>
                        <a:pt x="193" y="191"/>
                        <a:pt x="193" y="191"/>
                      </a:cubicBezTo>
                      <a:cubicBezTo>
                        <a:pt x="197" y="195"/>
                        <a:pt x="208" y="203"/>
                        <a:pt x="218" y="202"/>
                      </a:cubicBezTo>
                      <a:cubicBezTo>
                        <a:pt x="224" y="201"/>
                        <a:pt x="242" y="192"/>
                        <a:pt x="251" y="188"/>
                      </a:cubicBezTo>
                      <a:cubicBezTo>
                        <a:pt x="242" y="191"/>
                        <a:pt x="231" y="182"/>
                        <a:pt x="225" y="179"/>
                      </a:cubicBez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grpSp>
              <p:nvGrpSpPr>
                <p:cNvPr id="612" name="Group 611"/>
                <p:cNvGrpSpPr/>
                <p:nvPr/>
              </p:nvGrpSpPr>
              <p:grpSpPr>
                <a:xfrm rot="16200000">
                  <a:off x="11538952" y="548917"/>
                  <a:ext cx="197697" cy="120792"/>
                  <a:chOff x="11543479" y="566091"/>
                  <a:chExt cx="197697" cy="120792"/>
                </a:xfrm>
              </p:grpSpPr>
              <p:sp>
                <p:nvSpPr>
                  <p:cNvPr id="667" name="Freeform 206"/>
                  <p:cNvSpPr>
                    <a:spLocks noEditPoints="1"/>
                  </p:cNvSpPr>
                  <p:nvPr/>
                </p:nvSpPr>
                <p:spPr bwMode="auto">
                  <a:xfrm rot="5400000">
                    <a:off x="11616132" y="493438"/>
                    <a:ext cx="52392" cy="197697"/>
                  </a:xfrm>
                  <a:custGeom>
                    <a:avLst/>
                    <a:gdLst>
                      <a:gd name="T0" fmla="*/ 40 w 48"/>
                      <a:gd name="T1" fmla="*/ 0 h 174"/>
                      <a:gd name="T2" fmla="*/ 7 w 48"/>
                      <a:gd name="T3" fmla="*/ 0 h 174"/>
                      <a:gd name="T4" fmla="*/ 0 w 48"/>
                      <a:gd name="T5" fmla="*/ 8 h 174"/>
                      <a:gd name="T6" fmla="*/ 0 w 48"/>
                      <a:gd name="T7" fmla="*/ 166 h 174"/>
                      <a:gd name="T8" fmla="*/ 7 w 48"/>
                      <a:gd name="T9" fmla="*/ 174 h 174"/>
                      <a:gd name="T10" fmla="*/ 40 w 48"/>
                      <a:gd name="T11" fmla="*/ 174 h 174"/>
                      <a:gd name="T12" fmla="*/ 48 w 48"/>
                      <a:gd name="T13" fmla="*/ 166 h 174"/>
                      <a:gd name="T14" fmla="*/ 48 w 48"/>
                      <a:gd name="T15" fmla="*/ 8 h 174"/>
                      <a:gd name="T16" fmla="*/ 40 w 48"/>
                      <a:gd name="T17" fmla="*/ 0 h 174"/>
                      <a:gd name="T18" fmla="*/ 11 w 48"/>
                      <a:gd name="T19" fmla="*/ 16 h 174"/>
                      <a:gd name="T20" fmla="*/ 15 w 48"/>
                      <a:gd name="T21" fmla="*/ 11 h 174"/>
                      <a:gd name="T22" fmla="*/ 32 w 48"/>
                      <a:gd name="T23" fmla="*/ 11 h 174"/>
                      <a:gd name="T24" fmla="*/ 36 w 48"/>
                      <a:gd name="T25" fmla="*/ 16 h 174"/>
                      <a:gd name="T26" fmla="*/ 36 w 48"/>
                      <a:gd name="T27" fmla="*/ 117 h 174"/>
                      <a:gd name="T28" fmla="*/ 32 w 48"/>
                      <a:gd name="T29" fmla="*/ 121 h 174"/>
                      <a:gd name="T30" fmla="*/ 15 w 48"/>
                      <a:gd name="T31" fmla="*/ 121 h 174"/>
                      <a:gd name="T32" fmla="*/ 11 w 48"/>
                      <a:gd name="T33" fmla="*/ 117 h 174"/>
                      <a:gd name="T34" fmla="*/ 11 w 48"/>
                      <a:gd name="T35" fmla="*/ 16 h 174"/>
                      <a:gd name="T36" fmla="*/ 11 w 48"/>
                      <a:gd name="T37" fmla="*/ 16 h 174"/>
                      <a:gd name="T38" fmla="*/ 23 w 48"/>
                      <a:gd name="T39" fmla="*/ 164 h 174"/>
                      <a:gd name="T40" fmla="*/ 11 w 48"/>
                      <a:gd name="T41" fmla="*/ 151 h 174"/>
                      <a:gd name="T42" fmla="*/ 23 w 48"/>
                      <a:gd name="T43" fmla="*/ 138 h 174"/>
                      <a:gd name="T44" fmla="*/ 36 w 48"/>
                      <a:gd name="T45" fmla="*/ 151 h 174"/>
                      <a:gd name="T46" fmla="*/ 23 w 48"/>
                      <a:gd name="T47" fmla="*/ 16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8" h="174">
                        <a:moveTo>
                          <a:pt x="40" y="0"/>
                        </a:moveTo>
                        <a:cubicBezTo>
                          <a:pt x="7" y="0"/>
                          <a:pt x="7" y="0"/>
                          <a:pt x="7" y="0"/>
                        </a:cubicBezTo>
                        <a:cubicBezTo>
                          <a:pt x="3" y="0"/>
                          <a:pt x="0" y="3"/>
                          <a:pt x="0" y="8"/>
                        </a:cubicBezTo>
                        <a:cubicBezTo>
                          <a:pt x="0" y="166"/>
                          <a:pt x="0" y="166"/>
                          <a:pt x="0" y="166"/>
                        </a:cubicBezTo>
                        <a:cubicBezTo>
                          <a:pt x="0" y="170"/>
                          <a:pt x="3" y="174"/>
                          <a:pt x="7" y="174"/>
                        </a:cubicBezTo>
                        <a:cubicBezTo>
                          <a:pt x="40" y="174"/>
                          <a:pt x="40" y="174"/>
                          <a:pt x="40" y="174"/>
                        </a:cubicBezTo>
                        <a:cubicBezTo>
                          <a:pt x="44" y="174"/>
                          <a:pt x="48" y="170"/>
                          <a:pt x="48" y="166"/>
                        </a:cubicBezTo>
                        <a:cubicBezTo>
                          <a:pt x="48" y="8"/>
                          <a:pt x="48" y="8"/>
                          <a:pt x="48" y="8"/>
                        </a:cubicBezTo>
                        <a:cubicBezTo>
                          <a:pt x="48" y="3"/>
                          <a:pt x="44" y="0"/>
                          <a:pt x="40" y="0"/>
                        </a:cubicBezTo>
                        <a:close/>
                        <a:moveTo>
                          <a:pt x="11" y="16"/>
                        </a:moveTo>
                        <a:cubicBezTo>
                          <a:pt x="11" y="13"/>
                          <a:pt x="13" y="11"/>
                          <a:pt x="15" y="11"/>
                        </a:cubicBezTo>
                        <a:cubicBezTo>
                          <a:pt x="32" y="11"/>
                          <a:pt x="32" y="11"/>
                          <a:pt x="32" y="11"/>
                        </a:cubicBezTo>
                        <a:cubicBezTo>
                          <a:pt x="34" y="11"/>
                          <a:pt x="36" y="13"/>
                          <a:pt x="36" y="16"/>
                        </a:cubicBezTo>
                        <a:cubicBezTo>
                          <a:pt x="36" y="117"/>
                          <a:pt x="36" y="117"/>
                          <a:pt x="36" y="117"/>
                        </a:cubicBezTo>
                        <a:cubicBezTo>
                          <a:pt x="36" y="119"/>
                          <a:pt x="34" y="121"/>
                          <a:pt x="32" y="121"/>
                        </a:cubicBezTo>
                        <a:cubicBezTo>
                          <a:pt x="15" y="121"/>
                          <a:pt x="15" y="121"/>
                          <a:pt x="15" y="121"/>
                        </a:cubicBezTo>
                        <a:cubicBezTo>
                          <a:pt x="13" y="121"/>
                          <a:pt x="11" y="119"/>
                          <a:pt x="11" y="117"/>
                        </a:cubicBezTo>
                        <a:cubicBezTo>
                          <a:pt x="11" y="16"/>
                          <a:pt x="11" y="16"/>
                          <a:pt x="11" y="16"/>
                        </a:cubicBezTo>
                        <a:cubicBezTo>
                          <a:pt x="11" y="16"/>
                          <a:pt x="11" y="16"/>
                          <a:pt x="11" y="16"/>
                        </a:cubicBezTo>
                        <a:close/>
                        <a:moveTo>
                          <a:pt x="23" y="164"/>
                        </a:moveTo>
                        <a:cubicBezTo>
                          <a:pt x="17" y="164"/>
                          <a:pt x="11" y="158"/>
                          <a:pt x="11" y="151"/>
                        </a:cubicBezTo>
                        <a:cubicBezTo>
                          <a:pt x="11" y="144"/>
                          <a:pt x="17" y="138"/>
                          <a:pt x="23" y="138"/>
                        </a:cubicBezTo>
                        <a:cubicBezTo>
                          <a:pt x="30" y="138"/>
                          <a:pt x="36" y="144"/>
                          <a:pt x="36" y="151"/>
                        </a:cubicBezTo>
                        <a:cubicBezTo>
                          <a:pt x="36" y="158"/>
                          <a:pt x="30" y="164"/>
                          <a:pt x="23" y="164"/>
                        </a:cubicBez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68" name="Oval 207"/>
                  <p:cNvSpPr>
                    <a:spLocks noChangeArrowheads="1"/>
                  </p:cNvSpPr>
                  <p:nvPr/>
                </p:nvSpPr>
                <p:spPr bwMode="auto">
                  <a:xfrm rot="5400000">
                    <a:off x="11562613" y="583986"/>
                    <a:ext cx="14553" cy="16600"/>
                  </a:xfrm>
                  <a:prstGeom prst="ellipse">
                    <a:avLst/>
                  </a:pr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69" name="Freeform 208"/>
                  <p:cNvSpPr>
                    <a:spLocks noEditPoints="1"/>
                  </p:cNvSpPr>
                  <p:nvPr/>
                </p:nvSpPr>
                <p:spPr bwMode="auto">
                  <a:xfrm rot="5400000">
                    <a:off x="11616132" y="561838"/>
                    <a:ext cx="52392" cy="197697"/>
                  </a:xfrm>
                  <a:custGeom>
                    <a:avLst/>
                    <a:gdLst>
                      <a:gd name="T0" fmla="*/ 41 w 48"/>
                      <a:gd name="T1" fmla="*/ 0 h 174"/>
                      <a:gd name="T2" fmla="*/ 8 w 48"/>
                      <a:gd name="T3" fmla="*/ 0 h 174"/>
                      <a:gd name="T4" fmla="*/ 0 w 48"/>
                      <a:gd name="T5" fmla="*/ 8 h 174"/>
                      <a:gd name="T6" fmla="*/ 0 w 48"/>
                      <a:gd name="T7" fmla="*/ 166 h 174"/>
                      <a:gd name="T8" fmla="*/ 8 w 48"/>
                      <a:gd name="T9" fmla="*/ 174 h 174"/>
                      <a:gd name="T10" fmla="*/ 41 w 48"/>
                      <a:gd name="T11" fmla="*/ 174 h 174"/>
                      <a:gd name="T12" fmla="*/ 48 w 48"/>
                      <a:gd name="T13" fmla="*/ 166 h 174"/>
                      <a:gd name="T14" fmla="*/ 48 w 48"/>
                      <a:gd name="T15" fmla="*/ 8 h 174"/>
                      <a:gd name="T16" fmla="*/ 41 w 48"/>
                      <a:gd name="T17" fmla="*/ 0 h 174"/>
                      <a:gd name="T18" fmla="*/ 12 w 48"/>
                      <a:gd name="T19" fmla="*/ 16 h 174"/>
                      <a:gd name="T20" fmla="*/ 16 w 48"/>
                      <a:gd name="T21" fmla="*/ 11 h 174"/>
                      <a:gd name="T22" fmla="*/ 33 w 48"/>
                      <a:gd name="T23" fmla="*/ 11 h 174"/>
                      <a:gd name="T24" fmla="*/ 37 w 48"/>
                      <a:gd name="T25" fmla="*/ 16 h 174"/>
                      <a:gd name="T26" fmla="*/ 37 w 48"/>
                      <a:gd name="T27" fmla="*/ 117 h 174"/>
                      <a:gd name="T28" fmla="*/ 33 w 48"/>
                      <a:gd name="T29" fmla="*/ 121 h 174"/>
                      <a:gd name="T30" fmla="*/ 16 w 48"/>
                      <a:gd name="T31" fmla="*/ 121 h 174"/>
                      <a:gd name="T32" fmla="*/ 12 w 48"/>
                      <a:gd name="T33" fmla="*/ 117 h 174"/>
                      <a:gd name="T34" fmla="*/ 12 w 48"/>
                      <a:gd name="T35" fmla="*/ 16 h 174"/>
                      <a:gd name="T36" fmla="*/ 12 w 48"/>
                      <a:gd name="T37" fmla="*/ 16 h 174"/>
                      <a:gd name="T38" fmla="*/ 24 w 48"/>
                      <a:gd name="T39" fmla="*/ 164 h 174"/>
                      <a:gd name="T40" fmla="*/ 12 w 48"/>
                      <a:gd name="T41" fmla="*/ 151 h 174"/>
                      <a:gd name="T42" fmla="*/ 24 w 48"/>
                      <a:gd name="T43" fmla="*/ 138 h 174"/>
                      <a:gd name="T44" fmla="*/ 37 w 48"/>
                      <a:gd name="T45" fmla="*/ 151 h 174"/>
                      <a:gd name="T46" fmla="*/ 24 w 48"/>
                      <a:gd name="T47" fmla="*/ 16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8" h="174">
                        <a:moveTo>
                          <a:pt x="41" y="0"/>
                        </a:moveTo>
                        <a:cubicBezTo>
                          <a:pt x="8" y="0"/>
                          <a:pt x="8" y="0"/>
                          <a:pt x="8" y="0"/>
                        </a:cubicBezTo>
                        <a:cubicBezTo>
                          <a:pt x="4" y="0"/>
                          <a:pt x="0" y="3"/>
                          <a:pt x="0" y="8"/>
                        </a:cubicBezTo>
                        <a:cubicBezTo>
                          <a:pt x="0" y="166"/>
                          <a:pt x="0" y="166"/>
                          <a:pt x="0" y="166"/>
                        </a:cubicBezTo>
                        <a:cubicBezTo>
                          <a:pt x="0" y="170"/>
                          <a:pt x="4" y="174"/>
                          <a:pt x="8" y="174"/>
                        </a:cubicBezTo>
                        <a:cubicBezTo>
                          <a:pt x="41" y="174"/>
                          <a:pt x="41" y="174"/>
                          <a:pt x="41" y="174"/>
                        </a:cubicBezTo>
                        <a:cubicBezTo>
                          <a:pt x="45" y="174"/>
                          <a:pt x="48" y="170"/>
                          <a:pt x="48" y="166"/>
                        </a:cubicBezTo>
                        <a:cubicBezTo>
                          <a:pt x="48" y="8"/>
                          <a:pt x="48" y="8"/>
                          <a:pt x="48" y="8"/>
                        </a:cubicBezTo>
                        <a:cubicBezTo>
                          <a:pt x="48" y="3"/>
                          <a:pt x="45" y="0"/>
                          <a:pt x="41" y="0"/>
                        </a:cubicBezTo>
                        <a:close/>
                        <a:moveTo>
                          <a:pt x="12" y="16"/>
                        </a:moveTo>
                        <a:cubicBezTo>
                          <a:pt x="12" y="13"/>
                          <a:pt x="14" y="11"/>
                          <a:pt x="16" y="11"/>
                        </a:cubicBezTo>
                        <a:cubicBezTo>
                          <a:pt x="33" y="11"/>
                          <a:pt x="33" y="11"/>
                          <a:pt x="33" y="11"/>
                        </a:cubicBezTo>
                        <a:cubicBezTo>
                          <a:pt x="35" y="11"/>
                          <a:pt x="37" y="13"/>
                          <a:pt x="37" y="16"/>
                        </a:cubicBezTo>
                        <a:cubicBezTo>
                          <a:pt x="37" y="117"/>
                          <a:pt x="37" y="117"/>
                          <a:pt x="37" y="117"/>
                        </a:cubicBezTo>
                        <a:cubicBezTo>
                          <a:pt x="37" y="119"/>
                          <a:pt x="35" y="121"/>
                          <a:pt x="33" y="121"/>
                        </a:cubicBezTo>
                        <a:cubicBezTo>
                          <a:pt x="16" y="121"/>
                          <a:pt x="16" y="121"/>
                          <a:pt x="16" y="121"/>
                        </a:cubicBezTo>
                        <a:cubicBezTo>
                          <a:pt x="14" y="121"/>
                          <a:pt x="12" y="119"/>
                          <a:pt x="12" y="117"/>
                        </a:cubicBezTo>
                        <a:cubicBezTo>
                          <a:pt x="12" y="16"/>
                          <a:pt x="12" y="16"/>
                          <a:pt x="12" y="16"/>
                        </a:cubicBezTo>
                        <a:cubicBezTo>
                          <a:pt x="12" y="16"/>
                          <a:pt x="12" y="16"/>
                          <a:pt x="12" y="16"/>
                        </a:cubicBezTo>
                        <a:close/>
                        <a:moveTo>
                          <a:pt x="24" y="164"/>
                        </a:moveTo>
                        <a:cubicBezTo>
                          <a:pt x="17" y="164"/>
                          <a:pt x="12" y="158"/>
                          <a:pt x="12" y="151"/>
                        </a:cubicBezTo>
                        <a:cubicBezTo>
                          <a:pt x="12" y="144"/>
                          <a:pt x="17" y="138"/>
                          <a:pt x="24" y="138"/>
                        </a:cubicBezTo>
                        <a:cubicBezTo>
                          <a:pt x="31" y="138"/>
                          <a:pt x="37" y="144"/>
                          <a:pt x="37" y="151"/>
                        </a:cubicBezTo>
                        <a:cubicBezTo>
                          <a:pt x="37" y="158"/>
                          <a:pt x="31" y="164"/>
                          <a:pt x="24" y="164"/>
                        </a:cubicBezTo>
                        <a:close/>
                      </a:path>
                    </a:pathLst>
                  </a:custGeom>
                  <a:solidFill>
                    <a:srgbClr val="DA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70" name="Oval 209"/>
                  <p:cNvSpPr>
                    <a:spLocks noChangeArrowheads="1"/>
                  </p:cNvSpPr>
                  <p:nvPr/>
                </p:nvSpPr>
                <p:spPr bwMode="auto">
                  <a:xfrm rot="5400000">
                    <a:off x="11563340" y="653114"/>
                    <a:ext cx="13098" cy="16600"/>
                  </a:xfrm>
                  <a:prstGeom prst="ellipse">
                    <a:avLst/>
                  </a:prstGeom>
                  <a:solidFill>
                    <a:srgbClr val="DA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grpSp>
            <p:sp>
              <p:nvSpPr>
                <p:cNvPr id="613" name="Freeform 210"/>
                <p:cNvSpPr>
                  <a:spLocks/>
                </p:cNvSpPr>
                <p:nvPr/>
              </p:nvSpPr>
              <p:spPr bwMode="auto">
                <a:xfrm>
                  <a:off x="10269655" y="1884130"/>
                  <a:ext cx="174640" cy="98093"/>
                </a:xfrm>
                <a:custGeom>
                  <a:avLst/>
                  <a:gdLst>
                    <a:gd name="T0" fmla="*/ 117 w 159"/>
                    <a:gd name="T1" fmla="*/ 86 h 86"/>
                    <a:gd name="T2" fmla="*/ 159 w 159"/>
                    <a:gd name="T3" fmla="*/ 43 h 86"/>
                    <a:gd name="T4" fmla="*/ 117 w 159"/>
                    <a:gd name="T5" fmla="*/ 0 h 86"/>
                    <a:gd name="T6" fmla="*/ 80 w 159"/>
                    <a:gd name="T7" fmla="*/ 21 h 86"/>
                    <a:gd name="T8" fmla="*/ 66 w 159"/>
                    <a:gd name="T9" fmla="*/ 18 h 86"/>
                    <a:gd name="T10" fmla="*/ 35 w 159"/>
                    <a:gd name="T11" fmla="*/ 36 h 86"/>
                    <a:gd name="T12" fmla="*/ 26 w 159"/>
                    <a:gd name="T13" fmla="*/ 34 h 86"/>
                    <a:gd name="T14" fmla="*/ 0 w 159"/>
                    <a:gd name="T15" fmla="*/ 60 h 86"/>
                    <a:gd name="T16" fmla="*/ 26 w 159"/>
                    <a:gd name="T17" fmla="*/ 86 h 86"/>
                    <a:gd name="T18" fmla="*/ 117 w 159"/>
                    <a:gd name="T19" fmla="*/ 86 h 86"/>
                    <a:gd name="T20" fmla="*/ 117 w 159"/>
                    <a:gd name="T2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86">
                      <a:moveTo>
                        <a:pt x="117" y="86"/>
                      </a:moveTo>
                      <a:cubicBezTo>
                        <a:pt x="140" y="86"/>
                        <a:pt x="159" y="66"/>
                        <a:pt x="159" y="43"/>
                      </a:cubicBezTo>
                      <a:cubicBezTo>
                        <a:pt x="159" y="20"/>
                        <a:pt x="140" y="0"/>
                        <a:pt x="117" y="0"/>
                      </a:cubicBezTo>
                      <a:cubicBezTo>
                        <a:pt x="101" y="0"/>
                        <a:pt x="88" y="9"/>
                        <a:pt x="80" y="21"/>
                      </a:cubicBezTo>
                      <a:cubicBezTo>
                        <a:pt x="76" y="19"/>
                        <a:pt x="71" y="18"/>
                        <a:pt x="66" y="18"/>
                      </a:cubicBezTo>
                      <a:cubicBezTo>
                        <a:pt x="52" y="18"/>
                        <a:pt x="41" y="25"/>
                        <a:pt x="35" y="36"/>
                      </a:cubicBezTo>
                      <a:cubicBezTo>
                        <a:pt x="32" y="35"/>
                        <a:pt x="29" y="34"/>
                        <a:pt x="26" y="34"/>
                      </a:cubicBezTo>
                      <a:cubicBezTo>
                        <a:pt x="12" y="34"/>
                        <a:pt x="0" y="46"/>
                        <a:pt x="0" y="60"/>
                      </a:cubicBezTo>
                      <a:cubicBezTo>
                        <a:pt x="0" y="74"/>
                        <a:pt x="12" y="86"/>
                        <a:pt x="26" y="86"/>
                      </a:cubicBezTo>
                      <a:cubicBezTo>
                        <a:pt x="117" y="86"/>
                        <a:pt x="117" y="86"/>
                        <a:pt x="117" y="86"/>
                      </a:cubicBezTo>
                      <a:cubicBezTo>
                        <a:pt x="117" y="86"/>
                        <a:pt x="117" y="86"/>
                        <a:pt x="117" y="86"/>
                      </a:cubicBez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14" name="Freeform 211"/>
                <p:cNvSpPr>
                  <a:spLocks noEditPoints="1"/>
                </p:cNvSpPr>
                <p:nvPr/>
              </p:nvSpPr>
              <p:spPr bwMode="auto">
                <a:xfrm>
                  <a:off x="10830108" y="1154290"/>
                  <a:ext cx="228487" cy="108658"/>
                </a:xfrm>
                <a:custGeom>
                  <a:avLst/>
                  <a:gdLst>
                    <a:gd name="T0" fmla="*/ 157 w 208"/>
                    <a:gd name="T1" fmla="*/ 95 h 95"/>
                    <a:gd name="T2" fmla="*/ 147 w 208"/>
                    <a:gd name="T3" fmla="*/ 95 h 95"/>
                    <a:gd name="T4" fmla="*/ 114 w 208"/>
                    <a:gd name="T5" fmla="*/ 63 h 95"/>
                    <a:gd name="T6" fmla="*/ 112 w 208"/>
                    <a:gd name="T7" fmla="*/ 63 h 95"/>
                    <a:gd name="T8" fmla="*/ 106 w 208"/>
                    <a:gd name="T9" fmla="*/ 51 h 95"/>
                    <a:gd name="T10" fmla="*/ 114 w 208"/>
                    <a:gd name="T11" fmla="*/ 51 h 95"/>
                    <a:gd name="T12" fmla="*/ 157 w 208"/>
                    <a:gd name="T13" fmla="*/ 95 h 95"/>
                    <a:gd name="T14" fmla="*/ 114 w 208"/>
                    <a:gd name="T15" fmla="*/ 0 h 95"/>
                    <a:gd name="T16" fmla="*/ 47 w 208"/>
                    <a:gd name="T17" fmla="*/ 27 h 95"/>
                    <a:gd name="T18" fmla="*/ 57 w 208"/>
                    <a:gd name="T19" fmla="*/ 25 h 95"/>
                    <a:gd name="T20" fmla="*/ 65 w 208"/>
                    <a:gd name="T21" fmla="*/ 27 h 95"/>
                    <a:gd name="T22" fmla="*/ 114 w 208"/>
                    <a:gd name="T23" fmla="*/ 12 h 95"/>
                    <a:gd name="T24" fmla="*/ 198 w 208"/>
                    <a:gd name="T25" fmla="*/ 95 h 95"/>
                    <a:gd name="T26" fmla="*/ 208 w 208"/>
                    <a:gd name="T27" fmla="*/ 95 h 95"/>
                    <a:gd name="T28" fmla="*/ 114 w 208"/>
                    <a:gd name="T29" fmla="*/ 0 h 95"/>
                    <a:gd name="T30" fmla="*/ 114 w 208"/>
                    <a:gd name="T31" fmla="*/ 27 h 95"/>
                    <a:gd name="T32" fmla="*/ 78 w 208"/>
                    <a:gd name="T33" fmla="*/ 35 h 95"/>
                    <a:gd name="T34" fmla="*/ 80 w 208"/>
                    <a:gd name="T35" fmla="*/ 39 h 95"/>
                    <a:gd name="T36" fmla="*/ 80 w 208"/>
                    <a:gd name="T37" fmla="*/ 39 h 95"/>
                    <a:gd name="T38" fmla="*/ 94 w 208"/>
                    <a:gd name="T39" fmla="*/ 41 h 95"/>
                    <a:gd name="T40" fmla="*/ 114 w 208"/>
                    <a:gd name="T41" fmla="*/ 37 h 95"/>
                    <a:gd name="T42" fmla="*/ 171 w 208"/>
                    <a:gd name="T43" fmla="*/ 95 h 95"/>
                    <a:gd name="T44" fmla="*/ 183 w 208"/>
                    <a:gd name="T45" fmla="*/ 95 h 95"/>
                    <a:gd name="T46" fmla="*/ 114 w 208"/>
                    <a:gd name="T47" fmla="*/ 27 h 95"/>
                    <a:gd name="T48" fmla="*/ 0 w 208"/>
                    <a:gd name="T49" fmla="*/ 79 h 95"/>
                    <a:gd name="T50" fmla="*/ 17 w 208"/>
                    <a:gd name="T51" fmla="*/ 93 h 95"/>
                    <a:gd name="T52" fmla="*/ 19 w 208"/>
                    <a:gd name="T53" fmla="*/ 93 h 95"/>
                    <a:gd name="T54" fmla="*/ 84 w 208"/>
                    <a:gd name="T55" fmla="*/ 93 h 95"/>
                    <a:gd name="T56" fmla="*/ 104 w 208"/>
                    <a:gd name="T57" fmla="*/ 71 h 95"/>
                    <a:gd name="T58" fmla="*/ 80 w 208"/>
                    <a:gd name="T59" fmla="*/ 49 h 95"/>
                    <a:gd name="T60" fmla="*/ 74 w 208"/>
                    <a:gd name="T61" fmla="*/ 49 h 95"/>
                    <a:gd name="T62" fmla="*/ 57 w 208"/>
                    <a:gd name="T63" fmla="*/ 35 h 95"/>
                    <a:gd name="T64" fmla="*/ 37 w 208"/>
                    <a:gd name="T65" fmla="*/ 53 h 95"/>
                    <a:gd name="T66" fmla="*/ 37 w 208"/>
                    <a:gd name="T67" fmla="*/ 57 h 95"/>
                    <a:gd name="T68" fmla="*/ 31 w 208"/>
                    <a:gd name="T69" fmla="*/ 55 h 95"/>
                    <a:gd name="T70" fmla="*/ 19 w 208"/>
                    <a:gd name="T71" fmla="*/ 63 h 95"/>
                    <a:gd name="T72" fmla="*/ 17 w 208"/>
                    <a:gd name="T73" fmla="*/ 63 h 95"/>
                    <a:gd name="T74" fmla="*/ 0 w 208"/>
                    <a:gd name="T75" fmla="*/ 7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8" h="95">
                      <a:moveTo>
                        <a:pt x="157" y="95"/>
                      </a:moveTo>
                      <a:cubicBezTo>
                        <a:pt x="147" y="95"/>
                        <a:pt x="147" y="95"/>
                        <a:pt x="147" y="95"/>
                      </a:cubicBezTo>
                      <a:cubicBezTo>
                        <a:pt x="147" y="77"/>
                        <a:pt x="131" y="63"/>
                        <a:pt x="114" y="63"/>
                      </a:cubicBezTo>
                      <a:cubicBezTo>
                        <a:pt x="112" y="63"/>
                        <a:pt x="112" y="63"/>
                        <a:pt x="112" y="63"/>
                      </a:cubicBezTo>
                      <a:cubicBezTo>
                        <a:pt x="110" y="59"/>
                        <a:pt x="108" y="55"/>
                        <a:pt x="106" y="51"/>
                      </a:cubicBezTo>
                      <a:cubicBezTo>
                        <a:pt x="108" y="51"/>
                        <a:pt x="110" y="51"/>
                        <a:pt x="114" y="51"/>
                      </a:cubicBezTo>
                      <a:cubicBezTo>
                        <a:pt x="139" y="51"/>
                        <a:pt x="157" y="71"/>
                        <a:pt x="157" y="95"/>
                      </a:cubicBezTo>
                      <a:close/>
                      <a:moveTo>
                        <a:pt x="114" y="0"/>
                      </a:moveTo>
                      <a:cubicBezTo>
                        <a:pt x="88" y="0"/>
                        <a:pt x="65" y="10"/>
                        <a:pt x="47" y="27"/>
                      </a:cubicBezTo>
                      <a:cubicBezTo>
                        <a:pt x="51" y="27"/>
                        <a:pt x="53" y="25"/>
                        <a:pt x="57" y="25"/>
                      </a:cubicBezTo>
                      <a:cubicBezTo>
                        <a:pt x="59" y="25"/>
                        <a:pt x="63" y="27"/>
                        <a:pt x="65" y="27"/>
                      </a:cubicBezTo>
                      <a:cubicBezTo>
                        <a:pt x="80" y="18"/>
                        <a:pt x="96" y="12"/>
                        <a:pt x="114" y="12"/>
                      </a:cubicBezTo>
                      <a:cubicBezTo>
                        <a:pt x="159" y="12"/>
                        <a:pt x="198" y="49"/>
                        <a:pt x="198" y="95"/>
                      </a:cubicBezTo>
                      <a:cubicBezTo>
                        <a:pt x="208" y="95"/>
                        <a:pt x="208" y="95"/>
                        <a:pt x="208" y="95"/>
                      </a:cubicBezTo>
                      <a:cubicBezTo>
                        <a:pt x="208" y="43"/>
                        <a:pt x="165" y="0"/>
                        <a:pt x="114" y="0"/>
                      </a:cubicBezTo>
                      <a:close/>
                      <a:moveTo>
                        <a:pt x="114" y="27"/>
                      </a:moveTo>
                      <a:cubicBezTo>
                        <a:pt x="100" y="27"/>
                        <a:pt x="88" y="29"/>
                        <a:pt x="78" y="35"/>
                      </a:cubicBezTo>
                      <a:cubicBezTo>
                        <a:pt x="80" y="37"/>
                        <a:pt x="80" y="37"/>
                        <a:pt x="80" y="39"/>
                      </a:cubicBezTo>
                      <a:cubicBezTo>
                        <a:pt x="80" y="39"/>
                        <a:pt x="80" y="39"/>
                        <a:pt x="80" y="39"/>
                      </a:cubicBezTo>
                      <a:cubicBezTo>
                        <a:pt x="86" y="39"/>
                        <a:pt x="90" y="39"/>
                        <a:pt x="94" y="41"/>
                      </a:cubicBezTo>
                      <a:cubicBezTo>
                        <a:pt x="100" y="39"/>
                        <a:pt x="106" y="37"/>
                        <a:pt x="114" y="37"/>
                      </a:cubicBezTo>
                      <a:cubicBezTo>
                        <a:pt x="145" y="37"/>
                        <a:pt x="171" y="63"/>
                        <a:pt x="171" y="95"/>
                      </a:cubicBezTo>
                      <a:cubicBezTo>
                        <a:pt x="183" y="95"/>
                        <a:pt x="183" y="95"/>
                        <a:pt x="183" y="95"/>
                      </a:cubicBezTo>
                      <a:cubicBezTo>
                        <a:pt x="183" y="57"/>
                        <a:pt x="153" y="27"/>
                        <a:pt x="114" y="27"/>
                      </a:cubicBezTo>
                      <a:close/>
                      <a:moveTo>
                        <a:pt x="0" y="79"/>
                      </a:moveTo>
                      <a:cubicBezTo>
                        <a:pt x="0" y="87"/>
                        <a:pt x="7" y="93"/>
                        <a:pt x="17" y="93"/>
                      </a:cubicBezTo>
                      <a:cubicBezTo>
                        <a:pt x="19" y="93"/>
                        <a:pt x="19" y="93"/>
                        <a:pt x="19" y="93"/>
                      </a:cubicBezTo>
                      <a:cubicBezTo>
                        <a:pt x="84" y="93"/>
                        <a:pt x="84" y="93"/>
                        <a:pt x="84" y="93"/>
                      </a:cubicBezTo>
                      <a:cubicBezTo>
                        <a:pt x="94" y="93"/>
                        <a:pt x="104" y="83"/>
                        <a:pt x="104" y="71"/>
                      </a:cubicBezTo>
                      <a:cubicBezTo>
                        <a:pt x="104" y="59"/>
                        <a:pt x="94" y="49"/>
                        <a:pt x="80" y="49"/>
                      </a:cubicBezTo>
                      <a:cubicBezTo>
                        <a:pt x="78" y="49"/>
                        <a:pt x="76" y="49"/>
                        <a:pt x="74" y="49"/>
                      </a:cubicBezTo>
                      <a:cubicBezTo>
                        <a:pt x="72" y="41"/>
                        <a:pt x="65" y="35"/>
                        <a:pt x="57" y="35"/>
                      </a:cubicBezTo>
                      <a:cubicBezTo>
                        <a:pt x="45" y="35"/>
                        <a:pt x="37" y="43"/>
                        <a:pt x="37" y="53"/>
                      </a:cubicBezTo>
                      <a:cubicBezTo>
                        <a:pt x="37" y="55"/>
                        <a:pt x="37" y="55"/>
                        <a:pt x="37" y="57"/>
                      </a:cubicBezTo>
                      <a:cubicBezTo>
                        <a:pt x="35" y="55"/>
                        <a:pt x="33" y="55"/>
                        <a:pt x="31" y="55"/>
                      </a:cubicBezTo>
                      <a:cubicBezTo>
                        <a:pt x="27" y="55"/>
                        <a:pt x="21" y="59"/>
                        <a:pt x="19" y="63"/>
                      </a:cubicBezTo>
                      <a:cubicBezTo>
                        <a:pt x="17" y="63"/>
                        <a:pt x="17" y="63"/>
                        <a:pt x="17" y="63"/>
                      </a:cubicBezTo>
                      <a:cubicBezTo>
                        <a:pt x="7" y="63"/>
                        <a:pt x="0" y="69"/>
                        <a:pt x="0" y="79"/>
                      </a:cubicBezTo>
                      <a:close/>
                    </a:path>
                  </a:pathLst>
                </a:custGeom>
                <a:solidFill>
                  <a:srgbClr val="028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15" name="Freeform 212"/>
                <p:cNvSpPr>
                  <a:spLocks noEditPoints="1"/>
                </p:cNvSpPr>
                <p:nvPr/>
              </p:nvSpPr>
              <p:spPr bwMode="auto">
                <a:xfrm rot="5400000">
                  <a:off x="11526332" y="832802"/>
                  <a:ext cx="256138" cy="264099"/>
                </a:xfrm>
                <a:custGeom>
                  <a:avLst/>
                  <a:gdLst>
                    <a:gd name="T0" fmla="*/ 86 w 176"/>
                    <a:gd name="T1" fmla="*/ 78 h 175"/>
                    <a:gd name="T2" fmla="*/ 92 w 176"/>
                    <a:gd name="T3" fmla="*/ 48 h 175"/>
                    <a:gd name="T4" fmla="*/ 92 w 176"/>
                    <a:gd name="T5" fmla="*/ 50 h 175"/>
                    <a:gd name="T6" fmla="*/ 101 w 176"/>
                    <a:gd name="T7" fmla="*/ 53 h 175"/>
                    <a:gd name="T8" fmla="*/ 109 w 176"/>
                    <a:gd name="T9" fmla="*/ 67 h 175"/>
                    <a:gd name="T10" fmla="*/ 131 w 176"/>
                    <a:gd name="T11" fmla="*/ 40 h 175"/>
                    <a:gd name="T12" fmla="*/ 92 w 176"/>
                    <a:gd name="T13" fmla="*/ 47 h 175"/>
                    <a:gd name="T14" fmla="*/ 92 w 176"/>
                    <a:gd name="T15" fmla="*/ 48 h 175"/>
                    <a:gd name="T16" fmla="*/ 101 w 176"/>
                    <a:gd name="T17" fmla="*/ 50 h 175"/>
                    <a:gd name="T18" fmla="*/ 111 w 176"/>
                    <a:gd name="T19" fmla="*/ 53 h 175"/>
                    <a:gd name="T20" fmla="*/ 111 w 176"/>
                    <a:gd name="T21" fmla="*/ 51 h 175"/>
                    <a:gd name="T22" fmla="*/ 111 w 176"/>
                    <a:gd name="T23" fmla="*/ 53 h 175"/>
                    <a:gd name="T24" fmla="*/ 110 w 176"/>
                    <a:gd name="T25" fmla="*/ 53 h 175"/>
                    <a:gd name="T26" fmla="*/ 111 w 176"/>
                    <a:gd name="T27" fmla="*/ 51 h 175"/>
                    <a:gd name="T28" fmla="*/ 110 w 176"/>
                    <a:gd name="T29" fmla="*/ 53 h 175"/>
                    <a:gd name="T30" fmla="*/ 51 w 176"/>
                    <a:gd name="T31" fmla="*/ 102 h 175"/>
                    <a:gd name="T32" fmla="*/ 83 w 176"/>
                    <a:gd name="T33" fmla="*/ 93 h 175"/>
                    <a:gd name="T34" fmla="*/ 49 w 176"/>
                    <a:gd name="T35" fmla="*/ 83 h 175"/>
                    <a:gd name="T36" fmla="*/ 30 w 176"/>
                    <a:gd name="T37" fmla="*/ 87 h 175"/>
                    <a:gd name="T38" fmla="*/ 44 w 176"/>
                    <a:gd name="T39" fmla="*/ 103 h 175"/>
                    <a:gd name="T40" fmla="*/ 51 w 176"/>
                    <a:gd name="T41" fmla="*/ 102 h 175"/>
                    <a:gd name="T42" fmla="*/ 51 w 176"/>
                    <a:gd name="T43" fmla="*/ 92 h 175"/>
                    <a:gd name="T44" fmla="*/ 45 w 176"/>
                    <a:gd name="T45" fmla="*/ 83 h 175"/>
                    <a:gd name="T46" fmla="*/ 46 w 176"/>
                    <a:gd name="T47" fmla="*/ 84 h 175"/>
                    <a:gd name="T48" fmla="*/ 44 w 176"/>
                    <a:gd name="T49" fmla="*/ 86 h 175"/>
                    <a:gd name="T50" fmla="*/ 45 w 176"/>
                    <a:gd name="T51" fmla="*/ 84 h 175"/>
                    <a:gd name="T52" fmla="*/ 48 w 176"/>
                    <a:gd name="T53" fmla="*/ 84 h 175"/>
                    <a:gd name="T54" fmla="*/ 45 w 176"/>
                    <a:gd name="T55" fmla="*/ 84 h 175"/>
                    <a:gd name="T56" fmla="*/ 46 w 176"/>
                    <a:gd name="T57" fmla="*/ 86 h 175"/>
                    <a:gd name="T58" fmla="*/ 45 w 176"/>
                    <a:gd name="T59" fmla="*/ 84 h 175"/>
                    <a:gd name="T60" fmla="*/ 118 w 176"/>
                    <a:gd name="T61" fmla="*/ 110 h 175"/>
                    <a:gd name="T62" fmla="*/ 95 w 176"/>
                    <a:gd name="T63" fmla="*/ 87 h 175"/>
                    <a:gd name="T64" fmla="*/ 123 w 176"/>
                    <a:gd name="T65" fmla="*/ 126 h 175"/>
                    <a:gd name="T66" fmla="*/ 103 w 176"/>
                    <a:gd name="T67" fmla="*/ 125 h 175"/>
                    <a:gd name="T68" fmla="*/ 95 w 176"/>
                    <a:gd name="T69" fmla="*/ 151 h 175"/>
                    <a:gd name="T70" fmla="*/ 118 w 176"/>
                    <a:gd name="T71" fmla="*/ 110 h 175"/>
                    <a:gd name="T72" fmla="*/ 110 w 176"/>
                    <a:gd name="T73" fmla="*/ 115 h 175"/>
                    <a:gd name="T74" fmla="*/ 105 w 176"/>
                    <a:gd name="T75" fmla="*/ 124 h 175"/>
                    <a:gd name="T76" fmla="*/ 107 w 176"/>
                    <a:gd name="T77" fmla="*/ 125 h 175"/>
                    <a:gd name="T78" fmla="*/ 112 w 176"/>
                    <a:gd name="T79" fmla="*/ 117 h 175"/>
                    <a:gd name="T80" fmla="*/ 108 w 176"/>
                    <a:gd name="T81" fmla="*/ 125 h 175"/>
                    <a:gd name="T82" fmla="*/ 107 w 176"/>
                    <a:gd name="T83" fmla="*/ 125 h 175"/>
                    <a:gd name="T84" fmla="*/ 112 w 176"/>
                    <a:gd name="T85" fmla="*/ 117 h 175"/>
                    <a:gd name="T86" fmla="*/ 107 w 176"/>
                    <a:gd name="T87" fmla="*/ 125 h 175"/>
                    <a:gd name="T88" fmla="*/ 105 w 176"/>
                    <a:gd name="T89" fmla="*/ 124 h 175"/>
                    <a:gd name="T90" fmla="*/ 92 w 176"/>
                    <a:gd name="T91" fmla="*/ 86 h 175"/>
                    <a:gd name="T92" fmla="*/ 86 w 176"/>
                    <a:gd name="T93" fmla="*/ 80 h 175"/>
                    <a:gd name="T94" fmla="*/ 82 w 176"/>
                    <a:gd name="T95" fmla="*/ 90 h 175"/>
                    <a:gd name="T96" fmla="*/ 80 w 176"/>
                    <a:gd name="T97" fmla="*/ 87 h 175"/>
                    <a:gd name="T98" fmla="*/ 95 w 176"/>
                    <a:gd name="T99" fmla="*/ 90 h 175"/>
                    <a:gd name="T100" fmla="*/ 86 w 176"/>
                    <a:gd name="T101" fmla="*/ 80 h 175"/>
                    <a:gd name="T102" fmla="*/ 80 w 176"/>
                    <a:gd name="T103" fmla="*/ 91 h 175"/>
                    <a:gd name="T104" fmla="*/ 95 w 176"/>
                    <a:gd name="T105" fmla="*/ 90 h 175"/>
                    <a:gd name="T106" fmla="*/ 24 w 176"/>
                    <a:gd name="T107" fmla="*/ 130 h 175"/>
                    <a:gd name="T108" fmla="*/ 29 w 176"/>
                    <a:gd name="T109" fmla="*/ 38 h 175"/>
                    <a:gd name="T110" fmla="*/ 117 w 176"/>
                    <a:gd name="T111" fmla="*/ 16 h 175"/>
                    <a:gd name="T112" fmla="*/ 164 w 176"/>
                    <a:gd name="T113" fmla="*/ 95 h 175"/>
                    <a:gd name="T114" fmla="*/ 95 w 176"/>
                    <a:gd name="T115" fmla="*/ 164 h 175"/>
                    <a:gd name="T116" fmla="*/ 156 w 176"/>
                    <a:gd name="T117" fmla="*/ 142 h 175"/>
                    <a:gd name="T118" fmla="*/ 161 w 176"/>
                    <a:gd name="T119" fmla="*/ 38 h 175"/>
                    <a:gd name="T120" fmla="*/ 62 w 176"/>
                    <a:gd name="T121" fmla="*/ 4 h 175"/>
                    <a:gd name="T122" fmla="*/ 0 w 176"/>
                    <a:gd name="T123" fmla="*/ 87 h 175"/>
                    <a:gd name="T124" fmla="*/ 70 w 176"/>
                    <a:gd name="T125" fmla="*/ 17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 h="175">
                      <a:moveTo>
                        <a:pt x="92" y="48"/>
                      </a:moveTo>
                      <a:lnTo>
                        <a:pt x="92" y="50"/>
                      </a:lnTo>
                      <a:lnTo>
                        <a:pt x="92" y="50"/>
                      </a:lnTo>
                      <a:lnTo>
                        <a:pt x="86" y="50"/>
                      </a:lnTo>
                      <a:lnTo>
                        <a:pt x="80" y="51"/>
                      </a:lnTo>
                      <a:lnTo>
                        <a:pt x="77" y="55"/>
                      </a:lnTo>
                      <a:lnTo>
                        <a:pt x="74" y="61"/>
                      </a:lnTo>
                      <a:lnTo>
                        <a:pt x="74" y="61"/>
                      </a:lnTo>
                      <a:lnTo>
                        <a:pt x="74" y="67"/>
                      </a:lnTo>
                      <a:lnTo>
                        <a:pt x="77" y="72"/>
                      </a:lnTo>
                      <a:lnTo>
                        <a:pt x="77" y="72"/>
                      </a:lnTo>
                      <a:lnTo>
                        <a:pt x="80" y="76"/>
                      </a:lnTo>
                      <a:lnTo>
                        <a:pt x="86" y="78"/>
                      </a:lnTo>
                      <a:lnTo>
                        <a:pt x="86" y="78"/>
                      </a:lnTo>
                      <a:lnTo>
                        <a:pt x="84" y="80"/>
                      </a:lnTo>
                      <a:lnTo>
                        <a:pt x="84" y="80"/>
                      </a:lnTo>
                      <a:lnTo>
                        <a:pt x="78" y="76"/>
                      </a:lnTo>
                      <a:lnTo>
                        <a:pt x="74" y="72"/>
                      </a:lnTo>
                      <a:lnTo>
                        <a:pt x="73" y="67"/>
                      </a:lnTo>
                      <a:lnTo>
                        <a:pt x="73" y="61"/>
                      </a:lnTo>
                      <a:lnTo>
                        <a:pt x="73" y="61"/>
                      </a:lnTo>
                      <a:lnTo>
                        <a:pt x="76" y="55"/>
                      </a:lnTo>
                      <a:lnTo>
                        <a:pt x="80" y="50"/>
                      </a:lnTo>
                      <a:lnTo>
                        <a:pt x="86" y="47"/>
                      </a:lnTo>
                      <a:lnTo>
                        <a:pt x="92" y="47"/>
                      </a:lnTo>
                      <a:lnTo>
                        <a:pt x="92" y="48"/>
                      </a:lnTo>
                      <a:lnTo>
                        <a:pt x="92" y="48"/>
                      </a:lnTo>
                      <a:lnTo>
                        <a:pt x="92" y="48"/>
                      </a:lnTo>
                      <a:close/>
                      <a:moveTo>
                        <a:pt x="86" y="80"/>
                      </a:moveTo>
                      <a:lnTo>
                        <a:pt x="86" y="80"/>
                      </a:lnTo>
                      <a:lnTo>
                        <a:pt x="86" y="80"/>
                      </a:lnTo>
                      <a:lnTo>
                        <a:pt x="86" y="80"/>
                      </a:lnTo>
                      <a:lnTo>
                        <a:pt x="86" y="80"/>
                      </a:lnTo>
                      <a:lnTo>
                        <a:pt x="86" y="80"/>
                      </a:lnTo>
                      <a:lnTo>
                        <a:pt x="86" y="80"/>
                      </a:lnTo>
                      <a:lnTo>
                        <a:pt x="86" y="80"/>
                      </a:lnTo>
                      <a:close/>
                      <a:moveTo>
                        <a:pt x="101" y="53"/>
                      </a:moveTo>
                      <a:lnTo>
                        <a:pt x="101" y="53"/>
                      </a:lnTo>
                      <a:lnTo>
                        <a:pt x="98" y="51"/>
                      </a:lnTo>
                      <a:lnTo>
                        <a:pt x="97" y="50"/>
                      </a:lnTo>
                      <a:lnTo>
                        <a:pt x="92" y="48"/>
                      </a:lnTo>
                      <a:lnTo>
                        <a:pt x="92" y="50"/>
                      </a:lnTo>
                      <a:lnTo>
                        <a:pt x="92" y="50"/>
                      </a:lnTo>
                      <a:lnTo>
                        <a:pt x="92" y="50"/>
                      </a:lnTo>
                      <a:lnTo>
                        <a:pt x="92" y="50"/>
                      </a:lnTo>
                      <a:lnTo>
                        <a:pt x="92" y="50"/>
                      </a:lnTo>
                      <a:lnTo>
                        <a:pt x="92" y="55"/>
                      </a:lnTo>
                      <a:lnTo>
                        <a:pt x="93" y="59"/>
                      </a:lnTo>
                      <a:lnTo>
                        <a:pt x="98" y="63"/>
                      </a:lnTo>
                      <a:lnTo>
                        <a:pt x="103" y="65"/>
                      </a:lnTo>
                      <a:lnTo>
                        <a:pt x="108" y="67"/>
                      </a:lnTo>
                      <a:lnTo>
                        <a:pt x="108" y="67"/>
                      </a:lnTo>
                      <a:lnTo>
                        <a:pt x="109" y="55"/>
                      </a:lnTo>
                      <a:lnTo>
                        <a:pt x="101" y="53"/>
                      </a:lnTo>
                      <a:lnTo>
                        <a:pt x="101" y="53"/>
                      </a:lnTo>
                      <a:lnTo>
                        <a:pt x="101" y="53"/>
                      </a:lnTo>
                      <a:close/>
                      <a:moveTo>
                        <a:pt x="131" y="40"/>
                      </a:moveTo>
                      <a:lnTo>
                        <a:pt x="116" y="37"/>
                      </a:lnTo>
                      <a:lnTo>
                        <a:pt x="116" y="37"/>
                      </a:lnTo>
                      <a:lnTo>
                        <a:pt x="112" y="50"/>
                      </a:lnTo>
                      <a:lnTo>
                        <a:pt x="112" y="50"/>
                      </a:lnTo>
                      <a:lnTo>
                        <a:pt x="112" y="50"/>
                      </a:lnTo>
                      <a:lnTo>
                        <a:pt x="114" y="50"/>
                      </a:lnTo>
                      <a:lnTo>
                        <a:pt x="114" y="53"/>
                      </a:lnTo>
                      <a:lnTo>
                        <a:pt x="114" y="53"/>
                      </a:lnTo>
                      <a:lnTo>
                        <a:pt x="112" y="55"/>
                      </a:lnTo>
                      <a:lnTo>
                        <a:pt x="110" y="55"/>
                      </a:lnTo>
                      <a:lnTo>
                        <a:pt x="110" y="55"/>
                      </a:lnTo>
                      <a:lnTo>
                        <a:pt x="110" y="55"/>
                      </a:lnTo>
                      <a:lnTo>
                        <a:pt x="109" y="67"/>
                      </a:lnTo>
                      <a:lnTo>
                        <a:pt x="124" y="70"/>
                      </a:lnTo>
                      <a:lnTo>
                        <a:pt x="124" y="70"/>
                      </a:lnTo>
                      <a:lnTo>
                        <a:pt x="130" y="71"/>
                      </a:lnTo>
                      <a:lnTo>
                        <a:pt x="135" y="68"/>
                      </a:lnTo>
                      <a:lnTo>
                        <a:pt x="138" y="65"/>
                      </a:lnTo>
                      <a:lnTo>
                        <a:pt x="141" y="59"/>
                      </a:lnTo>
                      <a:lnTo>
                        <a:pt x="142" y="59"/>
                      </a:lnTo>
                      <a:lnTo>
                        <a:pt x="142" y="59"/>
                      </a:lnTo>
                      <a:lnTo>
                        <a:pt x="142" y="53"/>
                      </a:lnTo>
                      <a:lnTo>
                        <a:pt x="140" y="48"/>
                      </a:lnTo>
                      <a:lnTo>
                        <a:pt x="136" y="43"/>
                      </a:lnTo>
                      <a:lnTo>
                        <a:pt x="131" y="40"/>
                      </a:lnTo>
                      <a:lnTo>
                        <a:pt x="131" y="40"/>
                      </a:lnTo>
                      <a:lnTo>
                        <a:pt x="131" y="40"/>
                      </a:lnTo>
                      <a:close/>
                      <a:moveTo>
                        <a:pt x="92" y="47"/>
                      </a:moveTo>
                      <a:lnTo>
                        <a:pt x="98" y="48"/>
                      </a:lnTo>
                      <a:lnTo>
                        <a:pt x="98" y="48"/>
                      </a:lnTo>
                      <a:lnTo>
                        <a:pt x="99" y="47"/>
                      </a:lnTo>
                      <a:lnTo>
                        <a:pt x="102" y="47"/>
                      </a:lnTo>
                      <a:lnTo>
                        <a:pt x="111" y="50"/>
                      </a:lnTo>
                      <a:lnTo>
                        <a:pt x="111" y="50"/>
                      </a:lnTo>
                      <a:lnTo>
                        <a:pt x="114" y="37"/>
                      </a:lnTo>
                      <a:lnTo>
                        <a:pt x="110" y="36"/>
                      </a:lnTo>
                      <a:lnTo>
                        <a:pt x="110" y="36"/>
                      </a:lnTo>
                      <a:lnTo>
                        <a:pt x="105" y="36"/>
                      </a:lnTo>
                      <a:lnTo>
                        <a:pt x="99" y="38"/>
                      </a:lnTo>
                      <a:lnTo>
                        <a:pt x="95" y="42"/>
                      </a:lnTo>
                      <a:lnTo>
                        <a:pt x="92" y="47"/>
                      </a:lnTo>
                      <a:lnTo>
                        <a:pt x="92" y="48"/>
                      </a:lnTo>
                      <a:lnTo>
                        <a:pt x="92" y="48"/>
                      </a:lnTo>
                      <a:lnTo>
                        <a:pt x="92" y="47"/>
                      </a:lnTo>
                      <a:lnTo>
                        <a:pt x="92" y="47"/>
                      </a:lnTo>
                      <a:lnTo>
                        <a:pt x="92" y="47"/>
                      </a:lnTo>
                      <a:close/>
                      <a:moveTo>
                        <a:pt x="92" y="48"/>
                      </a:moveTo>
                      <a:lnTo>
                        <a:pt x="92" y="48"/>
                      </a:lnTo>
                      <a:lnTo>
                        <a:pt x="92" y="48"/>
                      </a:lnTo>
                      <a:lnTo>
                        <a:pt x="92" y="48"/>
                      </a:lnTo>
                      <a:lnTo>
                        <a:pt x="92" y="50"/>
                      </a:lnTo>
                      <a:lnTo>
                        <a:pt x="92" y="50"/>
                      </a:lnTo>
                      <a:lnTo>
                        <a:pt x="92" y="50"/>
                      </a:lnTo>
                      <a:lnTo>
                        <a:pt x="92" y="48"/>
                      </a:lnTo>
                      <a:lnTo>
                        <a:pt x="92" y="48"/>
                      </a:lnTo>
                      <a:lnTo>
                        <a:pt x="92" y="48"/>
                      </a:lnTo>
                      <a:close/>
                      <a:moveTo>
                        <a:pt x="103" y="48"/>
                      </a:moveTo>
                      <a:lnTo>
                        <a:pt x="103" y="48"/>
                      </a:lnTo>
                      <a:lnTo>
                        <a:pt x="102" y="48"/>
                      </a:lnTo>
                      <a:lnTo>
                        <a:pt x="101" y="50"/>
                      </a:lnTo>
                      <a:lnTo>
                        <a:pt x="110" y="51"/>
                      </a:lnTo>
                      <a:lnTo>
                        <a:pt x="110" y="51"/>
                      </a:lnTo>
                      <a:lnTo>
                        <a:pt x="110" y="50"/>
                      </a:lnTo>
                      <a:lnTo>
                        <a:pt x="110" y="50"/>
                      </a:lnTo>
                      <a:lnTo>
                        <a:pt x="110" y="50"/>
                      </a:lnTo>
                      <a:lnTo>
                        <a:pt x="103" y="48"/>
                      </a:lnTo>
                      <a:lnTo>
                        <a:pt x="103" y="48"/>
                      </a:lnTo>
                      <a:lnTo>
                        <a:pt x="103" y="48"/>
                      </a:lnTo>
                      <a:close/>
                      <a:moveTo>
                        <a:pt x="101" y="50"/>
                      </a:moveTo>
                      <a:lnTo>
                        <a:pt x="101" y="50"/>
                      </a:lnTo>
                      <a:lnTo>
                        <a:pt x="102" y="51"/>
                      </a:lnTo>
                      <a:lnTo>
                        <a:pt x="103" y="53"/>
                      </a:lnTo>
                      <a:lnTo>
                        <a:pt x="109" y="53"/>
                      </a:lnTo>
                      <a:lnTo>
                        <a:pt x="109" y="53"/>
                      </a:lnTo>
                      <a:lnTo>
                        <a:pt x="110" y="53"/>
                      </a:lnTo>
                      <a:lnTo>
                        <a:pt x="110" y="53"/>
                      </a:lnTo>
                      <a:lnTo>
                        <a:pt x="110" y="53"/>
                      </a:lnTo>
                      <a:lnTo>
                        <a:pt x="101" y="50"/>
                      </a:lnTo>
                      <a:lnTo>
                        <a:pt x="101" y="50"/>
                      </a:lnTo>
                      <a:lnTo>
                        <a:pt x="101" y="50"/>
                      </a:lnTo>
                      <a:close/>
                      <a:moveTo>
                        <a:pt x="111" y="53"/>
                      </a:moveTo>
                      <a:lnTo>
                        <a:pt x="111" y="53"/>
                      </a:lnTo>
                      <a:lnTo>
                        <a:pt x="111" y="53"/>
                      </a:lnTo>
                      <a:lnTo>
                        <a:pt x="111" y="53"/>
                      </a:lnTo>
                      <a:lnTo>
                        <a:pt x="111" y="53"/>
                      </a:lnTo>
                      <a:lnTo>
                        <a:pt x="111" y="53"/>
                      </a:lnTo>
                      <a:lnTo>
                        <a:pt x="111" y="53"/>
                      </a:lnTo>
                      <a:lnTo>
                        <a:pt x="111" y="53"/>
                      </a:lnTo>
                      <a:close/>
                      <a:moveTo>
                        <a:pt x="111" y="51"/>
                      </a:moveTo>
                      <a:lnTo>
                        <a:pt x="111" y="51"/>
                      </a:lnTo>
                      <a:lnTo>
                        <a:pt x="111" y="51"/>
                      </a:lnTo>
                      <a:lnTo>
                        <a:pt x="111" y="51"/>
                      </a:lnTo>
                      <a:lnTo>
                        <a:pt x="111" y="51"/>
                      </a:lnTo>
                      <a:lnTo>
                        <a:pt x="111" y="51"/>
                      </a:lnTo>
                      <a:lnTo>
                        <a:pt x="111" y="51"/>
                      </a:lnTo>
                      <a:lnTo>
                        <a:pt x="111" y="51"/>
                      </a:lnTo>
                      <a:close/>
                      <a:moveTo>
                        <a:pt x="111" y="51"/>
                      </a:moveTo>
                      <a:lnTo>
                        <a:pt x="111" y="51"/>
                      </a:lnTo>
                      <a:lnTo>
                        <a:pt x="111" y="51"/>
                      </a:lnTo>
                      <a:lnTo>
                        <a:pt x="111" y="51"/>
                      </a:lnTo>
                      <a:lnTo>
                        <a:pt x="110" y="50"/>
                      </a:lnTo>
                      <a:lnTo>
                        <a:pt x="110" y="50"/>
                      </a:lnTo>
                      <a:lnTo>
                        <a:pt x="110" y="51"/>
                      </a:lnTo>
                      <a:lnTo>
                        <a:pt x="111" y="51"/>
                      </a:lnTo>
                      <a:lnTo>
                        <a:pt x="111" y="51"/>
                      </a:lnTo>
                      <a:lnTo>
                        <a:pt x="111" y="51"/>
                      </a:lnTo>
                      <a:close/>
                      <a:moveTo>
                        <a:pt x="110" y="53"/>
                      </a:moveTo>
                      <a:lnTo>
                        <a:pt x="110" y="53"/>
                      </a:lnTo>
                      <a:lnTo>
                        <a:pt x="110" y="53"/>
                      </a:lnTo>
                      <a:lnTo>
                        <a:pt x="110" y="53"/>
                      </a:lnTo>
                      <a:lnTo>
                        <a:pt x="111" y="53"/>
                      </a:lnTo>
                      <a:lnTo>
                        <a:pt x="111" y="53"/>
                      </a:lnTo>
                      <a:lnTo>
                        <a:pt x="111" y="53"/>
                      </a:lnTo>
                      <a:lnTo>
                        <a:pt x="110" y="53"/>
                      </a:lnTo>
                      <a:lnTo>
                        <a:pt x="110" y="53"/>
                      </a:lnTo>
                      <a:lnTo>
                        <a:pt x="110" y="53"/>
                      </a:lnTo>
                      <a:close/>
                      <a:moveTo>
                        <a:pt x="110" y="51"/>
                      </a:moveTo>
                      <a:lnTo>
                        <a:pt x="110" y="51"/>
                      </a:lnTo>
                      <a:lnTo>
                        <a:pt x="110" y="51"/>
                      </a:lnTo>
                      <a:lnTo>
                        <a:pt x="101" y="50"/>
                      </a:lnTo>
                      <a:lnTo>
                        <a:pt x="101" y="50"/>
                      </a:lnTo>
                      <a:lnTo>
                        <a:pt x="101" y="50"/>
                      </a:lnTo>
                      <a:lnTo>
                        <a:pt x="101" y="50"/>
                      </a:lnTo>
                      <a:lnTo>
                        <a:pt x="101" y="50"/>
                      </a:lnTo>
                      <a:lnTo>
                        <a:pt x="110" y="53"/>
                      </a:lnTo>
                      <a:lnTo>
                        <a:pt x="110" y="53"/>
                      </a:lnTo>
                      <a:lnTo>
                        <a:pt x="110" y="51"/>
                      </a:lnTo>
                      <a:lnTo>
                        <a:pt x="110" y="51"/>
                      </a:lnTo>
                      <a:lnTo>
                        <a:pt x="110" y="51"/>
                      </a:lnTo>
                      <a:close/>
                      <a:moveTo>
                        <a:pt x="111" y="53"/>
                      </a:moveTo>
                      <a:lnTo>
                        <a:pt x="111" y="53"/>
                      </a:lnTo>
                      <a:lnTo>
                        <a:pt x="111" y="53"/>
                      </a:lnTo>
                      <a:lnTo>
                        <a:pt x="111" y="53"/>
                      </a:lnTo>
                      <a:lnTo>
                        <a:pt x="111" y="53"/>
                      </a:lnTo>
                      <a:lnTo>
                        <a:pt x="111" y="53"/>
                      </a:lnTo>
                      <a:lnTo>
                        <a:pt x="111" y="53"/>
                      </a:lnTo>
                      <a:lnTo>
                        <a:pt x="111" y="51"/>
                      </a:lnTo>
                      <a:lnTo>
                        <a:pt x="111" y="51"/>
                      </a:lnTo>
                      <a:lnTo>
                        <a:pt x="111" y="51"/>
                      </a:lnTo>
                      <a:lnTo>
                        <a:pt x="111" y="53"/>
                      </a:lnTo>
                      <a:lnTo>
                        <a:pt x="111" y="53"/>
                      </a:lnTo>
                      <a:lnTo>
                        <a:pt x="111" y="53"/>
                      </a:lnTo>
                      <a:close/>
                      <a:moveTo>
                        <a:pt x="110" y="53"/>
                      </a:moveTo>
                      <a:lnTo>
                        <a:pt x="111" y="53"/>
                      </a:lnTo>
                      <a:lnTo>
                        <a:pt x="111" y="53"/>
                      </a:lnTo>
                      <a:lnTo>
                        <a:pt x="111" y="53"/>
                      </a:lnTo>
                      <a:lnTo>
                        <a:pt x="111" y="53"/>
                      </a:lnTo>
                      <a:lnTo>
                        <a:pt x="111" y="51"/>
                      </a:lnTo>
                      <a:lnTo>
                        <a:pt x="110" y="51"/>
                      </a:lnTo>
                      <a:lnTo>
                        <a:pt x="110" y="51"/>
                      </a:lnTo>
                      <a:lnTo>
                        <a:pt x="110" y="51"/>
                      </a:lnTo>
                      <a:lnTo>
                        <a:pt x="110" y="51"/>
                      </a:lnTo>
                      <a:lnTo>
                        <a:pt x="110" y="53"/>
                      </a:lnTo>
                      <a:lnTo>
                        <a:pt x="110" y="53"/>
                      </a:lnTo>
                      <a:lnTo>
                        <a:pt x="110" y="53"/>
                      </a:lnTo>
                      <a:close/>
                      <a:moveTo>
                        <a:pt x="80" y="91"/>
                      </a:moveTo>
                      <a:lnTo>
                        <a:pt x="80" y="91"/>
                      </a:lnTo>
                      <a:lnTo>
                        <a:pt x="82" y="97"/>
                      </a:lnTo>
                      <a:lnTo>
                        <a:pt x="80" y="103"/>
                      </a:lnTo>
                      <a:lnTo>
                        <a:pt x="76" y="108"/>
                      </a:lnTo>
                      <a:lnTo>
                        <a:pt x="71" y="111"/>
                      </a:lnTo>
                      <a:lnTo>
                        <a:pt x="71" y="111"/>
                      </a:lnTo>
                      <a:lnTo>
                        <a:pt x="65" y="112"/>
                      </a:lnTo>
                      <a:lnTo>
                        <a:pt x="59" y="110"/>
                      </a:lnTo>
                      <a:lnTo>
                        <a:pt x="55" y="106"/>
                      </a:lnTo>
                      <a:lnTo>
                        <a:pt x="51" y="102"/>
                      </a:lnTo>
                      <a:lnTo>
                        <a:pt x="51" y="102"/>
                      </a:lnTo>
                      <a:lnTo>
                        <a:pt x="51" y="102"/>
                      </a:lnTo>
                      <a:lnTo>
                        <a:pt x="50" y="102"/>
                      </a:lnTo>
                      <a:lnTo>
                        <a:pt x="50" y="102"/>
                      </a:lnTo>
                      <a:lnTo>
                        <a:pt x="54" y="108"/>
                      </a:lnTo>
                      <a:lnTo>
                        <a:pt x="59" y="112"/>
                      </a:lnTo>
                      <a:lnTo>
                        <a:pt x="65" y="114"/>
                      </a:lnTo>
                      <a:lnTo>
                        <a:pt x="73" y="112"/>
                      </a:lnTo>
                      <a:lnTo>
                        <a:pt x="73" y="112"/>
                      </a:lnTo>
                      <a:lnTo>
                        <a:pt x="74" y="111"/>
                      </a:lnTo>
                      <a:lnTo>
                        <a:pt x="74" y="111"/>
                      </a:lnTo>
                      <a:lnTo>
                        <a:pt x="80" y="108"/>
                      </a:lnTo>
                      <a:lnTo>
                        <a:pt x="82" y="103"/>
                      </a:lnTo>
                      <a:lnTo>
                        <a:pt x="83" y="99"/>
                      </a:lnTo>
                      <a:lnTo>
                        <a:pt x="83" y="93"/>
                      </a:lnTo>
                      <a:lnTo>
                        <a:pt x="83" y="93"/>
                      </a:lnTo>
                      <a:lnTo>
                        <a:pt x="80" y="91"/>
                      </a:lnTo>
                      <a:lnTo>
                        <a:pt x="80" y="91"/>
                      </a:lnTo>
                      <a:lnTo>
                        <a:pt x="80" y="91"/>
                      </a:lnTo>
                      <a:lnTo>
                        <a:pt x="80" y="91"/>
                      </a:lnTo>
                      <a:close/>
                      <a:moveTo>
                        <a:pt x="41" y="84"/>
                      </a:moveTo>
                      <a:lnTo>
                        <a:pt x="41" y="84"/>
                      </a:lnTo>
                      <a:lnTo>
                        <a:pt x="43" y="82"/>
                      </a:lnTo>
                      <a:lnTo>
                        <a:pt x="44" y="80"/>
                      </a:lnTo>
                      <a:lnTo>
                        <a:pt x="44" y="80"/>
                      </a:lnTo>
                      <a:lnTo>
                        <a:pt x="46" y="80"/>
                      </a:lnTo>
                      <a:lnTo>
                        <a:pt x="49" y="83"/>
                      </a:lnTo>
                      <a:lnTo>
                        <a:pt x="49" y="83"/>
                      </a:lnTo>
                      <a:lnTo>
                        <a:pt x="49" y="83"/>
                      </a:lnTo>
                      <a:lnTo>
                        <a:pt x="59" y="78"/>
                      </a:lnTo>
                      <a:lnTo>
                        <a:pt x="55" y="63"/>
                      </a:lnTo>
                      <a:lnTo>
                        <a:pt x="55" y="63"/>
                      </a:lnTo>
                      <a:lnTo>
                        <a:pt x="53" y="59"/>
                      </a:lnTo>
                      <a:lnTo>
                        <a:pt x="49" y="55"/>
                      </a:lnTo>
                      <a:lnTo>
                        <a:pt x="43" y="53"/>
                      </a:lnTo>
                      <a:lnTo>
                        <a:pt x="37" y="53"/>
                      </a:lnTo>
                      <a:lnTo>
                        <a:pt x="36" y="55"/>
                      </a:lnTo>
                      <a:lnTo>
                        <a:pt x="36" y="55"/>
                      </a:lnTo>
                      <a:lnTo>
                        <a:pt x="30" y="57"/>
                      </a:lnTo>
                      <a:lnTo>
                        <a:pt x="26" y="62"/>
                      </a:lnTo>
                      <a:lnTo>
                        <a:pt x="25" y="67"/>
                      </a:lnTo>
                      <a:lnTo>
                        <a:pt x="26" y="72"/>
                      </a:lnTo>
                      <a:lnTo>
                        <a:pt x="30" y="87"/>
                      </a:lnTo>
                      <a:lnTo>
                        <a:pt x="30" y="87"/>
                      </a:lnTo>
                      <a:lnTo>
                        <a:pt x="41" y="84"/>
                      </a:lnTo>
                      <a:lnTo>
                        <a:pt x="41" y="84"/>
                      </a:lnTo>
                      <a:lnTo>
                        <a:pt x="41" y="84"/>
                      </a:lnTo>
                      <a:lnTo>
                        <a:pt x="41" y="84"/>
                      </a:lnTo>
                      <a:close/>
                      <a:moveTo>
                        <a:pt x="45" y="95"/>
                      </a:moveTo>
                      <a:lnTo>
                        <a:pt x="43" y="86"/>
                      </a:lnTo>
                      <a:lnTo>
                        <a:pt x="43" y="86"/>
                      </a:lnTo>
                      <a:lnTo>
                        <a:pt x="31" y="89"/>
                      </a:lnTo>
                      <a:lnTo>
                        <a:pt x="32" y="92"/>
                      </a:lnTo>
                      <a:lnTo>
                        <a:pt x="32" y="92"/>
                      </a:lnTo>
                      <a:lnTo>
                        <a:pt x="35" y="99"/>
                      </a:lnTo>
                      <a:lnTo>
                        <a:pt x="39" y="101"/>
                      </a:lnTo>
                      <a:lnTo>
                        <a:pt x="44" y="103"/>
                      </a:lnTo>
                      <a:lnTo>
                        <a:pt x="50" y="102"/>
                      </a:lnTo>
                      <a:lnTo>
                        <a:pt x="50" y="102"/>
                      </a:lnTo>
                      <a:lnTo>
                        <a:pt x="49" y="97"/>
                      </a:lnTo>
                      <a:lnTo>
                        <a:pt x="49" y="97"/>
                      </a:lnTo>
                      <a:lnTo>
                        <a:pt x="46" y="96"/>
                      </a:lnTo>
                      <a:lnTo>
                        <a:pt x="45" y="95"/>
                      </a:lnTo>
                      <a:lnTo>
                        <a:pt x="45" y="95"/>
                      </a:lnTo>
                      <a:lnTo>
                        <a:pt x="45" y="95"/>
                      </a:lnTo>
                      <a:close/>
                      <a:moveTo>
                        <a:pt x="51" y="92"/>
                      </a:moveTo>
                      <a:lnTo>
                        <a:pt x="51" y="92"/>
                      </a:lnTo>
                      <a:lnTo>
                        <a:pt x="51" y="95"/>
                      </a:lnTo>
                      <a:lnTo>
                        <a:pt x="50" y="97"/>
                      </a:lnTo>
                      <a:lnTo>
                        <a:pt x="51" y="102"/>
                      </a:lnTo>
                      <a:lnTo>
                        <a:pt x="51" y="102"/>
                      </a:lnTo>
                      <a:lnTo>
                        <a:pt x="51" y="102"/>
                      </a:lnTo>
                      <a:lnTo>
                        <a:pt x="51" y="102"/>
                      </a:lnTo>
                      <a:lnTo>
                        <a:pt x="53" y="102"/>
                      </a:lnTo>
                      <a:lnTo>
                        <a:pt x="53" y="102"/>
                      </a:lnTo>
                      <a:lnTo>
                        <a:pt x="57" y="99"/>
                      </a:lnTo>
                      <a:lnTo>
                        <a:pt x="61" y="95"/>
                      </a:lnTo>
                      <a:lnTo>
                        <a:pt x="62" y="90"/>
                      </a:lnTo>
                      <a:lnTo>
                        <a:pt x="62" y="84"/>
                      </a:lnTo>
                      <a:lnTo>
                        <a:pt x="61" y="80"/>
                      </a:lnTo>
                      <a:lnTo>
                        <a:pt x="61" y="80"/>
                      </a:lnTo>
                      <a:lnTo>
                        <a:pt x="49" y="84"/>
                      </a:lnTo>
                      <a:lnTo>
                        <a:pt x="51" y="92"/>
                      </a:lnTo>
                      <a:lnTo>
                        <a:pt x="51" y="92"/>
                      </a:lnTo>
                      <a:lnTo>
                        <a:pt x="51" y="92"/>
                      </a:lnTo>
                      <a:close/>
                      <a:moveTo>
                        <a:pt x="51" y="102"/>
                      </a:moveTo>
                      <a:lnTo>
                        <a:pt x="51" y="102"/>
                      </a:lnTo>
                      <a:lnTo>
                        <a:pt x="51" y="102"/>
                      </a:lnTo>
                      <a:lnTo>
                        <a:pt x="51" y="102"/>
                      </a:lnTo>
                      <a:lnTo>
                        <a:pt x="51" y="102"/>
                      </a:lnTo>
                      <a:lnTo>
                        <a:pt x="51" y="102"/>
                      </a:lnTo>
                      <a:lnTo>
                        <a:pt x="51" y="102"/>
                      </a:lnTo>
                      <a:lnTo>
                        <a:pt x="51" y="102"/>
                      </a:lnTo>
                      <a:close/>
                      <a:moveTo>
                        <a:pt x="45" y="83"/>
                      </a:moveTo>
                      <a:lnTo>
                        <a:pt x="45" y="83"/>
                      </a:lnTo>
                      <a:lnTo>
                        <a:pt x="45" y="83"/>
                      </a:lnTo>
                      <a:lnTo>
                        <a:pt x="45" y="83"/>
                      </a:lnTo>
                      <a:lnTo>
                        <a:pt x="45" y="83"/>
                      </a:lnTo>
                      <a:lnTo>
                        <a:pt x="45" y="83"/>
                      </a:lnTo>
                      <a:lnTo>
                        <a:pt x="45" y="83"/>
                      </a:lnTo>
                      <a:close/>
                      <a:moveTo>
                        <a:pt x="45" y="84"/>
                      </a:moveTo>
                      <a:lnTo>
                        <a:pt x="45" y="84"/>
                      </a:lnTo>
                      <a:lnTo>
                        <a:pt x="44" y="84"/>
                      </a:lnTo>
                      <a:lnTo>
                        <a:pt x="44" y="84"/>
                      </a:lnTo>
                      <a:lnTo>
                        <a:pt x="45" y="84"/>
                      </a:lnTo>
                      <a:lnTo>
                        <a:pt x="45" y="84"/>
                      </a:lnTo>
                      <a:lnTo>
                        <a:pt x="45" y="84"/>
                      </a:lnTo>
                      <a:lnTo>
                        <a:pt x="45" y="84"/>
                      </a:lnTo>
                      <a:close/>
                      <a:moveTo>
                        <a:pt x="46" y="83"/>
                      </a:moveTo>
                      <a:lnTo>
                        <a:pt x="46" y="83"/>
                      </a:lnTo>
                      <a:lnTo>
                        <a:pt x="45" y="83"/>
                      </a:lnTo>
                      <a:lnTo>
                        <a:pt x="46" y="84"/>
                      </a:lnTo>
                      <a:lnTo>
                        <a:pt x="46" y="84"/>
                      </a:lnTo>
                      <a:lnTo>
                        <a:pt x="46" y="83"/>
                      </a:lnTo>
                      <a:lnTo>
                        <a:pt x="46" y="83"/>
                      </a:lnTo>
                      <a:lnTo>
                        <a:pt x="46" y="83"/>
                      </a:lnTo>
                      <a:close/>
                      <a:moveTo>
                        <a:pt x="44" y="86"/>
                      </a:moveTo>
                      <a:lnTo>
                        <a:pt x="44" y="86"/>
                      </a:lnTo>
                      <a:lnTo>
                        <a:pt x="44" y="86"/>
                      </a:lnTo>
                      <a:lnTo>
                        <a:pt x="45" y="92"/>
                      </a:lnTo>
                      <a:lnTo>
                        <a:pt x="45" y="92"/>
                      </a:lnTo>
                      <a:lnTo>
                        <a:pt x="46" y="93"/>
                      </a:lnTo>
                      <a:lnTo>
                        <a:pt x="48" y="93"/>
                      </a:lnTo>
                      <a:lnTo>
                        <a:pt x="45" y="86"/>
                      </a:lnTo>
                      <a:lnTo>
                        <a:pt x="45" y="86"/>
                      </a:lnTo>
                      <a:lnTo>
                        <a:pt x="44" y="86"/>
                      </a:lnTo>
                      <a:lnTo>
                        <a:pt x="44" y="86"/>
                      </a:lnTo>
                      <a:lnTo>
                        <a:pt x="44" y="86"/>
                      </a:lnTo>
                      <a:close/>
                      <a:moveTo>
                        <a:pt x="49" y="93"/>
                      </a:moveTo>
                      <a:lnTo>
                        <a:pt x="49" y="93"/>
                      </a:lnTo>
                      <a:lnTo>
                        <a:pt x="50" y="92"/>
                      </a:lnTo>
                      <a:lnTo>
                        <a:pt x="50" y="91"/>
                      </a:lnTo>
                      <a:lnTo>
                        <a:pt x="48" y="86"/>
                      </a:lnTo>
                      <a:lnTo>
                        <a:pt x="48" y="86"/>
                      </a:lnTo>
                      <a:lnTo>
                        <a:pt x="48" y="84"/>
                      </a:lnTo>
                      <a:lnTo>
                        <a:pt x="48" y="84"/>
                      </a:lnTo>
                      <a:lnTo>
                        <a:pt x="46" y="86"/>
                      </a:lnTo>
                      <a:lnTo>
                        <a:pt x="49" y="93"/>
                      </a:lnTo>
                      <a:lnTo>
                        <a:pt x="49" y="93"/>
                      </a:lnTo>
                      <a:lnTo>
                        <a:pt x="49" y="93"/>
                      </a:lnTo>
                      <a:close/>
                      <a:moveTo>
                        <a:pt x="45" y="84"/>
                      </a:moveTo>
                      <a:lnTo>
                        <a:pt x="45" y="84"/>
                      </a:lnTo>
                      <a:lnTo>
                        <a:pt x="44" y="84"/>
                      </a:lnTo>
                      <a:lnTo>
                        <a:pt x="44" y="84"/>
                      </a:lnTo>
                      <a:lnTo>
                        <a:pt x="44" y="86"/>
                      </a:lnTo>
                      <a:lnTo>
                        <a:pt x="44" y="86"/>
                      </a:lnTo>
                      <a:lnTo>
                        <a:pt x="45" y="86"/>
                      </a:lnTo>
                      <a:lnTo>
                        <a:pt x="45" y="84"/>
                      </a:lnTo>
                      <a:lnTo>
                        <a:pt x="45" y="84"/>
                      </a:lnTo>
                      <a:lnTo>
                        <a:pt x="45" y="84"/>
                      </a:lnTo>
                      <a:close/>
                      <a:moveTo>
                        <a:pt x="46" y="84"/>
                      </a:moveTo>
                      <a:lnTo>
                        <a:pt x="46" y="86"/>
                      </a:lnTo>
                      <a:lnTo>
                        <a:pt x="46" y="86"/>
                      </a:lnTo>
                      <a:lnTo>
                        <a:pt x="48" y="84"/>
                      </a:lnTo>
                      <a:lnTo>
                        <a:pt x="48" y="84"/>
                      </a:lnTo>
                      <a:lnTo>
                        <a:pt x="46" y="83"/>
                      </a:lnTo>
                      <a:lnTo>
                        <a:pt x="46" y="83"/>
                      </a:lnTo>
                      <a:lnTo>
                        <a:pt x="46" y="84"/>
                      </a:lnTo>
                      <a:lnTo>
                        <a:pt x="46" y="84"/>
                      </a:lnTo>
                      <a:lnTo>
                        <a:pt x="46" y="84"/>
                      </a:lnTo>
                      <a:close/>
                      <a:moveTo>
                        <a:pt x="45" y="84"/>
                      </a:moveTo>
                      <a:lnTo>
                        <a:pt x="45" y="84"/>
                      </a:lnTo>
                      <a:lnTo>
                        <a:pt x="46" y="84"/>
                      </a:lnTo>
                      <a:lnTo>
                        <a:pt x="45" y="83"/>
                      </a:lnTo>
                      <a:lnTo>
                        <a:pt x="45" y="83"/>
                      </a:lnTo>
                      <a:lnTo>
                        <a:pt x="45" y="83"/>
                      </a:lnTo>
                      <a:lnTo>
                        <a:pt x="45" y="83"/>
                      </a:lnTo>
                      <a:lnTo>
                        <a:pt x="45" y="83"/>
                      </a:lnTo>
                      <a:lnTo>
                        <a:pt x="45" y="84"/>
                      </a:lnTo>
                      <a:lnTo>
                        <a:pt x="45" y="84"/>
                      </a:lnTo>
                      <a:lnTo>
                        <a:pt x="45" y="84"/>
                      </a:lnTo>
                      <a:lnTo>
                        <a:pt x="45" y="84"/>
                      </a:lnTo>
                      <a:lnTo>
                        <a:pt x="45" y="84"/>
                      </a:lnTo>
                      <a:lnTo>
                        <a:pt x="45" y="84"/>
                      </a:lnTo>
                      <a:close/>
                      <a:moveTo>
                        <a:pt x="45" y="86"/>
                      </a:moveTo>
                      <a:lnTo>
                        <a:pt x="45" y="86"/>
                      </a:lnTo>
                      <a:lnTo>
                        <a:pt x="45" y="86"/>
                      </a:lnTo>
                      <a:lnTo>
                        <a:pt x="48" y="93"/>
                      </a:lnTo>
                      <a:lnTo>
                        <a:pt x="48" y="93"/>
                      </a:lnTo>
                      <a:lnTo>
                        <a:pt x="49" y="93"/>
                      </a:lnTo>
                      <a:lnTo>
                        <a:pt x="49" y="93"/>
                      </a:lnTo>
                      <a:lnTo>
                        <a:pt x="49" y="93"/>
                      </a:lnTo>
                      <a:lnTo>
                        <a:pt x="46" y="86"/>
                      </a:lnTo>
                      <a:lnTo>
                        <a:pt x="46" y="86"/>
                      </a:lnTo>
                      <a:lnTo>
                        <a:pt x="45" y="86"/>
                      </a:lnTo>
                      <a:lnTo>
                        <a:pt x="45" y="86"/>
                      </a:lnTo>
                      <a:lnTo>
                        <a:pt x="45" y="86"/>
                      </a:lnTo>
                      <a:close/>
                      <a:moveTo>
                        <a:pt x="45" y="84"/>
                      </a:moveTo>
                      <a:lnTo>
                        <a:pt x="45" y="86"/>
                      </a:lnTo>
                      <a:lnTo>
                        <a:pt x="45" y="86"/>
                      </a:lnTo>
                      <a:lnTo>
                        <a:pt x="45" y="86"/>
                      </a:lnTo>
                      <a:lnTo>
                        <a:pt x="45" y="86"/>
                      </a:lnTo>
                      <a:lnTo>
                        <a:pt x="46" y="86"/>
                      </a:lnTo>
                      <a:lnTo>
                        <a:pt x="46" y="84"/>
                      </a:lnTo>
                      <a:lnTo>
                        <a:pt x="46" y="84"/>
                      </a:lnTo>
                      <a:lnTo>
                        <a:pt x="45" y="84"/>
                      </a:lnTo>
                      <a:lnTo>
                        <a:pt x="45" y="84"/>
                      </a:lnTo>
                      <a:lnTo>
                        <a:pt x="45" y="84"/>
                      </a:lnTo>
                      <a:lnTo>
                        <a:pt x="45" y="84"/>
                      </a:lnTo>
                      <a:lnTo>
                        <a:pt x="45" y="84"/>
                      </a:lnTo>
                      <a:close/>
                      <a:moveTo>
                        <a:pt x="95" y="90"/>
                      </a:moveTo>
                      <a:lnTo>
                        <a:pt x="95" y="90"/>
                      </a:lnTo>
                      <a:lnTo>
                        <a:pt x="99" y="86"/>
                      </a:lnTo>
                      <a:lnTo>
                        <a:pt x="105" y="86"/>
                      </a:lnTo>
                      <a:lnTo>
                        <a:pt x="111" y="86"/>
                      </a:lnTo>
                      <a:lnTo>
                        <a:pt x="117" y="89"/>
                      </a:lnTo>
                      <a:lnTo>
                        <a:pt x="117" y="89"/>
                      </a:lnTo>
                      <a:lnTo>
                        <a:pt x="120" y="93"/>
                      </a:lnTo>
                      <a:lnTo>
                        <a:pt x="122" y="99"/>
                      </a:lnTo>
                      <a:lnTo>
                        <a:pt x="122" y="105"/>
                      </a:lnTo>
                      <a:lnTo>
                        <a:pt x="118" y="110"/>
                      </a:lnTo>
                      <a:lnTo>
                        <a:pt x="118" y="110"/>
                      </a:lnTo>
                      <a:lnTo>
                        <a:pt x="118" y="110"/>
                      </a:lnTo>
                      <a:lnTo>
                        <a:pt x="118" y="111"/>
                      </a:lnTo>
                      <a:lnTo>
                        <a:pt x="120" y="111"/>
                      </a:lnTo>
                      <a:lnTo>
                        <a:pt x="120" y="111"/>
                      </a:lnTo>
                      <a:lnTo>
                        <a:pt x="123" y="105"/>
                      </a:lnTo>
                      <a:lnTo>
                        <a:pt x="123" y="99"/>
                      </a:lnTo>
                      <a:lnTo>
                        <a:pt x="122" y="92"/>
                      </a:lnTo>
                      <a:lnTo>
                        <a:pt x="117" y="87"/>
                      </a:lnTo>
                      <a:lnTo>
                        <a:pt x="117" y="87"/>
                      </a:lnTo>
                      <a:lnTo>
                        <a:pt x="112" y="84"/>
                      </a:lnTo>
                      <a:lnTo>
                        <a:pt x="107" y="83"/>
                      </a:lnTo>
                      <a:lnTo>
                        <a:pt x="101" y="84"/>
                      </a:lnTo>
                      <a:lnTo>
                        <a:pt x="95" y="87"/>
                      </a:lnTo>
                      <a:lnTo>
                        <a:pt x="95" y="87"/>
                      </a:lnTo>
                      <a:lnTo>
                        <a:pt x="95" y="90"/>
                      </a:lnTo>
                      <a:lnTo>
                        <a:pt x="95" y="90"/>
                      </a:lnTo>
                      <a:lnTo>
                        <a:pt x="95" y="90"/>
                      </a:lnTo>
                      <a:close/>
                      <a:moveTo>
                        <a:pt x="116" y="115"/>
                      </a:moveTo>
                      <a:lnTo>
                        <a:pt x="116" y="115"/>
                      </a:lnTo>
                      <a:lnTo>
                        <a:pt x="116" y="117"/>
                      </a:lnTo>
                      <a:lnTo>
                        <a:pt x="114" y="120"/>
                      </a:lnTo>
                      <a:lnTo>
                        <a:pt x="109" y="126"/>
                      </a:lnTo>
                      <a:lnTo>
                        <a:pt x="109" y="126"/>
                      </a:lnTo>
                      <a:lnTo>
                        <a:pt x="117" y="135"/>
                      </a:lnTo>
                      <a:lnTo>
                        <a:pt x="120" y="131"/>
                      </a:lnTo>
                      <a:lnTo>
                        <a:pt x="120" y="131"/>
                      </a:lnTo>
                      <a:lnTo>
                        <a:pt x="123" y="126"/>
                      </a:lnTo>
                      <a:lnTo>
                        <a:pt x="124" y="122"/>
                      </a:lnTo>
                      <a:lnTo>
                        <a:pt x="123" y="116"/>
                      </a:lnTo>
                      <a:lnTo>
                        <a:pt x="120" y="111"/>
                      </a:lnTo>
                      <a:lnTo>
                        <a:pt x="120" y="111"/>
                      </a:lnTo>
                      <a:lnTo>
                        <a:pt x="120" y="111"/>
                      </a:lnTo>
                      <a:lnTo>
                        <a:pt x="116" y="115"/>
                      </a:lnTo>
                      <a:lnTo>
                        <a:pt x="116" y="115"/>
                      </a:lnTo>
                      <a:lnTo>
                        <a:pt x="116" y="115"/>
                      </a:lnTo>
                      <a:close/>
                      <a:moveTo>
                        <a:pt x="108" y="126"/>
                      </a:moveTo>
                      <a:lnTo>
                        <a:pt x="108" y="126"/>
                      </a:lnTo>
                      <a:lnTo>
                        <a:pt x="105" y="127"/>
                      </a:lnTo>
                      <a:lnTo>
                        <a:pt x="103" y="127"/>
                      </a:lnTo>
                      <a:lnTo>
                        <a:pt x="103" y="127"/>
                      </a:lnTo>
                      <a:lnTo>
                        <a:pt x="103" y="125"/>
                      </a:lnTo>
                      <a:lnTo>
                        <a:pt x="103" y="123"/>
                      </a:lnTo>
                      <a:lnTo>
                        <a:pt x="103" y="123"/>
                      </a:lnTo>
                      <a:lnTo>
                        <a:pt x="103" y="123"/>
                      </a:lnTo>
                      <a:lnTo>
                        <a:pt x="93" y="115"/>
                      </a:lnTo>
                      <a:lnTo>
                        <a:pt x="83" y="126"/>
                      </a:lnTo>
                      <a:lnTo>
                        <a:pt x="83" y="126"/>
                      </a:lnTo>
                      <a:lnTo>
                        <a:pt x="80" y="131"/>
                      </a:lnTo>
                      <a:lnTo>
                        <a:pt x="80" y="137"/>
                      </a:lnTo>
                      <a:lnTo>
                        <a:pt x="80" y="141"/>
                      </a:lnTo>
                      <a:lnTo>
                        <a:pt x="84" y="146"/>
                      </a:lnTo>
                      <a:lnTo>
                        <a:pt x="86" y="148"/>
                      </a:lnTo>
                      <a:lnTo>
                        <a:pt x="86" y="148"/>
                      </a:lnTo>
                      <a:lnTo>
                        <a:pt x="90" y="151"/>
                      </a:lnTo>
                      <a:lnTo>
                        <a:pt x="95" y="151"/>
                      </a:lnTo>
                      <a:lnTo>
                        <a:pt x="101" y="150"/>
                      </a:lnTo>
                      <a:lnTo>
                        <a:pt x="105" y="148"/>
                      </a:lnTo>
                      <a:lnTo>
                        <a:pt x="116" y="136"/>
                      </a:lnTo>
                      <a:lnTo>
                        <a:pt x="116" y="136"/>
                      </a:lnTo>
                      <a:lnTo>
                        <a:pt x="108" y="126"/>
                      </a:lnTo>
                      <a:lnTo>
                        <a:pt x="108" y="126"/>
                      </a:lnTo>
                      <a:lnTo>
                        <a:pt x="108" y="126"/>
                      </a:lnTo>
                      <a:lnTo>
                        <a:pt x="108" y="126"/>
                      </a:lnTo>
                      <a:close/>
                      <a:moveTo>
                        <a:pt x="110" y="115"/>
                      </a:moveTo>
                      <a:lnTo>
                        <a:pt x="110" y="115"/>
                      </a:lnTo>
                      <a:lnTo>
                        <a:pt x="112" y="114"/>
                      </a:lnTo>
                      <a:lnTo>
                        <a:pt x="114" y="115"/>
                      </a:lnTo>
                      <a:lnTo>
                        <a:pt x="118" y="110"/>
                      </a:lnTo>
                      <a:lnTo>
                        <a:pt x="118" y="110"/>
                      </a:lnTo>
                      <a:lnTo>
                        <a:pt x="118" y="110"/>
                      </a:lnTo>
                      <a:lnTo>
                        <a:pt x="118" y="110"/>
                      </a:lnTo>
                      <a:lnTo>
                        <a:pt x="118" y="110"/>
                      </a:lnTo>
                      <a:lnTo>
                        <a:pt x="118" y="110"/>
                      </a:lnTo>
                      <a:lnTo>
                        <a:pt x="114" y="108"/>
                      </a:lnTo>
                      <a:lnTo>
                        <a:pt x="108" y="106"/>
                      </a:lnTo>
                      <a:lnTo>
                        <a:pt x="103" y="108"/>
                      </a:lnTo>
                      <a:lnTo>
                        <a:pt x="98" y="111"/>
                      </a:lnTo>
                      <a:lnTo>
                        <a:pt x="95" y="114"/>
                      </a:lnTo>
                      <a:lnTo>
                        <a:pt x="95" y="114"/>
                      </a:lnTo>
                      <a:lnTo>
                        <a:pt x="105" y="122"/>
                      </a:lnTo>
                      <a:lnTo>
                        <a:pt x="110" y="115"/>
                      </a:lnTo>
                      <a:lnTo>
                        <a:pt x="110" y="115"/>
                      </a:lnTo>
                      <a:lnTo>
                        <a:pt x="110" y="115"/>
                      </a:lnTo>
                      <a:close/>
                      <a:moveTo>
                        <a:pt x="118" y="110"/>
                      </a:moveTo>
                      <a:lnTo>
                        <a:pt x="118" y="110"/>
                      </a:lnTo>
                      <a:lnTo>
                        <a:pt x="118" y="110"/>
                      </a:lnTo>
                      <a:lnTo>
                        <a:pt x="118" y="110"/>
                      </a:lnTo>
                      <a:lnTo>
                        <a:pt x="118" y="110"/>
                      </a:lnTo>
                      <a:lnTo>
                        <a:pt x="118" y="110"/>
                      </a:lnTo>
                      <a:lnTo>
                        <a:pt x="118" y="110"/>
                      </a:lnTo>
                      <a:lnTo>
                        <a:pt x="118" y="110"/>
                      </a:lnTo>
                      <a:close/>
                      <a:moveTo>
                        <a:pt x="105" y="124"/>
                      </a:moveTo>
                      <a:lnTo>
                        <a:pt x="105" y="124"/>
                      </a:lnTo>
                      <a:lnTo>
                        <a:pt x="105" y="124"/>
                      </a:lnTo>
                      <a:lnTo>
                        <a:pt x="105" y="124"/>
                      </a:lnTo>
                      <a:lnTo>
                        <a:pt x="105" y="124"/>
                      </a:lnTo>
                      <a:lnTo>
                        <a:pt x="105" y="124"/>
                      </a:lnTo>
                      <a:lnTo>
                        <a:pt x="105" y="124"/>
                      </a:lnTo>
                      <a:lnTo>
                        <a:pt x="105" y="124"/>
                      </a:lnTo>
                      <a:close/>
                      <a:moveTo>
                        <a:pt x="105" y="125"/>
                      </a:moveTo>
                      <a:lnTo>
                        <a:pt x="105" y="125"/>
                      </a:lnTo>
                      <a:lnTo>
                        <a:pt x="105" y="125"/>
                      </a:lnTo>
                      <a:lnTo>
                        <a:pt x="105" y="125"/>
                      </a:lnTo>
                      <a:lnTo>
                        <a:pt x="105" y="125"/>
                      </a:lnTo>
                      <a:lnTo>
                        <a:pt x="105" y="125"/>
                      </a:lnTo>
                      <a:lnTo>
                        <a:pt x="105" y="125"/>
                      </a:lnTo>
                      <a:lnTo>
                        <a:pt x="105" y="125"/>
                      </a:lnTo>
                      <a:close/>
                      <a:moveTo>
                        <a:pt x="107" y="125"/>
                      </a:moveTo>
                      <a:lnTo>
                        <a:pt x="107" y="125"/>
                      </a:lnTo>
                      <a:lnTo>
                        <a:pt x="107" y="125"/>
                      </a:lnTo>
                      <a:lnTo>
                        <a:pt x="107" y="125"/>
                      </a:lnTo>
                      <a:lnTo>
                        <a:pt x="107" y="125"/>
                      </a:lnTo>
                      <a:lnTo>
                        <a:pt x="107" y="125"/>
                      </a:lnTo>
                      <a:lnTo>
                        <a:pt x="107" y="125"/>
                      </a:lnTo>
                      <a:lnTo>
                        <a:pt x="107" y="125"/>
                      </a:lnTo>
                      <a:close/>
                      <a:moveTo>
                        <a:pt x="112" y="117"/>
                      </a:moveTo>
                      <a:lnTo>
                        <a:pt x="112" y="117"/>
                      </a:lnTo>
                      <a:lnTo>
                        <a:pt x="111" y="117"/>
                      </a:lnTo>
                      <a:lnTo>
                        <a:pt x="110" y="117"/>
                      </a:lnTo>
                      <a:lnTo>
                        <a:pt x="105" y="122"/>
                      </a:lnTo>
                      <a:lnTo>
                        <a:pt x="105" y="122"/>
                      </a:lnTo>
                      <a:lnTo>
                        <a:pt x="105" y="123"/>
                      </a:lnTo>
                      <a:lnTo>
                        <a:pt x="105" y="123"/>
                      </a:lnTo>
                      <a:lnTo>
                        <a:pt x="107" y="123"/>
                      </a:lnTo>
                      <a:lnTo>
                        <a:pt x="112" y="117"/>
                      </a:lnTo>
                      <a:lnTo>
                        <a:pt x="112" y="117"/>
                      </a:lnTo>
                      <a:lnTo>
                        <a:pt x="112" y="117"/>
                      </a:lnTo>
                      <a:close/>
                      <a:moveTo>
                        <a:pt x="108" y="125"/>
                      </a:moveTo>
                      <a:lnTo>
                        <a:pt x="108" y="125"/>
                      </a:lnTo>
                      <a:lnTo>
                        <a:pt x="109" y="124"/>
                      </a:lnTo>
                      <a:lnTo>
                        <a:pt x="114" y="121"/>
                      </a:lnTo>
                      <a:lnTo>
                        <a:pt x="114" y="121"/>
                      </a:lnTo>
                      <a:lnTo>
                        <a:pt x="114" y="118"/>
                      </a:lnTo>
                      <a:lnTo>
                        <a:pt x="114" y="117"/>
                      </a:lnTo>
                      <a:lnTo>
                        <a:pt x="108" y="124"/>
                      </a:lnTo>
                      <a:lnTo>
                        <a:pt x="108" y="124"/>
                      </a:lnTo>
                      <a:lnTo>
                        <a:pt x="108" y="125"/>
                      </a:lnTo>
                      <a:lnTo>
                        <a:pt x="108" y="125"/>
                      </a:lnTo>
                      <a:lnTo>
                        <a:pt x="108" y="125"/>
                      </a:lnTo>
                      <a:close/>
                      <a:moveTo>
                        <a:pt x="105" y="124"/>
                      </a:moveTo>
                      <a:lnTo>
                        <a:pt x="105" y="124"/>
                      </a:lnTo>
                      <a:lnTo>
                        <a:pt x="105" y="124"/>
                      </a:lnTo>
                      <a:lnTo>
                        <a:pt x="107" y="123"/>
                      </a:lnTo>
                      <a:lnTo>
                        <a:pt x="107" y="123"/>
                      </a:lnTo>
                      <a:lnTo>
                        <a:pt x="105" y="123"/>
                      </a:lnTo>
                      <a:lnTo>
                        <a:pt x="105" y="123"/>
                      </a:lnTo>
                      <a:lnTo>
                        <a:pt x="105" y="124"/>
                      </a:lnTo>
                      <a:lnTo>
                        <a:pt x="105" y="124"/>
                      </a:lnTo>
                      <a:lnTo>
                        <a:pt x="105" y="124"/>
                      </a:lnTo>
                      <a:close/>
                      <a:moveTo>
                        <a:pt x="107" y="125"/>
                      </a:moveTo>
                      <a:lnTo>
                        <a:pt x="107" y="125"/>
                      </a:lnTo>
                      <a:lnTo>
                        <a:pt x="107" y="125"/>
                      </a:lnTo>
                      <a:lnTo>
                        <a:pt x="107" y="125"/>
                      </a:lnTo>
                      <a:lnTo>
                        <a:pt x="108" y="125"/>
                      </a:lnTo>
                      <a:lnTo>
                        <a:pt x="108" y="125"/>
                      </a:lnTo>
                      <a:lnTo>
                        <a:pt x="108" y="124"/>
                      </a:lnTo>
                      <a:lnTo>
                        <a:pt x="107" y="125"/>
                      </a:lnTo>
                      <a:lnTo>
                        <a:pt x="107" y="125"/>
                      </a:lnTo>
                      <a:lnTo>
                        <a:pt x="107" y="125"/>
                      </a:lnTo>
                      <a:close/>
                      <a:moveTo>
                        <a:pt x="107" y="124"/>
                      </a:moveTo>
                      <a:lnTo>
                        <a:pt x="107" y="124"/>
                      </a:lnTo>
                      <a:lnTo>
                        <a:pt x="108" y="124"/>
                      </a:lnTo>
                      <a:lnTo>
                        <a:pt x="114" y="117"/>
                      </a:lnTo>
                      <a:lnTo>
                        <a:pt x="114" y="117"/>
                      </a:lnTo>
                      <a:lnTo>
                        <a:pt x="114" y="117"/>
                      </a:lnTo>
                      <a:lnTo>
                        <a:pt x="114" y="117"/>
                      </a:lnTo>
                      <a:lnTo>
                        <a:pt x="112" y="117"/>
                      </a:lnTo>
                      <a:lnTo>
                        <a:pt x="107" y="123"/>
                      </a:lnTo>
                      <a:lnTo>
                        <a:pt x="107" y="123"/>
                      </a:lnTo>
                      <a:lnTo>
                        <a:pt x="107" y="124"/>
                      </a:lnTo>
                      <a:lnTo>
                        <a:pt x="107" y="124"/>
                      </a:lnTo>
                      <a:lnTo>
                        <a:pt x="107" y="124"/>
                      </a:lnTo>
                      <a:close/>
                      <a:moveTo>
                        <a:pt x="105" y="124"/>
                      </a:moveTo>
                      <a:lnTo>
                        <a:pt x="105" y="124"/>
                      </a:lnTo>
                      <a:lnTo>
                        <a:pt x="105" y="124"/>
                      </a:lnTo>
                      <a:lnTo>
                        <a:pt x="105" y="124"/>
                      </a:lnTo>
                      <a:lnTo>
                        <a:pt x="105" y="124"/>
                      </a:lnTo>
                      <a:lnTo>
                        <a:pt x="105" y="125"/>
                      </a:lnTo>
                      <a:lnTo>
                        <a:pt x="105" y="125"/>
                      </a:lnTo>
                      <a:lnTo>
                        <a:pt x="105" y="125"/>
                      </a:lnTo>
                      <a:lnTo>
                        <a:pt x="107" y="125"/>
                      </a:lnTo>
                      <a:lnTo>
                        <a:pt x="107" y="125"/>
                      </a:lnTo>
                      <a:lnTo>
                        <a:pt x="107" y="125"/>
                      </a:lnTo>
                      <a:lnTo>
                        <a:pt x="105" y="124"/>
                      </a:lnTo>
                      <a:lnTo>
                        <a:pt x="105" y="124"/>
                      </a:lnTo>
                      <a:lnTo>
                        <a:pt x="105" y="124"/>
                      </a:lnTo>
                      <a:close/>
                      <a:moveTo>
                        <a:pt x="107" y="125"/>
                      </a:moveTo>
                      <a:lnTo>
                        <a:pt x="108" y="124"/>
                      </a:lnTo>
                      <a:lnTo>
                        <a:pt x="108" y="124"/>
                      </a:lnTo>
                      <a:lnTo>
                        <a:pt x="107" y="124"/>
                      </a:lnTo>
                      <a:lnTo>
                        <a:pt x="107" y="124"/>
                      </a:lnTo>
                      <a:lnTo>
                        <a:pt x="107" y="123"/>
                      </a:lnTo>
                      <a:lnTo>
                        <a:pt x="105" y="124"/>
                      </a:lnTo>
                      <a:lnTo>
                        <a:pt x="105" y="124"/>
                      </a:lnTo>
                      <a:lnTo>
                        <a:pt x="105" y="124"/>
                      </a:lnTo>
                      <a:lnTo>
                        <a:pt x="105" y="124"/>
                      </a:lnTo>
                      <a:lnTo>
                        <a:pt x="107" y="125"/>
                      </a:lnTo>
                      <a:lnTo>
                        <a:pt x="107" y="125"/>
                      </a:lnTo>
                      <a:lnTo>
                        <a:pt x="107" y="125"/>
                      </a:lnTo>
                      <a:close/>
                      <a:moveTo>
                        <a:pt x="83" y="90"/>
                      </a:moveTo>
                      <a:lnTo>
                        <a:pt x="83" y="90"/>
                      </a:lnTo>
                      <a:lnTo>
                        <a:pt x="84" y="91"/>
                      </a:lnTo>
                      <a:lnTo>
                        <a:pt x="86" y="92"/>
                      </a:lnTo>
                      <a:lnTo>
                        <a:pt x="89" y="92"/>
                      </a:lnTo>
                      <a:lnTo>
                        <a:pt x="90" y="91"/>
                      </a:lnTo>
                      <a:lnTo>
                        <a:pt x="90" y="91"/>
                      </a:lnTo>
                      <a:lnTo>
                        <a:pt x="92" y="90"/>
                      </a:lnTo>
                      <a:lnTo>
                        <a:pt x="92" y="87"/>
                      </a:lnTo>
                      <a:lnTo>
                        <a:pt x="92" y="86"/>
                      </a:lnTo>
                      <a:lnTo>
                        <a:pt x="92" y="84"/>
                      </a:lnTo>
                      <a:lnTo>
                        <a:pt x="92" y="84"/>
                      </a:lnTo>
                      <a:lnTo>
                        <a:pt x="91" y="82"/>
                      </a:lnTo>
                      <a:lnTo>
                        <a:pt x="89" y="82"/>
                      </a:lnTo>
                      <a:lnTo>
                        <a:pt x="86" y="82"/>
                      </a:lnTo>
                      <a:lnTo>
                        <a:pt x="84" y="82"/>
                      </a:lnTo>
                      <a:lnTo>
                        <a:pt x="84" y="82"/>
                      </a:lnTo>
                      <a:lnTo>
                        <a:pt x="83" y="84"/>
                      </a:lnTo>
                      <a:lnTo>
                        <a:pt x="82" y="86"/>
                      </a:lnTo>
                      <a:lnTo>
                        <a:pt x="82" y="87"/>
                      </a:lnTo>
                      <a:lnTo>
                        <a:pt x="83" y="90"/>
                      </a:lnTo>
                      <a:lnTo>
                        <a:pt x="83" y="90"/>
                      </a:lnTo>
                      <a:lnTo>
                        <a:pt x="83" y="90"/>
                      </a:lnTo>
                      <a:close/>
                      <a:moveTo>
                        <a:pt x="86" y="80"/>
                      </a:moveTo>
                      <a:lnTo>
                        <a:pt x="86" y="80"/>
                      </a:lnTo>
                      <a:lnTo>
                        <a:pt x="90" y="80"/>
                      </a:lnTo>
                      <a:lnTo>
                        <a:pt x="93" y="83"/>
                      </a:lnTo>
                      <a:lnTo>
                        <a:pt x="93" y="83"/>
                      </a:lnTo>
                      <a:lnTo>
                        <a:pt x="95" y="86"/>
                      </a:lnTo>
                      <a:lnTo>
                        <a:pt x="93" y="89"/>
                      </a:lnTo>
                      <a:lnTo>
                        <a:pt x="93" y="91"/>
                      </a:lnTo>
                      <a:lnTo>
                        <a:pt x="91" y="92"/>
                      </a:lnTo>
                      <a:lnTo>
                        <a:pt x="91" y="92"/>
                      </a:lnTo>
                      <a:lnTo>
                        <a:pt x="89" y="93"/>
                      </a:lnTo>
                      <a:lnTo>
                        <a:pt x="86" y="93"/>
                      </a:lnTo>
                      <a:lnTo>
                        <a:pt x="84" y="92"/>
                      </a:lnTo>
                      <a:lnTo>
                        <a:pt x="82" y="90"/>
                      </a:lnTo>
                      <a:lnTo>
                        <a:pt x="82" y="90"/>
                      </a:lnTo>
                      <a:lnTo>
                        <a:pt x="80" y="87"/>
                      </a:lnTo>
                      <a:lnTo>
                        <a:pt x="80" y="86"/>
                      </a:lnTo>
                      <a:lnTo>
                        <a:pt x="82" y="83"/>
                      </a:lnTo>
                      <a:lnTo>
                        <a:pt x="84" y="80"/>
                      </a:lnTo>
                      <a:lnTo>
                        <a:pt x="84" y="80"/>
                      </a:lnTo>
                      <a:lnTo>
                        <a:pt x="86" y="80"/>
                      </a:lnTo>
                      <a:lnTo>
                        <a:pt x="86" y="80"/>
                      </a:lnTo>
                      <a:lnTo>
                        <a:pt x="84" y="80"/>
                      </a:lnTo>
                      <a:lnTo>
                        <a:pt x="84" y="80"/>
                      </a:lnTo>
                      <a:lnTo>
                        <a:pt x="83" y="80"/>
                      </a:lnTo>
                      <a:lnTo>
                        <a:pt x="83" y="80"/>
                      </a:lnTo>
                      <a:lnTo>
                        <a:pt x="80" y="82"/>
                      </a:lnTo>
                      <a:lnTo>
                        <a:pt x="80" y="86"/>
                      </a:lnTo>
                      <a:lnTo>
                        <a:pt x="80" y="87"/>
                      </a:lnTo>
                      <a:lnTo>
                        <a:pt x="80" y="91"/>
                      </a:lnTo>
                      <a:lnTo>
                        <a:pt x="80" y="91"/>
                      </a:lnTo>
                      <a:lnTo>
                        <a:pt x="80" y="91"/>
                      </a:lnTo>
                      <a:lnTo>
                        <a:pt x="82" y="91"/>
                      </a:lnTo>
                      <a:lnTo>
                        <a:pt x="82" y="91"/>
                      </a:lnTo>
                      <a:lnTo>
                        <a:pt x="83" y="93"/>
                      </a:lnTo>
                      <a:lnTo>
                        <a:pt x="83" y="93"/>
                      </a:lnTo>
                      <a:lnTo>
                        <a:pt x="88" y="95"/>
                      </a:lnTo>
                      <a:lnTo>
                        <a:pt x="90" y="95"/>
                      </a:lnTo>
                      <a:lnTo>
                        <a:pt x="92" y="93"/>
                      </a:lnTo>
                      <a:lnTo>
                        <a:pt x="92" y="93"/>
                      </a:lnTo>
                      <a:lnTo>
                        <a:pt x="95" y="90"/>
                      </a:lnTo>
                      <a:lnTo>
                        <a:pt x="95" y="90"/>
                      </a:lnTo>
                      <a:lnTo>
                        <a:pt x="95" y="90"/>
                      </a:lnTo>
                      <a:lnTo>
                        <a:pt x="93" y="89"/>
                      </a:lnTo>
                      <a:lnTo>
                        <a:pt x="93" y="89"/>
                      </a:lnTo>
                      <a:lnTo>
                        <a:pt x="95" y="87"/>
                      </a:lnTo>
                      <a:lnTo>
                        <a:pt x="95" y="87"/>
                      </a:lnTo>
                      <a:lnTo>
                        <a:pt x="95" y="86"/>
                      </a:lnTo>
                      <a:lnTo>
                        <a:pt x="95" y="82"/>
                      </a:lnTo>
                      <a:lnTo>
                        <a:pt x="95" y="82"/>
                      </a:lnTo>
                      <a:lnTo>
                        <a:pt x="91" y="80"/>
                      </a:lnTo>
                      <a:lnTo>
                        <a:pt x="86" y="78"/>
                      </a:lnTo>
                      <a:lnTo>
                        <a:pt x="86" y="78"/>
                      </a:lnTo>
                      <a:lnTo>
                        <a:pt x="86" y="78"/>
                      </a:lnTo>
                      <a:lnTo>
                        <a:pt x="86" y="80"/>
                      </a:lnTo>
                      <a:lnTo>
                        <a:pt x="86" y="80"/>
                      </a:lnTo>
                      <a:lnTo>
                        <a:pt x="86" y="80"/>
                      </a:lnTo>
                      <a:close/>
                      <a:moveTo>
                        <a:pt x="86" y="80"/>
                      </a:moveTo>
                      <a:lnTo>
                        <a:pt x="86" y="80"/>
                      </a:lnTo>
                      <a:lnTo>
                        <a:pt x="86" y="80"/>
                      </a:lnTo>
                      <a:lnTo>
                        <a:pt x="86" y="78"/>
                      </a:lnTo>
                      <a:lnTo>
                        <a:pt x="86" y="78"/>
                      </a:lnTo>
                      <a:lnTo>
                        <a:pt x="86" y="78"/>
                      </a:lnTo>
                      <a:lnTo>
                        <a:pt x="86" y="78"/>
                      </a:lnTo>
                      <a:lnTo>
                        <a:pt x="84" y="80"/>
                      </a:lnTo>
                      <a:lnTo>
                        <a:pt x="84" y="80"/>
                      </a:lnTo>
                      <a:lnTo>
                        <a:pt x="86" y="80"/>
                      </a:lnTo>
                      <a:lnTo>
                        <a:pt x="86" y="80"/>
                      </a:lnTo>
                      <a:lnTo>
                        <a:pt x="86" y="80"/>
                      </a:lnTo>
                      <a:close/>
                      <a:moveTo>
                        <a:pt x="80" y="91"/>
                      </a:moveTo>
                      <a:lnTo>
                        <a:pt x="80" y="91"/>
                      </a:lnTo>
                      <a:lnTo>
                        <a:pt x="83" y="93"/>
                      </a:lnTo>
                      <a:lnTo>
                        <a:pt x="83" y="93"/>
                      </a:lnTo>
                      <a:lnTo>
                        <a:pt x="82" y="91"/>
                      </a:lnTo>
                      <a:lnTo>
                        <a:pt x="80" y="91"/>
                      </a:lnTo>
                      <a:lnTo>
                        <a:pt x="80" y="91"/>
                      </a:lnTo>
                      <a:lnTo>
                        <a:pt x="80" y="91"/>
                      </a:lnTo>
                      <a:close/>
                      <a:moveTo>
                        <a:pt x="95" y="90"/>
                      </a:moveTo>
                      <a:lnTo>
                        <a:pt x="95" y="90"/>
                      </a:lnTo>
                      <a:lnTo>
                        <a:pt x="95" y="90"/>
                      </a:lnTo>
                      <a:lnTo>
                        <a:pt x="95" y="90"/>
                      </a:lnTo>
                      <a:lnTo>
                        <a:pt x="95" y="87"/>
                      </a:lnTo>
                      <a:lnTo>
                        <a:pt x="95" y="87"/>
                      </a:lnTo>
                      <a:lnTo>
                        <a:pt x="93" y="89"/>
                      </a:lnTo>
                      <a:lnTo>
                        <a:pt x="95" y="90"/>
                      </a:lnTo>
                      <a:lnTo>
                        <a:pt x="95" y="90"/>
                      </a:lnTo>
                      <a:lnTo>
                        <a:pt x="95" y="90"/>
                      </a:lnTo>
                      <a:close/>
                      <a:moveTo>
                        <a:pt x="88" y="164"/>
                      </a:moveTo>
                      <a:lnTo>
                        <a:pt x="88" y="164"/>
                      </a:lnTo>
                      <a:lnTo>
                        <a:pt x="80" y="164"/>
                      </a:lnTo>
                      <a:lnTo>
                        <a:pt x="73" y="163"/>
                      </a:lnTo>
                      <a:lnTo>
                        <a:pt x="65" y="160"/>
                      </a:lnTo>
                      <a:lnTo>
                        <a:pt x="58" y="158"/>
                      </a:lnTo>
                      <a:lnTo>
                        <a:pt x="51" y="155"/>
                      </a:lnTo>
                      <a:lnTo>
                        <a:pt x="45" y="151"/>
                      </a:lnTo>
                      <a:lnTo>
                        <a:pt x="39" y="146"/>
                      </a:lnTo>
                      <a:lnTo>
                        <a:pt x="34" y="141"/>
                      </a:lnTo>
                      <a:lnTo>
                        <a:pt x="29" y="136"/>
                      </a:lnTo>
                      <a:lnTo>
                        <a:pt x="24" y="130"/>
                      </a:lnTo>
                      <a:lnTo>
                        <a:pt x="20" y="124"/>
                      </a:lnTo>
                      <a:lnTo>
                        <a:pt x="17" y="117"/>
                      </a:lnTo>
                      <a:lnTo>
                        <a:pt x="15" y="110"/>
                      </a:lnTo>
                      <a:lnTo>
                        <a:pt x="13" y="103"/>
                      </a:lnTo>
                      <a:lnTo>
                        <a:pt x="11" y="95"/>
                      </a:lnTo>
                      <a:lnTo>
                        <a:pt x="11" y="87"/>
                      </a:lnTo>
                      <a:lnTo>
                        <a:pt x="11" y="87"/>
                      </a:lnTo>
                      <a:lnTo>
                        <a:pt x="11" y="80"/>
                      </a:lnTo>
                      <a:lnTo>
                        <a:pt x="13" y="71"/>
                      </a:lnTo>
                      <a:lnTo>
                        <a:pt x="15" y="65"/>
                      </a:lnTo>
                      <a:lnTo>
                        <a:pt x="17" y="57"/>
                      </a:lnTo>
                      <a:lnTo>
                        <a:pt x="20" y="50"/>
                      </a:lnTo>
                      <a:lnTo>
                        <a:pt x="24" y="44"/>
                      </a:lnTo>
                      <a:lnTo>
                        <a:pt x="29" y="38"/>
                      </a:lnTo>
                      <a:lnTo>
                        <a:pt x="34" y="32"/>
                      </a:lnTo>
                      <a:lnTo>
                        <a:pt x="39" y="28"/>
                      </a:lnTo>
                      <a:lnTo>
                        <a:pt x="45" y="23"/>
                      </a:lnTo>
                      <a:lnTo>
                        <a:pt x="51" y="19"/>
                      </a:lnTo>
                      <a:lnTo>
                        <a:pt x="58" y="16"/>
                      </a:lnTo>
                      <a:lnTo>
                        <a:pt x="65" y="14"/>
                      </a:lnTo>
                      <a:lnTo>
                        <a:pt x="73" y="13"/>
                      </a:lnTo>
                      <a:lnTo>
                        <a:pt x="80" y="12"/>
                      </a:lnTo>
                      <a:lnTo>
                        <a:pt x="88" y="10"/>
                      </a:lnTo>
                      <a:lnTo>
                        <a:pt x="88" y="10"/>
                      </a:lnTo>
                      <a:lnTo>
                        <a:pt x="95" y="12"/>
                      </a:lnTo>
                      <a:lnTo>
                        <a:pt x="103" y="13"/>
                      </a:lnTo>
                      <a:lnTo>
                        <a:pt x="110" y="14"/>
                      </a:lnTo>
                      <a:lnTo>
                        <a:pt x="117" y="16"/>
                      </a:lnTo>
                      <a:lnTo>
                        <a:pt x="124" y="19"/>
                      </a:lnTo>
                      <a:lnTo>
                        <a:pt x="131" y="23"/>
                      </a:lnTo>
                      <a:lnTo>
                        <a:pt x="137" y="28"/>
                      </a:lnTo>
                      <a:lnTo>
                        <a:pt x="142" y="32"/>
                      </a:lnTo>
                      <a:lnTo>
                        <a:pt x="146" y="38"/>
                      </a:lnTo>
                      <a:lnTo>
                        <a:pt x="151" y="44"/>
                      </a:lnTo>
                      <a:lnTo>
                        <a:pt x="156" y="50"/>
                      </a:lnTo>
                      <a:lnTo>
                        <a:pt x="159" y="57"/>
                      </a:lnTo>
                      <a:lnTo>
                        <a:pt x="161" y="65"/>
                      </a:lnTo>
                      <a:lnTo>
                        <a:pt x="163" y="71"/>
                      </a:lnTo>
                      <a:lnTo>
                        <a:pt x="164" y="80"/>
                      </a:lnTo>
                      <a:lnTo>
                        <a:pt x="164" y="87"/>
                      </a:lnTo>
                      <a:lnTo>
                        <a:pt x="164" y="87"/>
                      </a:lnTo>
                      <a:lnTo>
                        <a:pt x="164" y="95"/>
                      </a:lnTo>
                      <a:lnTo>
                        <a:pt x="163" y="103"/>
                      </a:lnTo>
                      <a:lnTo>
                        <a:pt x="161" y="110"/>
                      </a:lnTo>
                      <a:lnTo>
                        <a:pt x="159" y="117"/>
                      </a:lnTo>
                      <a:lnTo>
                        <a:pt x="156" y="124"/>
                      </a:lnTo>
                      <a:lnTo>
                        <a:pt x="151" y="130"/>
                      </a:lnTo>
                      <a:lnTo>
                        <a:pt x="146" y="136"/>
                      </a:lnTo>
                      <a:lnTo>
                        <a:pt x="142" y="141"/>
                      </a:lnTo>
                      <a:lnTo>
                        <a:pt x="137" y="146"/>
                      </a:lnTo>
                      <a:lnTo>
                        <a:pt x="131" y="151"/>
                      </a:lnTo>
                      <a:lnTo>
                        <a:pt x="124" y="155"/>
                      </a:lnTo>
                      <a:lnTo>
                        <a:pt x="117" y="158"/>
                      </a:lnTo>
                      <a:lnTo>
                        <a:pt x="110" y="160"/>
                      </a:lnTo>
                      <a:lnTo>
                        <a:pt x="103" y="163"/>
                      </a:lnTo>
                      <a:lnTo>
                        <a:pt x="95" y="164"/>
                      </a:lnTo>
                      <a:lnTo>
                        <a:pt x="88" y="164"/>
                      </a:lnTo>
                      <a:lnTo>
                        <a:pt x="88" y="164"/>
                      </a:lnTo>
                      <a:lnTo>
                        <a:pt x="88" y="164"/>
                      </a:lnTo>
                      <a:close/>
                      <a:moveTo>
                        <a:pt x="88" y="175"/>
                      </a:moveTo>
                      <a:lnTo>
                        <a:pt x="88" y="175"/>
                      </a:lnTo>
                      <a:lnTo>
                        <a:pt x="97" y="175"/>
                      </a:lnTo>
                      <a:lnTo>
                        <a:pt x="105" y="173"/>
                      </a:lnTo>
                      <a:lnTo>
                        <a:pt x="114" y="171"/>
                      </a:lnTo>
                      <a:lnTo>
                        <a:pt x="122" y="169"/>
                      </a:lnTo>
                      <a:lnTo>
                        <a:pt x="130" y="164"/>
                      </a:lnTo>
                      <a:lnTo>
                        <a:pt x="137" y="160"/>
                      </a:lnTo>
                      <a:lnTo>
                        <a:pt x="144" y="155"/>
                      </a:lnTo>
                      <a:lnTo>
                        <a:pt x="150" y="149"/>
                      </a:lnTo>
                      <a:lnTo>
                        <a:pt x="156" y="142"/>
                      </a:lnTo>
                      <a:lnTo>
                        <a:pt x="161" y="136"/>
                      </a:lnTo>
                      <a:lnTo>
                        <a:pt x="165" y="129"/>
                      </a:lnTo>
                      <a:lnTo>
                        <a:pt x="169" y="122"/>
                      </a:lnTo>
                      <a:lnTo>
                        <a:pt x="172" y="114"/>
                      </a:lnTo>
                      <a:lnTo>
                        <a:pt x="174" y="105"/>
                      </a:lnTo>
                      <a:lnTo>
                        <a:pt x="176" y="96"/>
                      </a:lnTo>
                      <a:lnTo>
                        <a:pt x="176" y="87"/>
                      </a:lnTo>
                      <a:lnTo>
                        <a:pt x="176" y="87"/>
                      </a:lnTo>
                      <a:lnTo>
                        <a:pt x="176" y="78"/>
                      </a:lnTo>
                      <a:lnTo>
                        <a:pt x="174" y="68"/>
                      </a:lnTo>
                      <a:lnTo>
                        <a:pt x="172" y="61"/>
                      </a:lnTo>
                      <a:lnTo>
                        <a:pt x="169" y="53"/>
                      </a:lnTo>
                      <a:lnTo>
                        <a:pt x="165" y="46"/>
                      </a:lnTo>
                      <a:lnTo>
                        <a:pt x="161" y="38"/>
                      </a:lnTo>
                      <a:lnTo>
                        <a:pt x="156" y="31"/>
                      </a:lnTo>
                      <a:lnTo>
                        <a:pt x="150" y="25"/>
                      </a:lnTo>
                      <a:lnTo>
                        <a:pt x="144" y="19"/>
                      </a:lnTo>
                      <a:lnTo>
                        <a:pt x="137" y="14"/>
                      </a:lnTo>
                      <a:lnTo>
                        <a:pt x="130" y="10"/>
                      </a:lnTo>
                      <a:lnTo>
                        <a:pt x="122" y="7"/>
                      </a:lnTo>
                      <a:lnTo>
                        <a:pt x="114" y="4"/>
                      </a:lnTo>
                      <a:lnTo>
                        <a:pt x="105" y="1"/>
                      </a:lnTo>
                      <a:lnTo>
                        <a:pt x="97" y="0"/>
                      </a:lnTo>
                      <a:lnTo>
                        <a:pt x="88" y="0"/>
                      </a:lnTo>
                      <a:lnTo>
                        <a:pt x="88" y="0"/>
                      </a:lnTo>
                      <a:lnTo>
                        <a:pt x="78" y="0"/>
                      </a:lnTo>
                      <a:lnTo>
                        <a:pt x="70" y="1"/>
                      </a:lnTo>
                      <a:lnTo>
                        <a:pt x="62" y="4"/>
                      </a:lnTo>
                      <a:lnTo>
                        <a:pt x="54" y="7"/>
                      </a:lnTo>
                      <a:lnTo>
                        <a:pt x="45" y="10"/>
                      </a:lnTo>
                      <a:lnTo>
                        <a:pt x="38" y="14"/>
                      </a:lnTo>
                      <a:lnTo>
                        <a:pt x="31" y="19"/>
                      </a:lnTo>
                      <a:lnTo>
                        <a:pt x="25" y="25"/>
                      </a:lnTo>
                      <a:lnTo>
                        <a:pt x="19" y="31"/>
                      </a:lnTo>
                      <a:lnTo>
                        <a:pt x="15" y="38"/>
                      </a:lnTo>
                      <a:lnTo>
                        <a:pt x="10" y="46"/>
                      </a:lnTo>
                      <a:lnTo>
                        <a:pt x="7" y="53"/>
                      </a:lnTo>
                      <a:lnTo>
                        <a:pt x="3" y="61"/>
                      </a:lnTo>
                      <a:lnTo>
                        <a:pt x="1" y="68"/>
                      </a:lnTo>
                      <a:lnTo>
                        <a:pt x="0" y="78"/>
                      </a:lnTo>
                      <a:lnTo>
                        <a:pt x="0" y="87"/>
                      </a:lnTo>
                      <a:lnTo>
                        <a:pt x="0" y="87"/>
                      </a:lnTo>
                      <a:lnTo>
                        <a:pt x="0" y="96"/>
                      </a:lnTo>
                      <a:lnTo>
                        <a:pt x="1" y="105"/>
                      </a:lnTo>
                      <a:lnTo>
                        <a:pt x="3" y="114"/>
                      </a:lnTo>
                      <a:lnTo>
                        <a:pt x="7" y="122"/>
                      </a:lnTo>
                      <a:lnTo>
                        <a:pt x="10" y="129"/>
                      </a:lnTo>
                      <a:lnTo>
                        <a:pt x="15" y="136"/>
                      </a:lnTo>
                      <a:lnTo>
                        <a:pt x="19" y="142"/>
                      </a:lnTo>
                      <a:lnTo>
                        <a:pt x="25" y="149"/>
                      </a:lnTo>
                      <a:lnTo>
                        <a:pt x="31" y="155"/>
                      </a:lnTo>
                      <a:lnTo>
                        <a:pt x="38" y="160"/>
                      </a:lnTo>
                      <a:lnTo>
                        <a:pt x="45" y="164"/>
                      </a:lnTo>
                      <a:lnTo>
                        <a:pt x="54" y="169"/>
                      </a:lnTo>
                      <a:lnTo>
                        <a:pt x="62" y="171"/>
                      </a:lnTo>
                      <a:lnTo>
                        <a:pt x="70" y="173"/>
                      </a:lnTo>
                      <a:lnTo>
                        <a:pt x="78" y="175"/>
                      </a:lnTo>
                      <a:lnTo>
                        <a:pt x="88" y="175"/>
                      </a:lnTo>
                      <a:lnTo>
                        <a:pt x="88" y="175"/>
                      </a:lnTo>
                      <a:lnTo>
                        <a:pt x="88" y="175"/>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16" name="Freeform 213"/>
                <p:cNvSpPr>
                  <a:spLocks noEditPoints="1"/>
                </p:cNvSpPr>
                <p:nvPr/>
              </p:nvSpPr>
              <p:spPr bwMode="auto">
                <a:xfrm rot="5400000">
                  <a:off x="10945612" y="442420"/>
                  <a:ext cx="190649" cy="202224"/>
                </a:xfrm>
                <a:custGeom>
                  <a:avLst/>
                  <a:gdLst>
                    <a:gd name="T0" fmla="*/ 54 w 174"/>
                    <a:gd name="T1" fmla="*/ 35 h 177"/>
                    <a:gd name="T2" fmla="*/ 72 w 174"/>
                    <a:gd name="T3" fmla="*/ 35 h 177"/>
                    <a:gd name="T4" fmla="*/ 72 w 174"/>
                    <a:gd name="T5" fmla="*/ 54 h 177"/>
                    <a:gd name="T6" fmla="*/ 91 w 174"/>
                    <a:gd name="T7" fmla="*/ 54 h 177"/>
                    <a:gd name="T8" fmla="*/ 91 w 174"/>
                    <a:gd name="T9" fmla="*/ 72 h 177"/>
                    <a:gd name="T10" fmla="*/ 72 w 174"/>
                    <a:gd name="T11" fmla="*/ 72 h 177"/>
                    <a:gd name="T12" fmla="*/ 72 w 174"/>
                    <a:gd name="T13" fmla="*/ 92 h 177"/>
                    <a:gd name="T14" fmla="*/ 54 w 174"/>
                    <a:gd name="T15" fmla="*/ 92 h 177"/>
                    <a:gd name="T16" fmla="*/ 54 w 174"/>
                    <a:gd name="T17" fmla="*/ 72 h 177"/>
                    <a:gd name="T18" fmla="*/ 34 w 174"/>
                    <a:gd name="T19" fmla="*/ 72 h 177"/>
                    <a:gd name="T20" fmla="*/ 34 w 174"/>
                    <a:gd name="T21" fmla="*/ 54 h 177"/>
                    <a:gd name="T22" fmla="*/ 54 w 174"/>
                    <a:gd name="T23" fmla="*/ 54 h 177"/>
                    <a:gd name="T24" fmla="*/ 54 w 174"/>
                    <a:gd name="T25" fmla="*/ 35 h 177"/>
                    <a:gd name="T26" fmla="*/ 63 w 174"/>
                    <a:gd name="T27" fmla="*/ 11 h 177"/>
                    <a:gd name="T28" fmla="*/ 10 w 174"/>
                    <a:gd name="T29" fmla="*/ 63 h 177"/>
                    <a:gd name="T30" fmla="*/ 63 w 174"/>
                    <a:gd name="T31" fmla="*/ 116 h 177"/>
                    <a:gd name="T32" fmla="*/ 115 w 174"/>
                    <a:gd name="T33" fmla="*/ 63 h 177"/>
                    <a:gd name="T34" fmla="*/ 63 w 174"/>
                    <a:gd name="T35" fmla="*/ 11 h 177"/>
                    <a:gd name="T36" fmla="*/ 63 w 174"/>
                    <a:gd name="T37" fmla="*/ 0 h 177"/>
                    <a:gd name="T38" fmla="*/ 126 w 174"/>
                    <a:gd name="T39" fmla="*/ 63 h 177"/>
                    <a:gd name="T40" fmla="*/ 113 w 174"/>
                    <a:gd name="T41" fmla="*/ 101 h 177"/>
                    <a:gd name="T42" fmla="*/ 117 w 174"/>
                    <a:gd name="T43" fmla="*/ 105 h 177"/>
                    <a:gd name="T44" fmla="*/ 125 w 174"/>
                    <a:gd name="T45" fmla="*/ 103 h 177"/>
                    <a:gd name="T46" fmla="*/ 170 w 174"/>
                    <a:gd name="T47" fmla="*/ 148 h 177"/>
                    <a:gd name="T48" fmla="*/ 146 w 174"/>
                    <a:gd name="T49" fmla="*/ 172 h 177"/>
                    <a:gd name="T50" fmla="*/ 100 w 174"/>
                    <a:gd name="T51" fmla="*/ 128 h 177"/>
                    <a:gd name="T52" fmla="*/ 103 w 174"/>
                    <a:gd name="T53" fmla="*/ 119 h 177"/>
                    <a:gd name="T54" fmla="*/ 98 w 174"/>
                    <a:gd name="T55" fmla="*/ 116 h 177"/>
                    <a:gd name="T56" fmla="*/ 63 w 174"/>
                    <a:gd name="T57" fmla="*/ 126 h 177"/>
                    <a:gd name="T58" fmla="*/ 0 w 174"/>
                    <a:gd name="T59" fmla="*/ 63 h 177"/>
                    <a:gd name="T60" fmla="*/ 63 w 174"/>
                    <a:gd name="T61"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4" h="177">
                      <a:moveTo>
                        <a:pt x="54" y="35"/>
                      </a:moveTo>
                      <a:cubicBezTo>
                        <a:pt x="72" y="35"/>
                        <a:pt x="72" y="35"/>
                        <a:pt x="72" y="35"/>
                      </a:cubicBezTo>
                      <a:cubicBezTo>
                        <a:pt x="72" y="54"/>
                        <a:pt x="72" y="54"/>
                        <a:pt x="72" y="54"/>
                      </a:cubicBezTo>
                      <a:cubicBezTo>
                        <a:pt x="91" y="54"/>
                        <a:pt x="91" y="54"/>
                        <a:pt x="91" y="54"/>
                      </a:cubicBezTo>
                      <a:cubicBezTo>
                        <a:pt x="91" y="72"/>
                        <a:pt x="91" y="72"/>
                        <a:pt x="91" y="72"/>
                      </a:cubicBezTo>
                      <a:cubicBezTo>
                        <a:pt x="72" y="72"/>
                        <a:pt x="72" y="72"/>
                        <a:pt x="72" y="72"/>
                      </a:cubicBezTo>
                      <a:cubicBezTo>
                        <a:pt x="72" y="92"/>
                        <a:pt x="72" y="92"/>
                        <a:pt x="72" y="92"/>
                      </a:cubicBezTo>
                      <a:cubicBezTo>
                        <a:pt x="54" y="92"/>
                        <a:pt x="54" y="92"/>
                        <a:pt x="54" y="92"/>
                      </a:cubicBezTo>
                      <a:cubicBezTo>
                        <a:pt x="54" y="72"/>
                        <a:pt x="54" y="72"/>
                        <a:pt x="54" y="72"/>
                      </a:cubicBezTo>
                      <a:cubicBezTo>
                        <a:pt x="34" y="72"/>
                        <a:pt x="34" y="72"/>
                        <a:pt x="34" y="72"/>
                      </a:cubicBezTo>
                      <a:cubicBezTo>
                        <a:pt x="34" y="54"/>
                        <a:pt x="34" y="54"/>
                        <a:pt x="34" y="54"/>
                      </a:cubicBezTo>
                      <a:cubicBezTo>
                        <a:pt x="54" y="54"/>
                        <a:pt x="54" y="54"/>
                        <a:pt x="54" y="54"/>
                      </a:cubicBezTo>
                      <a:cubicBezTo>
                        <a:pt x="54" y="35"/>
                        <a:pt x="54" y="35"/>
                        <a:pt x="54" y="35"/>
                      </a:cubicBezTo>
                      <a:close/>
                      <a:moveTo>
                        <a:pt x="63" y="11"/>
                      </a:moveTo>
                      <a:cubicBezTo>
                        <a:pt x="34" y="11"/>
                        <a:pt x="10" y="34"/>
                        <a:pt x="10" y="63"/>
                      </a:cubicBezTo>
                      <a:cubicBezTo>
                        <a:pt x="10" y="92"/>
                        <a:pt x="34" y="116"/>
                        <a:pt x="63" y="116"/>
                      </a:cubicBezTo>
                      <a:cubicBezTo>
                        <a:pt x="92" y="116"/>
                        <a:pt x="115" y="92"/>
                        <a:pt x="115" y="63"/>
                      </a:cubicBezTo>
                      <a:cubicBezTo>
                        <a:pt x="115" y="34"/>
                        <a:pt x="92" y="11"/>
                        <a:pt x="63" y="11"/>
                      </a:cubicBezTo>
                      <a:close/>
                      <a:moveTo>
                        <a:pt x="63" y="0"/>
                      </a:moveTo>
                      <a:cubicBezTo>
                        <a:pt x="98" y="0"/>
                        <a:pt x="126" y="28"/>
                        <a:pt x="126" y="63"/>
                      </a:cubicBezTo>
                      <a:cubicBezTo>
                        <a:pt x="126" y="78"/>
                        <a:pt x="121" y="91"/>
                        <a:pt x="113" y="101"/>
                      </a:cubicBezTo>
                      <a:cubicBezTo>
                        <a:pt x="117" y="105"/>
                        <a:pt x="117" y="105"/>
                        <a:pt x="117" y="105"/>
                      </a:cubicBezTo>
                      <a:cubicBezTo>
                        <a:pt x="125" y="103"/>
                        <a:pt x="125" y="103"/>
                        <a:pt x="125" y="103"/>
                      </a:cubicBezTo>
                      <a:cubicBezTo>
                        <a:pt x="170" y="148"/>
                        <a:pt x="170" y="148"/>
                        <a:pt x="170" y="148"/>
                      </a:cubicBezTo>
                      <a:cubicBezTo>
                        <a:pt x="171" y="155"/>
                        <a:pt x="174" y="177"/>
                        <a:pt x="146" y="172"/>
                      </a:cubicBezTo>
                      <a:cubicBezTo>
                        <a:pt x="100" y="128"/>
                        <a:pt x="100" y="128"/>
                        <a:pt x="100" y="128"/>
                      </a:cubicBezTo>
                      <a:cubicBezTo>
                        <a:pt x="103" y="119"/>
                        <a:pt x="103" y="119"/>
                        <a:pt x="103" y="119"/>
                      </a:cubicBezTo>
                      <a:cubicBezTo>
                        <a:pt x="98" y="116"/>
                        <a:pt x="98" y="116"/>
                        <a:pt x="98" y="116"/>
                      </a:cubicBezTo>
                      <a:cubicBezTo>
                        <a:pt x="88" y="122"/>
                        <a:pt x="76" y="126"/>
                        <a:pt x="63" y="126"/>
                      </a:cubicBezTo>
                      <a:cubicBezTo>
                        <a:pt x="28" y="126"/>
                        <a:pt x="0" y="98"/>
                        <a:pt x="0" y="63"/>
                      </a:cubicBezTo>
                      <a:cubicBezTo>
                        <a:pt x="0" y="28"/>
                        <a:pt x="28" y="0"/>
                        <a:pt x="63" y="0"/>
                      </a:cubicBezTo>
                      <a:close/>
                    </a:path>
                  </a:pathLst>
                </a:custGeom>
                <a:solidFill>
                  <a:srgbClr val="5A5A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17" name="Freeform 214"/>
                <p:cNvSpPr>
                  <a:spLocks noEditPoints="1"/>
                </p:cNvSpPr>
                <p:nvPr/>
              </p:nvSpPr>
              <p:spPr bwMode="auto">
                <a:xfrm>
                  <a:off x="10561566" y="159385"/>
                  <a:ext cx="110605" cy="208261"/>
                </a:xfrm>
                <a:custGeom>
                  <a:avLst/>
                  <a:gdLst>
                    <a:gd name="T0" fmla="*/ 43 w 101"/>
                    <a:gd name="T1" fmla="*/ 165 h 183"/>
                    <a:gd name="T2" fmla="*/ 42 w 101"/>
                    <a:gd name="T3" fmla="*/ 166 h 183"/>
                    <a:gd name="T4" fmla="*/ 42 w 101"/>
                    <a:gd name="T5" fmla="*/ 172 h 183"/>
                    <a:gd name="T6" fmla="*/ 43 w 101"/>
                    <a:gd name="T7" fmla="*/ 174 h 183"/>
                    <a:gd name="T8" fmla="*/ 57 w 101"/>
                    <a:gd name="T9" fmla="*/ 174 h 183"/>
                    <a:gd name="T10" fmla="*/ 59 w 101"/>
                    <a:gd name="T11" fmla="*/ 172 h 183"/>
                    <a:gd name="T12" fmla="*/ 59 w 101"/>
                    <a:gd name="T13" fmla="*/ 166 h 183"/>
                    <a:gd name="T14" fmla="*/ 57 w 101"/>
                    <a:gd name="T15" fmla="*/ 165 h 183"/>
                    <a:gd name="T16" fmla="*/ 43 w 101"/>
                    <a:gd name="T17" fmla="*/ 165 h 183"/>
                    <a:gd name="T18" fmla="*/ 7 w 101"/>
                    <a:gd name="T19" fmla="*/ 11 h 183"/>
                    <a:gd name="T20" fmla="*/ 6 w 101"/>
                    <a:gd name="T21" fmla="*/ 12 h 183"/>
                    <a:gd name="T22" fmla="*/ 6 w 101"/>
                    <a:gd name="T23" fmla="*/ 160 h 183"/>
                    <a:gd name="T24" fmla="*/ 7 w 101"/>
                    <a:gd name="T25" fmla="*/ 161 h 183"/>
                    <a:gd name="T26" fmla="*/ 94 w 101"/>
                    <a:gd name="T27" fmla="*/ 161 h 183"/>
                    <a:gd name="T28" fmla="*/ 95 w 101"/>
                    <a:gd name="T29" fmla="*/ 160 h 183"/>
                    <a:gd name="T30" fmla="*/ 95 w 101"/>
                    <a:gd name="T31" fmla="*/ 12 h 183"/>
                    <a:gd name="T32" fmla="*/ 94 w 101"/>
                    <a:gd name="T33" fmla="*/ 11 h 183"/>
                    <a:gd name="T34" fmla="*/ 7 w 101"/>
                    <a:gd name="T35" fmla="*/ 11 h 183"/>
                    <a:gd name="T36" fmla="*/ 43 w 101"/>
                    <a:gd name="T37" fmla="*/ 4 h 183"/>
                    <a:gd name="T38" fmla="*/ 43 w 101"/>
                    <a:gd name="T39" fmla="*/ 5 h 183"/>
                    <a:gd name="T40" fmla="*/ 43 w 101"/>
                    <a:gd name="T41" fmla="*/ 6 h 183"/>
                    <a:gd name="T42" fmla="*/ 43 w 101"/>
                    <a:gd name="T43" fmla="*/ 7 h 183"/>
                    <a:gd name="T44" fmla="*/ 57 w 101"/>
                    <a:gd name="T45" fmla="*/ 7 h 183"/>
                    <a:gd name="T46" fmla="*/ 58 w 101"/>
                    <a:gd name="T47" fmla="*/ 6 h 183"/>
                    <a:gd name="T48" fmla="*/ 58 w 101"/>
                    <a:gd name="T49" fmla="*/ 5 h 183"/>
                    <a:gd name="T50" fmla="*/ 57 w 101"/>
                    <a:gd name="T51" fmla="*/ 4 h 183"/>
                    <a:gd name="T52" fmla="*/ 43 w 101"/>
                    <a:gd name="T53" fmla="*/ 4 h 183"/>
                    <a:gd name="T54" fmla="*/ 81 w 101"/>
                    <a:gd name="T55" fmla="*/ 3 h 183"/>
                    <a:gd name="T56" fmla="*/ 79 w 101"/>
                    <a:gd name="T57" fmla="*/ 5 h 183"/>
                    <a:gd name="T58" fmla="*/ 81 w 101"/>
                    <a:gd name="T59" fmla="*/ 8 h 183"/>
                    <a:gd name="T60" fmla="*/ 84 w 101"/>
                    <a:gd name="T61" fmla="*/ 5 h 183"/>
                    <a:gd name="T62" fmla="*/ 81 w 101"/>
                    <a:gd name="T63" fmla="*/ 3 h 183"/>
                    <a:gd name="T64" fmla="*/ 5 w 101"/>
                    <a:gd name="T65" fmla="*/ 0 h 183"/>
                    <a:gd name="T66" fmla="*/ 95 w 101"/>
                    <a:gd name="T67" fmla="*/ 0 h 183"/>
                    <a:gd name="T68" fmla="*/ 101 w 101"/>
                    <a:gd name="T69" fmla="*/ 5 h 183"/>
                    <a:gd name="T70" fmla="*/ 101 w 101"/>
                    <a:gd name="T71" fmla="*/ 177 h 183"/>
                    <a:gd name="T72" fmla="*/ 95 w 101"/>
                    <a:gd name="T73" fmla="*/ 183 h 183"/>
                    <a:gd name="T74" fmla="*/ 5 w 101"/>
                    <a:gd name="T75" fmla="*/ 183 h 183"/>
                    <a:gd name="T76" fmla="*/ 0 w 101"/>
                    <a:gd name="T77" fmla="*/ 177 h 183"/>
                    <a:gd name="T78" fmla="*/ 0 w 101"/>
                    <a:gd name="T79" fmla="*/ 5 h 183"/>
                    <a:gd name="T80" fmla="*/ 5 w 101"/>
                    <a:gd name="T81"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1" h="183">
                      <a:moveTo>
                        <a:pt x="43" y="165"/>
                      </a:moveTo>
                      <a:cubicBezTo>
                        <a:pt x="42" y="165"/>
                        <a:pt x="42" y="166"/>
                        <a:pt x="42" y="166"/>
                      </a:cubicBezTo>
                      <a:cubicBezTo>
                        <a:pt x="42" y="172"/>
                        <a:pt x="42" y="172"/>
                        <a:pt x="42" y="172"/>
                      </a:cubicBezTo>
                      <a:cubicBezTo>
                        <a:pt x="42" y="173"/>
                        <a:pt x="42" y="174"/>
                        <a:pt x="43" y="174"/>
                      </a:cubicBezTo>
                      <a:cubicBezTo>
                        <a:pt x="57" y="174"/>
                        <a:pt x="57" y="174"/>
                        <a:pt x="57" y="174"/>
                      </a:cubicBezTo>
                      <a:cubicBezTo>
                        <a:pt x="58" y="174"/>
                        <a:pt x="59" y="173"/>
                        <a:pt x="59" y="172"/>
                      </a:cubicBezTo>
                      <a:cubicBezTo>
                        <a:pt x="59" y="166"/>
                        <a:pt x="59" y="166"/>
                        <a:pt x="59" y="166"/>
                      </a:cubicBezTo>
                      <a:cubicBezTo>
                        <a:pt x="59" y="166"/>
                        <a:pt x="58" y="165"/>
                        <a:pt x="57" y="165"/>
                      </a:cubicBezTo>
                      <a:lnTo>
                        <a:pt x="43" y="165"/>
                      </a:lnTo>
                      <a:close/>
                      <a:moveTo>
                        <a:pt x="7" y="11"/>
                      </a:moveTo>
                      <a:cubicBezTo>
                        <a:pt x="6" y="11"/>
                        <a:pt x="6" y="11"/>
                        <a:pt x="6" y="12"/>
                      </a:cubicBezTo>
                      <a:cubicBezTo>
                        <a:pt x="6" y="160"/>
                        <a:pt x="6" y="160"/>
                        <a:pt x="6" y="160"/>
                      </a:cubicBezTo>
                      <a:cubicBezTo>
                        <a:pt x="6" y="160"/>
                        <a:pt x="6" y="161"/>
                        <a:pt x="7" y="161"/>
                      </a:cubicBezTo>
                      <a:cubicBezTo>
                        <a:pt x="94" y="161"/>
                        <a:pt x="94" y="161"/>
                        <a:pt x="94" y="161"/>
                      </a:cubicBezTo>
                      <a:cubicBezTo>
                        <a:pt x="94" y="161"/>
                        <a:pt x="95" y="160"/>
                        <a:pt x="95" y="160"/>
                      </a:cubicBezTo>
                      <a:cubicBezTo>
                        <a:pt x="95" y="12"/>
                        <a:pt x="95" y="12"/>
                        <a:pt x="95" y="12"/>
                      </a:cubicBezTo>
                      <a:cubicBezTo>
                        <a:pt x="95" y="11"/>
                        <a:pt x="94" y="11"/>
                        <a:pt x="94" y="11"/>
                      </a:cubicBezTo>
                      <a:lnTo>
                        <a:pt x="7" y="11"/>
                      </a:lnTo>
                      <a:close/>
                      <a:moveTo>
                        <a:pt x="43" y="4"/>
                      </a:moveTo>
                      <a:cubicBezTo>
                        <a:pt x="43" y="4"/>
                        <a:pt x="43" y="5"/>
                        <a:pt x="43" y="5"/>
                      </a:cubicBezTo>
                      <a:cubicBezTo>
                        <a:pt x="43" y="6"/>
                        <a:pt x="43" y="6"/>
                        <a:pt x="43" y="6"/>
                      </a:cubicBezTo>
                      <a:cubicBezTo>
                        <a:pt x="43" y="7"/>
                        <a:pt x="43" y="7"/>
                        <a:pt x="43" y="7"/>
                      </a:cubicBezTo>
                      <a:cubicBezTo>
                        <a:pt x="57" y="7"/>
                        <a:pt x="57" y="7"/>
                        <a:pt x="57" y="7"/>
                      </a:cubicBezTo>
                      <a:cubicBezTo>
                        <a:pt x="57" y="7"/>
                        <a:pt x="58" y="7"/>
                        <a:pt x="58" y="6"/>
                      </a:cubicBezTo>
                      <a:cubicBezTo>
                        <a:pt x="58" y="5"/>
                        <a:pt x="58" y="5"/>
                        <a:pt x="58" y="5"/>
                      </a:cubicBezTo>
                      <a:cubicBezTo>
                        <a:pt x="58" y="5"/>
                        <a:pt x="57" y="4"/>
                        <a:pt x="57" y="4"/>
                      </a:cubicBezTo>
                      <a:lnTo>
                        <a:pt x="43" y="4"/>
                      </a:lnTo>
                      <a:close/>
                      <a:moveTo>
                        <a:pt x="81" y="3"/>
                      </a:moveTo>
                      <a:cubicBezTo>
                        <a:pt x="80" y="3"/>
                        <a:pt x="79" y="4"/>
                        <a:pt x="79" y="5"/>
                      </a:cubicBezTo>
                      <a:cubicBezTo>
                        <a:pt x="79" y="7"/>
                        <a:pt x="80" y="8"/>
                        <a:pt x="81" y="8"/>
                      </a:cubicBezTo>
                      <a:cubicBezTo>
                        <a:pt x="83" y="8"/>
                        <a:pt x="84" y="7"/>
                        <a:pt x="84" y="5"/>
                      </a:cubicBezTo>
                      <a:cubicBezTo>
                        <a:pt x="84" y="4"/>
                        <a:pt x="83" y="3"/>
                        <a:pt x="81" y="3"/>
                      </a:cubicBezTo>
                      <a:close/>
                      <a:moveTo>
                        <a:pt x="5" y="0"/>
                      </a:moveTo>
                      <a:cubicBezTo>
                        <a:pt x="95" y="0"/>
                        <a:pt x="95" y="0"/>
                        <a:pt x="95" y="0"/>
                      </a:cubicBezTo>
                      <a:cubicBezTo>
                        <a:pt x="98" y="0"/>
                        <a:pt x="101" y="2"/>
                        <a:pt x="101" y="5"/>
                      </a:cubicBezTo>
                      <a:cubicBezTo>
                        <a:pt x="101" y="177"/>
                        <a:pt x="101" y="177"/>
                        <a:pt x="101" y="177"/>
                      </a:cubicBezTo>
                      <a:cubicBezTo>
                        <a:pt x="101" y="180"/>
                        <a:pt x="98" y="183"/>
                        <a:pt x="95" y="183"/>
                      </a:cubicBezTo>
                      <a:cubicBezTo>
                        <a:pt x="5" y="183"/>
                        <a:pt x="5" y="183"/>
                        <a:pt x="5" y="183"/>
                      </a:cubicBezTo>
                      <a:cubicBezTo>
                        <a:pt x="2" y="183"/>
                        <a:pt x="0" y="180"/>
                        <a:pt x="0" y="177"/>
                      </a:cubicBezTo>
                      <a:cubicBezTo>
                        <a:pt x="0" y="5"/>
                        <a:pt x="0" y="5"/>
                        <a:pt x="0" y="5"/>
                      </a:cubicBezTo>
                      <a:cubicBezTo>
                        <a:pt x="0" y="2"/>
                        <a:pt x="2" y="0"/>
                        <a:pt x="5" y="0"/>
                      </a:cubicBezTo>
                      <a:close/>
                    </a:path>
                  </a:pathLst>
                </a:custGeom>
                <a:solidFill>
                  <a:srgbClr val="F78C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18" name="Freeform 215"/>
                <p:cNvSpPr>
                  <a:spLocks noEditPoints="1"/>
                </p:cNvSpPr>
                <p:nvPr/>
              </p:nvSpPr>
              <p:spPr bwMode="auto">
                <a:xfrm>
                  <a:off x="11958300" y="504892"/>
                  <a:ext cx="112061" cy="208261"/>
                </a:xfrm>
                <a:custGeom>
                  <a:avLst/>
                  <a:gdLst>
                    <a:gd name="T0" fmla="*/ 51 w 102"/>
                    <a:gd name="T1" fmla="*/ 142 h 183"/>
                    <a:gd name="T2" fmla="*/ 45 w 102"/>
                    <a:gd name="T3" fmla="*/ 148 h 183"/>
                    <a:gd name="T4" fmla="*/ 51 w 102"/>
                    <a:gd name="T5" fmla="*/ 154 h 183"/>
                    <a:gd name="T6" fmla="*/ 57 w 102"/>
                    <a:gd name="T7" fmla="*/ 148 h 183"/>
                    <a:gd name="T8" fmla="*/ 51 w 102"/>
                    <a:gd name="T9" fmla="*/ 142 h 183"/>
                    <a:gd name="T10" fmla="*/ 51 w 102"/>
                    <a:gd name="T11" fmla="*/ 117 h 183"/>
                    <a:gd name="T12" fmla="*/ 40 w 102"/>
                    <a:gd name="T13" fmla="*/ 128 h 183"/>
                    <a:gd name="T14" fmla="*/ 51 w 102"/>
                    <a:gd name="T15" fmla="*/ 139 h 183"/>
                    <a:gd name="T16" fmla="*/ 62 w 102"/>
                    <a:gd name="T17" fmla="*/ 128 h 183"/>
                    <a:gd name="T18" fmla="*/ 51 w 102"/>
                    <a:gd name="T19" fmla="*/ 117 h 183"/>
                    <a:gd name="T20" fmla="*/ 72 w 102"/>
                    <a:gd name="T21" fmla="*/ 52 h 183"/>
                    <a:gd name="T22" fmla="*/ 72 w 102"/>
                    <a:gd name="T23" fmla="*/ 105 h 183"/>
                    <a:gd name="T24" fmla="*/ 78 w 102"/>
                    <a:gd name="T25" fmla="*/ 105 h 183"/>
                    <a:gd name="T26" fmla="*/ 78 w 102"/>
                    <a:gd name="T27" fmla="*/ 52 h 183"/>
                    <a:gd name="T28" fmla="*/ 72 w 102"/>
                    <a:gd name="T29" fmla="*/ 52 h 183"/>
                    <a:gd name="T30" fmla="*/ 56 w 102"/>
                    <a:gd name="T31" fmla="*/ 52 h 183"/>
                    <a:gd name="T32" fmla="*/ 56 w 102"/>
                    <a:gd name="T33" fmla="*/ 105 h 183"/>
                    <a:gd name="T34" fmla="*/ 63 w 102"/>
                    <a:gd name="T35" fmla="*/ 105 h 183"/>
                    <a:gd name="T36" fmla="*/ 63 w 102"/>
                    <a:gd name="T37" fmla="*/ 52 h 183"/>
                    <a:gd name="T38" fmla="*/ 56 w 102"/>
                    <a:gd name="T39" fmla="*/ 52 h 183"/>
                    <a:gd name="T40" fmla="*/ 40 w 102"/>
                    <a:gd name="T41" fmla="*/ 52 h 183"/>
                    <a:gd name="T42" fmla="*/ 40 w 102"/>
                    <a:gd name="T43" fmla="*/ 105 h 183"/>
                    <a:gd name="T44" fmla="*/ 47 w 102"/>
                    <a:gd name="T45" fmla="*/ 105 h 183"/>
                    <a:gd name="T46" fmla="*/ 47 w 102"/>
                    <a:gd name="T47" fmla="*/ 52 h 183"/>
                    <a:gd name="T48" fmla="*/ 40 w 102"/>
                    <a:gd name="T49" fmla="*/ 52 h 183"/>
                    <a:gd name="T50" fmla="*/ 24 w 102"/>
                    <a:gd name="T51" fmla="*/ 52 h 183"/>
                    <a:gd name="T52" fmla="*/ 24 w 102"/>
                    <a:gd name="T53" fmla="*/ 105 h 183"/>
                    <a:gd name="T54" fmla="*/ 31 w 102"/>
                    <a:gd name="T55" fmla="*/ 105 h 183"/>
                    <a:gd name="T56" fmla="*/ 31 w 102"/>
                    <a:gd name="T57" fmla="*/ 52 h 183"/>
                    <a:gd name="T58" fmla="*/ 24 w 102"/>
                    <a:gd name="T59" fmla="*/ 52 h 183"/>
                    <a:gd name="T60" fmla="*/ 13 w 102"/>
                    <a:gd name="T61" fmla="*/ 15 h 183"/>
                    <a:gd name="T62" fmla="*/ 11 w 102"/>
                    <a:gd name="T63" fmla="*/ 17 h 183"/>
                    <a:gd name="T64" fmla="*/ 11 w 102"/>
                    <a:gd name="T65" fmla="*/ 26 h 183"/>
                    <a:gd name="T66" fmla="*/ 13 w 102"/>
                    <a:gd name="T67" fmla="*/ 28 h 183"/>
                    <a:gd name="T68" fmla="*/ 89 w 102"/>
                    <a:gd name="T69" fmla="*/ 28 h 183"/>
                    <a:gd name="T70" fmla="*/ 91 w 102"/>
                    <a:gd name="T71" fmla="*/ 26 h 183"/>
                    <a:gd name="T72" fmla="*/ 91 w 102"/>
                    <a:gd name="T73" fmla="*/ 17 h 183"/>
                    <a:gd name="T74" fmla="*/ 89 w 102"/>
                    <a:gd name="T75" fmla="*/ 15 h 183"/>
                    <a:gd name="T76" fmla="*/ 13 w 102"/>
                    <a:gd name="T77" fmla="*/ 15 h 183"/>
                    <a:gd name="T78" fmla="*/ 5 w 102"/>
                    <a:gd name="T79" fmla="*/ 0 h 183"/>
                    <a:gd name="T80" fmla="*/ 97 w 102"/>
                    <a:gd name="T81" fmla="*/ 0 h 183"/>
                    <a:gd name="T82" fmla="*/ 102 w 102"/>
                    <a:gd name="T83" fmla="*/ 5 h 183"/>
                    <a:gd name="T84" fmla="*/ 102 w 102"/>
                    <a:gd name="T85" fmla="*/ 174 h 183"/>
                    <a:gd name="T86" fmla="*/ 97 w 102"/>
                    <a:gd name="T87" fmla="*/ 180 h 183"/>
                    <a:gd name="T88" fmla="*/ 91 w 102"/>
                    <a:gd name="T89" fmla="*/ 180 h 183"/>
                    <a:gd name="T90" fmla="*/ 91 w 102"/>
                    <a:gd name="T91" fmla="*/ 183 h 183"/>
                    <a:gd name="T92" fmla="*/ 11 w 102"/>
                    <a:gd name="T93" fmla="*/ 183 h 183"/>
                    <a:gd name="T94" fmla="*/ 11 w 102"/>
                    <a:gd name="T95" fmla="*/ 180 h 183"/>
                    <a:gd name="T96" fmla="*/ 5 w 102"/>
                    <a:gd name="T97" fmla="*/ 180 h 183"/>
                    <a:gd name="T98" fmla="*/ 0 w 102"/>
                    <a:gd name="T99" fmla="*/ 174 h 183"/>
                    <a:gd name="T100" fmla="*/ 0 w 102"/>
                    <a:gd name="T101" fmla="*/ 5 h 183"/>
                    <a:gd name="T102" fmla="*/ 5 w 102"/>
                    <a:gd name="T103"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2" h="183">
                      <a:moveTo>
                        <a:pt x="51" y="142"/>
                      </a:moveTo>
                      <a:cubicBezTo>
                        <a:pt x="48" y="142"/>
                        <a:pt x="45" y="145"/>
                        <a:pt x="45" y="148"/>
                      </a:cubicBezTo>
                      <a:cubicBezTo>
                        <a:pt x="45" y="151"/>
                        <a:pt x="48" y="154"/>
                        <a:pt x="51" y="154"/>
                      </a:cubicBezTo>
                      <a:cubicBezTo>
                        <a:pt x="54" y="154"/>
                        <a:pt x="57" y="151"/>
                        <a:pt x="57" y="148"/>
                      </a:cubicBezTo>
                      <a:cubicBezTo>
                        <a:pt x="57" y="145"/>
                        <a:pt x="54" y="142"/>
                        <a:pt x="51" y="142"/>
                      </a:cubicBezTo>
                      <a:close/>
                      <a:moveTo>
                        <a:pt x="51" y="117"/>
                      </a:moveTo>
                      <a:cubicBezTo>
                        <a:pt x="45" y="117"/>
                        <a:pt x="40" y="122"/>
                        <a:pt x="40" y="128"/>
                      </a:cubicBezTo>
                      <a:cubicBezTo>
                        <a:pt x="40" y="134"/>
                        <a:pt x="45" y="139"/>
                        <a:pt x="51" y="139"/>
                      </a:cubicBezTo>
                      <a:cubicBezTo>
                        <a:pt x="57" y="139"/>
                        <a:pt x="62" y="134"/>
                        <a:pt x="62" y="128"/>
                      </a:cubicBezTo>
                      <a:cubicBezTo>
                        <a:pt x="62" y="122"/>
                        <a:pt x="57" y="117"/>
                        <a:pt x="51" y="117"/>
                      </a:cubicBezTo>
                      <a:close/>
                      <a:moveTo>
                        <a:pt x="72" y="52"/>
                      </a:moveTo>
                      <a:cubicBezTo>
                        <a:pt x="72" y="105"/>
                        <a:pt x="72" y="105"/>
                        <a:pt x="72" y="105"/>
                      </a:cubicBezTo>
                      <a:cubicBezTo>
                        <a:pt x="78" y="105"/>
                        <a:pt x="78" y="105"/>
                        <a:pt x="78" y="105"/>
                      </a:cubicBezTo>
                      <a:cubicBezTo>
                        <a:pt x="78" y="52"/>
                        <a:pt x="78" y="52"/>
                        <a:pt x="78" y="52"/>
                      </a:cubicBezTo>
                      <a:cubicBezTo>
                        <a:pt x="72" y="52"/>
                        <a:pt x="72" y="52"/>
                        <a:pt x="72" y="52"/>
                      </a:cubicBezTo>
                      <a:close/>
                      <a:moveTo>
                        <a:pt x="56" y="52"/>
                      </a:moveTo>
                      <a:cubicBezTo>
                        <a:pt x="56" y="105"/>
                        <a:pt x="56" y="105"/>
                        <a:pt x="56" y="105"/>
                      </a:cubicBezTo>
                      <a:cubicBezTo>
                        <a:pt x="63" y="105"/>
                        <a:pt x="63" y="105"/>
                        <a:pt x="63" y="105"/>
                      </a:cubicBezTo>
                      <a:cubicBezTo>
                        <a:pt x="63" y="52"/>
                        <a:pt x="63" y="52"/>
                        <a:pt x="63" y="52"/>
                      </a:cubicBezTo>
                      <a:cubicBezTo>
                        <a:pt x="56" y="52"/>
                        <a:pt x="56" y="52"/>
                        <a:pt x="56" y="52"/>
                      </a:cubicBezTo>
                      <a:close/>
                      <a:moveTo>
                        <a:pt x="40" y="52"/>
                      </a:moveTo>
                      <a:cubicBezTo>
                        <a:pt x="40" y="105"/>
                        <a:pt x="40" y="105"/>
                        <a:pt x="40" y="105"/>
                      </a:cubicBezTo>
                      <a:cubicBezTo>
                        <a:pt x="47" y="105"/>
                        <a:pt x="47" y="105"/>
                        <a:pt x="47" y="105"/>
                      </a:cubicBezTo>
                      <a:cubicBezTo>
                        <a:pt x="47" y="52"/>
                        <a:pt x="47" y="52"/>
                        <a:pt x="47" y="52"/>
                      </a:cubicBezTo>
                      <a:cubicBezTo>
                        <a:pt x="40" y="52"/>
                        <a:pt x="40" y="52"/>
                        <a:pt x="40" y="52"/>
                      </a:cubicBezTo>
                      <a:close/>
                      <a:moveTo>
                        <a:pt x="24" y="52"/>
                      </a:moveTo>
                      <a:cubicBezTo>
                        <a:pt x="24" y="105"/>
                        <a:pt x="24" y="105"/>
                        <a:pt x="24" y="105"/>
                      </a:cubicBezTo>
                      <a:cubicBezTo>
                        <a:pt x="31" y="105"/>
                        <a:pt x="31" y="105"/>
                        <a:pt x="31" y="105"/>
                      </a:cubicBezTo>
                      <a:cubicBezTo>
                        <a:pt x="31" y="52"/>
                        <a:pt x="31" y="52"/>
                        <a:pt x="31" y="52"/>
                      </a:cubicBezTo>
                      <a:cubicBezTo>
                        <a:pt x="24" y="52"/>
                        <a:pt x="24" y="52"/>
                        <a:pt x="24" y="52"/>
                      </a:cubicBezTo>
                      <a:close/>
                      <a:moveTo>
                        <a:pt x="13" y="15"/>
                      </a:moveTo>
                      <a:cubicBezTo>
                        <a:pt x="12" y="15"/>
                        <a:pt x="11" y="16"/>
                        <a:pt x="11" y="17"/>
                      </a:cubicBezTo>
                      <a:cubicBezTo>
                        <a:pt x="11" y="26"/>
                        <a:pt x="11" y="26"/>
                        <a:pt x="11" y="26"/>
                      </a:cubicBezTo>
                      <a:cubicBezTo>
                        <a:pt x="11" y="27"/>
                        <a:pt x="12" y="28"/>
                        <a:pt x="13" y="28"/>
                      </a:cubicBezTo>
                      <a:cubicBezTo>
                        <a:pt x="89" y="28"/>
                        <a:pt x="89" y="28"/>
                        <a:pt x="89" y="28"/>
                      </a:cubicBezTo>
                      <a:cubicBezTo>
                        <a:pt x="90" y="28"/>
                        <a:pt x="91" y="27"/>
                        <a:pt x="91" y="26"/>
                      </a:cubicBezTo>
                      <a:cubicBezTo>
                        <a:pt x="91" y="17"/>
                        <a:pt x="91" y="17"/>
                        <a:pt x="91" y="17"/>
                      </a:cubicBezTo>
                      <a:cubicBezTo>
                        <a:pt x="91" y="16"/>
                        <a:pt x="90" y="15"/>
                        <a:pt x="89" y="15"/>
                      </a:cubicBezTo>
                      <a:lnTo>
                        <a:pt x="13" y="15"/>
                      </a:lnTo>
                      <a:close/>
                      <a:moveTo>
                        <a:pt x="5" y="0"/>
                      </a:moveTo>
                      <a:cubicBezTo>
                        <a:pt x="97" y="0"/>
                        <a:pt x="97" y="0"/>
                        <a:pt x="97" y="0"/>
                      </a:cubicBezTo>
                      <a:cubicBezTo>
                        <a:pt x="100" y="0"/>
                        <a:pt x="102" y="3"/>
                        <a:pt x="102" y="5"/>
                      </a:cubicBezTo>
                      <a:cubicBezTo>
                        <a:pt x="102" y="174"/>
                        <a:pt x="102" y="174"/>
                        <a:pt x="102" y="174"/>
                      </a:cubicBezTo>
                      <a:cubicBezTo>
                        <a:pt x="102" y="177"/>
                        <a:pt x="100" y="180"/>
                        <a:pt x="97" y="180"/>
                      </a:cubicBezTo>
                      <a:cubicBezTo>
                        <a:pt x="91" y="180"/>
                        <a:pt x="91" y="180"/>
                        <a:pt x="91" y="180"/>
                      </a:cubicBezTo>
                      <a:cubicBezTo>
                        <a:pt x="91" y="183"/>
                        <a:pt x="91" y="183"/>
                        <a:pt x="91" y="183"/>
                      </a:cubicBezTo>
                      <a:cubicBezTo>
                        <a:pt x="11" y="183"/>
                        <a:pt x="11" y="183"/>
                        <a:pt x="11" y="183"/>
                      </a:cubicBezTo>
                      <a:cubicBezTo>
                        <a:pt x="11" y="180"/>
                        <a:pt x="11" y="180"/>
                        <a:pt x="11" y="180"/>
                      </a:cubicBezTo>
                      <a:cubicBezTo>
                        <a:pt x="5" y="180"/>
                        <a:pt x="5" y="180"/>
                        <a:pt x="5" y="180"/>
                      </a:cubicBezTo>
                      <a:cubicBezTo>
                        <a:pt x="2" y="180"/>
                        <a:pt x="0" y="177"/>
                        <a:pt x="0" y="174"/>
                      </a:cubicBezTo>
                      <a:cubicBezTo>
                        <a:pt x="0" y="5"/>
                        <a:pt x="0" y="5"/>
                        <a:pt x="0" y="5"/>
                      </a:cubicBezTo>
                      <a:cubicBezTo>
                        <a:pt x="0" y="3"/>
                        <a:pt x="2" y="0"/>
                        <a:pt x="5" y="0"/>
                      </a:cubicBezTo>
                      <a:close/>
                    </a:path>
                  </a:pathLst>
                </a:custGeom>
                <a:solidFill>
                  <a:srgbClr val="F78C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19" name="Freeform 216"/>
                <p:cNvSpPr>
                  <a:spLocks noEditPoints="1"/>
                </p:cNvSpPr>
                <p:nvPr/>
              </p:nvSpPr>
              <p:spPr bwMode="auto">
                <a:xfrm flipH="1">
                  <a:off x="11096289" y="1199709"/>
                  <a:ext cx="176096" cy="264099"/>
                </a:xfrm>
                <a:custGeom>
                  <a:avLst/>
                  <a:gdLst>
                    <a:gd name="T0" fmla="*/ 112 w 160"/>
                    <a:gd name="T1" fmla="*/ 211 h 232"/>
                    <a:gd name="T2" fmla="*/ 99 w 160"/>
                    <a:gd name="T3" fmla="*/ 202 h 232"/>
                    <a:gd name="T4" fmla="*/ 93 w 160"/>
                    <a:gd name="T5" fmla="*/ 215 h 232"/>
                    <a:gd name="T6" fmla="*/ 110 w 160"/>
                    <a:gd name="T7" fmla="*/ 196 h 232"/>
                    <a:gd name="T8" fmla="*/ 119 w 160"/>
                    <a:gd name="T9" fmla="*/ 202 h 232"/>
                    <a:gd name="T10" fmla="*/ 107 w 160"/>
                    <a:gd name="T11" fmla="*/ 208 h 232"/>
                    <a:gd name="T12" fmla="*/ 108 w 160"/>
                    <a:gd name="T13" fmla="*/ 194 h 232"/>
                    <a:gd name="T14" fmla="*/ 119 w 160"/>
                    <a:gd name="T15" fmla="*/ 198 h 232"/>
                    <a:gd name="T16" fmla="*/ 114 w 160"/>
                    <a:gd name="T17" fmla="*/ 192 h 232"/>
                    <a:gd name="T18" fmla="*/ 105 w 160"/>
                    <a:gd name="T19" fmla="*/ 186 h 232"/>
                    <a:gd name="T20" fmla="*/ 107 w 160"/>
                    <a:gd name="T21" fmla="*/ 192 h 232"/>
                    <a:gd name="T22" fmla="*/ 105 w 160"/>
                    <a:gd name="T23" fmla="*/ 186 h 232"/>
                    <a:gd name="T24" fmla="*/ 114 w 160"/>
                    <a:gd name="T25" fmla="*/ 184 h 232"/>
                    <a:gd name="T26" fmla="*/ 111 w 160"/>
                    <a:gd name="T27" fmla="*/ 189 h 232"/>
                    <a:gd name="T28" fmla="*/ 108 w 160"/>
                    <a:gd name="T29" fmla="*/ 184 h 232"/>
                    <a:gd name="T30" fmla="*/ 112 w 160"/>
                    <a:gd name="T31" fmla="*/ 178 h 232"/>
                    <a:gd name="T32" fmla="*/ 66 w 160"/>
                    <a:gd name="T33" fmla="*/ 79 h 232"/>
                    <a:gd name="T34" fmla="*/ 76 w 160"/>
                    <a:gd name="T35" fmla="*/ 74 h 232"/>
                    <a:gd name="T36" fmla="*/ 82 w 160"/>
                    <a:gd name="T37" fmla="*/ 177 h 232"/>
                    <a:gd name="T38" fmla="*/ 105 w 160"/>
                    <a:gd name="T39" fmla="*/ 180 h 232"/>
                    <a:gd name="T40" fmla="*/ 98 w 160"/>
                    <a:gd name="T41" fmla="*/ 196 h 232"/>
                    <a:gd name="T42" fmla="*/ 95 w 160"/>
                    <a:gd name="T43" fmla="*/ 201 h 232"/>
                    <a:gd name="T44" fmla="*/ 86 w 160"/>
                    <a:gd name="T45" fmla="*/ 216 h 232"/>
                    <a:gd name="T46" fmla="*/ 86 w 160"/>
                    <a:gd name="T47" fmla="*/ 221 h 232"/>
                    <a:gd name="T48" fmla="*/ 86 w 160"/>
                    <a:gd name="T49" fmla="*/ 227 h 232"/>
                    <a:gd name="T50" fmla="*/ 91 w 160"/>
                    <a:gd name="T51" fmla="*/ 222 h 232"/>
                    <a:gd name="T52" fmla="*/ 92 w 160"/>
                    <a:gd name="T53" fmla="*/ 217 h 232"/>
                    <a:gd name="T54" fmla="*/ 111 w 160"/>
                    <a:gd name="T55" fmla="*/ 214 h 232"/>
                    <a:gd name="T56" fmla="*/ 124 w 160"/>
                    <a:gd name="T57" fmla="*/ 221 h 232"/>
                    <a:gd name="T58" fmla="*/ 125 w 160"/>
                    <a:gd name="T59" fmla="*/ 225 h 232"/>
                    <a:gd name="T60" fmla="*/ 123 w 160"/>
                    <a:gd name="T61" fmla="*/ 230 h 232"/>
                    <a:gd name="T62" fmla="*/ 129 w 160"/>
                    <a:gd name="T63" fmla="*/ 231 h 232"/>
                    <a:gd name="T64" fmla="*/ 128 w 160"/>
                    <a:gd name="T65" fmla="*/ 225 h 232"/>
                    <a:gd name="T66" fmla="*/ 127 w 160"/>
                    <a:gd name="T67" fmla="*/ 217 h 232"/>
                    <a:gd name="T68" fmla="*/ 126 w 160"/>
                    <a:gd name="T69" fmla="*/ 201 h 232"/>
                    <a:gd name="T70" fmla="*/ 120 w 160"/>
                    <a:gd name="T71" fmla="*/ 187 h 232"/>
                    <a:gd name="T72" fmla="*/ 117 w 160"/>
                    <a:gd name="T73" fmla="*/ 177 h 232"/>
                    <a:gd name="T74" fmla="*/ 125 w 160"/>
                    <a:gd name="T75" fmla="*/ 173 h 232"/>
                    <a:gd name="T76" fmla="*/ 155 w 160"/>
                    <a:gd name="T77" fmla="*/ 80 h 232"/>
                    <a:gd name="T78" fmla="*/ 66 w 160"/>
                    <a:gd name="T79" fmla="*/ 78 h 232"/>
                    <a:gd name="T80" fmla="*/ 66 w 160"/>
                    <a:gd name="T81" fmla="*/ 43 h 232"/>
                    <a:gd name="T82" fmla="*/ 48 w 160"/>
                    <a:gd name="T83" fmla="*/ 61 h 232"/>
                    <a:gd name="T84" fmla="*/ 66 w 160"/>
                    <a:gd name="T85" fmla="*/ 43 h 232"/>
                    <a:gd name="T86" fmla="*/ 22 w 160"/>
                    <a:gd name="T87" fmla="*/ 58 h 232"/>
                    <a:gd name="T88" fmla="*/ 62 w 160"/>
                    <a:gd name="T89" fmla="*/ 33 h 232"/>
                    <a:gd name="T90" fmla="*/ 54 w 160"/>
                    <a:gd name="T91" fmla="*/ 0 h 232"/>
                    <a:gd name="T92" fmla="*/ 13 w 160"/>
                    <a:gd name="T93" fmla="*/ 49 h 232"/>
                    <a:gd name="T94" fmla="*/ 59 w 160"/>
                    <a:gd name="T95" fmla="*/ 1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0" h="232">
                      <a:moveTo>
                        <a:pt x="120" y="204"/>
                      </a:moveTo>
                      <a:cubicBezTo>
                        <a:pt x="123" y="218"/>
                        <a:pt x="123" y="218"/>
                        <a:pt x="123" y="218"/>
                      </a:cubicBezTo>
                      <a:cubicBezTo>
                        <a:pt x="112" y="211"/>
                        <a:pt x="112" y="211"/>
                        <a:pt x="112" y="211"/>
                      </a:cubicBezTo>
                      <a:cubicBezTo>
                        <a:pt x="112" y="210"/>
                        <a:pt x="112" y="210"/>
                        <a:pt x="112" y="210"/>
                      </a:cubicBezTo>
                      <a:cubicBezTo>
                        <a:pt x="120" y="204"/>
                        <a:pt x="120" y="204"/>
                        <a:pt x="120" y="204"/>
                      </a:cubicBezTo>
                      <a:close/>
                      <a:moveTo>
                        <a:pt x="99" y="202"/>
                      </a:moveTo>
                      <a:cubicBezTo>
                        <a:pt x="106" y="210"/>
                        <a:pt x="106" y="210"/>
                        <a:pt x="106" y="210"/>
                      </a:cubicBezTo>
                      <a:cubicBezTo>
                        <a:pt x="106" y="210"/>
                        <a:pt x="106" y="210"/>
                        <a:pt x="106" y="210"/>
                      </a:cubicBezTo>
                      <a:cubicBezTo>
                        <a:pt x="93" y="215"/>
                        <a:pt x="93" y="215"/>
                        <a:pt x="93" y="215"/>
                      </a:cubicBezTo>
                      <a:cubicBezTo>
                        <a:pt x="99" y="202"/>
                        <a:pt x="99" y="202"/>
                        <a:pt x="99" y="202"/>
                      </a:cubicBezTo>
                      <a:close/>
                      <a:moveTo>
                        <a:pt x="108" y="194"/>
                      </a:moveTo>
                      <a:cubicBezTo>
                        <a:pt x="108" y="195"/>
                        <a:pt x="109" y="196"/>
                        <a:pt x="110" y="196"/>
                      </a:cubicBezTo>
                      <a:cubicBezTo>
                        <a:pt x="111" y="196"/>
                        <a:pt x="112" y="195"/>
                        <a:pt x="112" y="195"/>
                      </a:cubicBezTo>
                      <a:cubicBezTo>
                        <a:pt x="119" y="202"/>
                        <a:pt x="119" y="202"/>
                        <a:pt x="119" y="202"/>
                      </a:cubicBezTo>
                      <a:cubicBezTo>
                        <a:pt x="119" y="202"/>
                        <a:pt x="119" y="202"/>
                        <a:pt x="119" y="202"/>
                      </a:cubicBezTo>
                      <a:cubicBezTo>
                        <a:pt x="111" y="209"/>
                        <a:pt x="111" y="209"/>
                        <a:pt x="111" y="209"/>
                      </a:cubicBezTo>
                      <a:cubicBezTo>
                        <a:pt x="110" y="208"/>
                        <a:pt x="110" y="208"/>
                        <a:pt x="109" y="208"/>
                      </a:cubicBezTo>
                      <a:cubicBezTo>
                        <a:pt x="108" y="208"/>
                        <a:pt x="108" y="208"/>
                        <a:pt x="107" y="208"/>
                      </a:cubicBezTo>
                      <a:cubicBezTo>
                        <a:pt x="100" y="200"/>
                        <a:pt x="100" y="200"/>
                        <a:pt x="100" y="200"/>
                      </a:cubicBezTo>
                      <a:cubicBezTo>
                        <a:pt x="100" y="200"/>
                        <a:pt x="100" y="200"/>
                        <a:pt x="100" y="200"/>
                      </a:cubicBezTo>
                      <a:lnTo>
                        <a:pt x="108" y="194"/>
                      </a:lnTo>
                      <a:close/>
                      <a:moveTo>
                        <a:pt x="116" y="188"/>
                      </a:moveTo>
                      <a:cubicBezTo>
                        <a:pt x="117" y="188"/>
                        <a:pt x="117" y="188"/>
                        <a:pt x="117" y="188"/>
                      </a:cubicBezTo>
                      <a:cubicBezTo>
                        <a:pt x="119" y="198"/>
                        <a:pt x="119" y="198"/>
                        <a:pt x="119" y="198"/>
                      </a:cubicBezTo>
                      <a:cubicBezTo>
                        <a:pt x="113" y="193"/>
                        <a:pt x="113" y="193"/>
                        <a:pt x="113" y="193"/>
                      </a:cubicBezTo>
                      <a:cubicBezTo>
                        <a:pt x="114" y="193"/>
                        <a:pt x="114" y="193"/>
                        <a:pt x="114" y="193"/>
                      </a:cubicBezTo>
                      <a:cubicBezTo>
                        <a:pt x="114" y="192"/>
                        <a:pt x="114" y="192"/>
                        <a:pt x="114" y="192"/>
                      </a:cubicBezTo>
                      <a:cubicBezTo>
                        <a:pt x="114" y="192"/>
                        <a:pt x="113" y="191"/>
                        <a:pt x="113" y="191"/>
                      </a:cubicBezTo>
                      <a:lnTo>
                        <a:pt x="116" y="188"/>
                      </a:lnTo>
                      <a:close/>
                      <a:moveTo>
                        <a:pt x="105" y="186"/>
                      </a:moveTo>
                      <a:cubicBezTo>
                        <a:pt x="108" y="190"/>
                        <a:pt x="108" y="190"/>
                        <a:pt x="108" y="190"/>
                      </a:cubicBezTo>
                      <a:cubicBezTo>
                        <a:pt x="107" y="191"/>
                        <a:pt x="107" y="191"/>
                        <a:pt x="107" y="192"/>
                      </a:cubicBezTo>
                      <a:cubicBezTo>
                        <a:pt x="107" y="192"/>
                        <a:pt x="107" y="192"/>
                        <a:pt x="107" y="192"/>
                      </a:cubicBezTo>
                      <a:cubicBezTo>
                        <a:pt x="101" y="196"/>
                        <a:pt x="101" y="196"/>
                        <a:pt x="101" y="196"/>
                      </a:cubicBezTo>
                      <a:cubicBezTo>
                        <a:pt x="105" y="187"/>
                        <a:pt x="105" y="187"/>
                        <a:pt x="105" y="187"/>
                      </a:cubicBezTo>
                      <a:cubicBezTo>
                        <a:pt x="105" y="186"/>
                        <a:pt x="105" y="186"/>
                        <a:pt x="105" y="186"/>
                      </a:cubicBezTo>
                      <a:close/>
                      <a:moveTo>
                        <a:pt x="115" y="178"/>
                      </a:moveTo>
                      <a:cubicBezTo>
                        <a:pt x="116" y="182"/>
                        <a:pt x="116" y="182"/>
                        <a:pt x="116" y="182"/>
                      </a:cubicBezTo>
                      <a:cubicBezTo>
                        <a:pt x="115" y="183"/>
                        <a:pt x="115" y="183"/>
                        <a:pt x="114" y="184"/>
                      </a:cubicBezTo>
                      <a:cubicBezTo>
                        <a:pt x="114" y="185"/>
                        <a:pt x="115" y="186"/>
                        <a:pt x="115" y="186"/>
                      </a:cubicBezTo>
                      <a:cubicBezTo>
                        <a:pt x="112" y="189"/>
                        <a:pt x="112" y="189"/>
                        <a:pt x="112" y="189"/>
                      </a:cubicBezTo>
                      <a:cubicBezTo>
                        <a:pt x="111" y="189"/>
                        <a:pt x="111" y="189"/>
                        <a:pt x="111" y="189"/>
                      </a:cubicBezTo>
                      <a:cubicBezTo>
                        <a:pt x="110" y="189"/>
                        <a:pt x="110" y="189"/>
                        <a:pt x="110" y="189"/>
                      </a:cubicBezTo>
                      <a:cubicBezTo>
                        <a:pt x="107" y="185"/>
                        <a:pt x="107" y="185"/>
                        <a:pt x="107" y="185"/>
                      </a:cubicBezTo>
                      <a:cubicBezTo>
                        <a:pt x="108" y="185"/>
                        <a:pt x="108" y="184"/>
                        <a:pt x="108" y="184"/>
                      </a:cubicBezTo>
                      <a:cubicBezTo>
                        <a:pt x="108" y="183"/>
                        <a:pt x="108" y="182"/>
                        <a:pt x="107" y="181"/>
                      </a:cubicBezTo>
                      <a:cubicBezTo>
                        <a:pt x="109" y="177"/>
                        <a:pt x="109" y="177"/>
                        <a:pt x="109" y="177"/>
                      </a:cubicBezTo>
                      <a:cubicBezTo>
                        <a:pt x="110" y="178"/>
                        <a:pt x="111" y="178"/>
                        <a:pt x="112" y="178"/>
                      </a:cubicBezTo>
                      <a:cubicBezTo>
                        <a:pt x="113" y="178"/>
                        <a:pt x="114" y="178"/>
                        <a:pt x="115" y="178"/>
                      </a:cubicBezTo>
                      <a:close/>
                      <a:moveTo>
                        <a:pt x="76" y="74"/>
                      </a:moveTo>
                      <a:cubicBezTo>
                        <a:pt x="74" y="77"/>
                        <a:pt x="71" y="80"/>
                        <a:pt x="66" y="79"/>
                      </a:cubicBezTo>
                      <a:cubicBezTo>
                        <a:pt x="84" y="116"/>
                        <a:pt x="84" y="116"/>
                        <a:pt x="84" y="116"/>
                      </a:cubicBezTo>
                      <a:cubicBezTo>
                        <a:pt x="88" y="114"/>
                        <a:pt x="94" y="110"/>
                        <a:pt x="97" y="108"/>
                      </a:cubicBezTo>
                      <a:cubicBezTo>
                        <a:pt x="91" y="96"/>
                        <a:pt x="83" y="86"/>
                        <a:pt x="76" y="74"/>
                      </a:cubicBezTo>
                      <a:close/>
                      <a:moveTo>
                        <a:pt x="155" y="80"/>
                      </a:moveTo>
                      <a:cubicBezTo>
                        <a:pt x="31" y="148"/>
                        <a:pt x="31" y="148"/>
                        <a:pt x="31" y="148"/>
                      </a:cubicBezTo>
                      <a:cubicBezTo>
                        <a:pt x="42" y="164"/>
                        <a:pt x="60" y="175"/>
                        <a:pt x="82" y="177"/>
                      </a:cubicBezTo>
                      <a:cubicBezTo>
                        <a:pt x="90" y="178"/>
                        <a:pt x="98" y="177"/>
                        <a:pt x="106" y="175"/>
                      </a:cubicBezTo>
                      <a:cubicBezTo>
                        <a:pt x="107" y="176"/>
                        <a:pt x="107" y="176"/>
                        <a:pt x="107" y="176"/>
                      </a:cubicBezTo>
                      <a:cubicBezTo>
                        <a:pt x="105" y="180"/>
                        <a:pt x="105" y="180"/>
                        <a:pt x="105" y="180"/>
                      </a:cubicBezTo>
                      <a:cubicBezTo>
                        <a:pt x="103" y="180"/>
                        <a:pt x="102" y="181"/>
                        <a:pt x="102" y="183"/>
                      </a:cubicBezTo>
                      <a:cubicBezTo>
                        <a:pt x="102" y="184"/>
                        <a:pt x="102" y="185"/>
                        <a:pt x="102" y="186"/>
                      </a:cubicBezTo>
                      <a:cubicBezTo>
                        <a:pt x="98" y="196"/>
                        <a:pt x="98" y="196"/>
                        <a:pt x="98" y="196"/>
                      </a:cubicBezTo>
                      <a:cubicBezTo>
                        <a:pt x="97" y="195"/>
                        <a:pt x="97" y="195"/>
                        <a:pt x="97" y="195"/>
                      </a:cubicBezTo>
                      <a:cubicBezTo>
                        <a:pt x="95" y="195"/>
                        <a:pt x="94" y="197"/>
                        <a:pt x="94" y="198"/>
                      </a:cubicBezTo>
                      <a:cubicBezTo>
                        <a:pt x="94" y="200"/>
                        <a:pt x="94" y="201"/>
                        <a:pt x="95" y="201"/>
                      </a:cubicBezTo>
                      <a:cubicBezTo>
                        <a:pt x="90" y="214"/>
                        <a:pt x="90" y="214"/>
                        <a:pt x="90" y="214"/>
                      </a:cubicBezTo>
                      <a:cubicBezTo>
                        <a:pt x="89" y="213"/>
                        <a:pt x="89" y="213"/>
                        <a:pt x="89" y="213"/>
                      </a:cubicBezTo>
                      <a:cubicBezTo>
                        <a:pt x="87" y="213"/>
                        <a:pt x="86" y="215"/>
                        <a:pt x="86" y="216"/>
                      </a:cubicBezTo>
                      <a:cubicBezTo>
                        <a:pt x="85" y="218"/>
                        <a:pt x="86" y="219"/>
                        <a:pt x="87" y="220"/>
                      </a:cubicBezTo>
                      <a:cubicBezTo>
                        <a:pt x="87" y="221"/>
                        <a:pt x="87" y="221"/>
                        <a:pt x="87" y="221"/>
                      </a:cubicBezTo>
                      <a:cubicBezTo>
                        <a:pt x="86" y="221"/>
                        <a:pt x="86" y="221"/>
                        <a:pt x="86" y="221"/>
                      </a:cubicBezTo>
                      <a:cubicBezTo>
                        <a:pt x="86" y="221"/>
                        <a:pt x="85" y="221"/>
                        <a:pt x="85" y="222"/>
                      </a:cubicBezTo>
                      <a:cubicBezTo>
                        <a:pt x="85" y="226"/>
                        <a:pt x="85" y="226"/>
                        <a:pt x="85" y="226"/>
                      </a:cubicBezTo>
                      <a:cubicBezTo>
                        <a:pt x="85" y="227"/>
                        <a:pt x="85" y="227"/>
                        <a:pt x="86" y="227"/>
                      </a:cubicBezTo>
                      <a:cubicBezTo>
                        <a:pt x="90" y="228"/>
                        <a:pt x="90" y="228"/>
                        <a:pt x="90" y="228"/>
                      </a:cubicBezTo>
                      <a:cubicBezTo>
                        <a:pt x="90" y="228"/>
                        <a:pt x="91" y="227"/>
                        <a:pt x="91" y="227"/>
                      </a:cubicBezTo>
                      <a:cubicBezTo>
                        <a:pt x="91" y="222"/>
                        <a:pt x="91" y="222"/>
                        <a:pt x="91" y="222"/>
                      </a:cubicBezTo>
                      <a:cubicBezTo>
                        <a:pt x="91" y="222"/>
                        <a:pt x="91" y="221"/>
                        <a:pt x="90" y="221"/>
                      </a:cubicBezTo>
                      <a:cubicBezTo>
                        <a:pt x="90" y="221"/>
                        <a:pt x="90" y="221"/>
                        <a:pt x="90" y="221"/>
                      </a:cubicBezTo>
                      <a:cubicBezTo>
                        <a:pt x="92" y="217"/>
                        <a:pt x="92" y="217"/>
                        <a:pt x="92" y="217"/>
                      </a:cubicBezTo>
                      <a:cubicBezTo>
                        <a:pt x="106" y="212"/>
                        <a:pt x="106" y="212"/>
                        <a:pt x="106" y="212"/>
                      </a:cubicBezTo>
                      <a:cubicBezTo>
                        <a:pt x="106" y="214"/>
                        <a:pt x="107" y="214"/>
                        <a:pt x="108" y="214"/>
                      </a:cubicBezTo>
                      <a:cubicBezTo>
                        <a:pt x="109" y="215"/>
                        <a:pt x="110" y="214"/>
                        <a:pt x="111" y="214"/>
                      </a:cubicBezTo>
                      <a:cubicBezTo>
                        <a:pt x="111" y="214"/>
                        <a:pt x="111" y="214"/>
                        <a:pt x="111" y="214"/>
                      </a:cubicBezTo>
                      <a:cubicBezTo>
                        <a:pt x="111" y="213"/>
                        <a:pt x="111" y="213"/>
                        <a:pt x="111" y="213"/>
                      </a:cubicBezTo>
                      <a:cubicBezTo>
                        <a:pt x="124" y="221"/>
                        <a:pt x="124" y="221"/>
                        <a:pt x="124" y="221"/>
                      </a:cubicBezTo>
                      <a:cubicBezTo>
                        <a:pt x="124" y="221"/>
                        <a:pt x="124" y="221"/>
                        <a:pt x="124" y="221"/>
                      </a:cubicBezTo>
                      <a:cubicBezTo>
                        <a:pt x="124" y="221"/>
                        <a:pt x="124" y="221"/>
                        <a:pt x="124" y="222"/>
                      </a:cubicBezTo>
                      <a:cubicBezTo>
                        <a:pt x="125" y="225"/>
                        <a:pt x="125" y="225"/>
                        <a:pt x="125" y="225"/>
                      </a:cubicBezTo>
                      <a:cubicBezTo>
                        <a:pt x="125" y="225"/>
                        <a:pt x="125" y="225"/>
                        <a:pt x="125" y="225"/>
                      </a:cubicBezTo>
                      <a:cubicBezTo>
                        <a:pt x="124" y="225"/>
                        <a:pt x="123" y="225"/>
                        <a:pt x="123" y="226"/>
                      </a:cubicBezTo>
                      <a:cubicBezTo>
                        <a:pt x="123" y="230"/>
                        <a:pt x="123" y="230"/>
                        <a:pt x="123" y="230"/>
                      </a:cubicBezTo>
                      <a:cubicBezTo>
                        <a:pt x="123" y="231"/>
                        <a:pt x="123" y="231"/>
                        <a:pt x="124" y="231"/>
                      </a:cubicBezTo>
                      <a:cubicBezTo>
                        <a:pt x="128" y="231"/>
                        <a:pt x="128" y="231"/>
                        <a:pt x="128" y="231"/>
                      </a:cubicBezTo>
                      <a:cubicBezTo>
                        <a:pt x="128" y="232"/>
                        <a:pt x="129" y="231"/>
                        <a:pt x="129" y="231"/>
                      </a:cubicBezTo>
                      <a:cubicBezTo>
                        <a:pt x="129" y="226"/>
                        <a:pt x="129" y="226"/>
                        <a:pt x="129" y="226"/>
                      </a:cubicBezTo>
                      <a:cubicBezTo>
                        <a:pt x="130" y="226"/>
                        <a:pt x="129" y="225"/>
                        <a:pt x="129" y="225"/>
                      </a:cubicBezTo>
                      <a:cubicBezTo>
                        <a:pt x="128" y="225"/>
                        <a:pt x="128" y="225"/>
                        <a:pt x="128" y="225"/>
                      </a:cubicBezTo>
                      <a:cubicBezTo>
                        <a:pt x="128" y="224"/>
                        <a:pt x="128" y="224"/>
                        <a:pt x="128" y="224"/>
                      </a:cubicBezTo>
                      <a:cubicBezTo>
                        <a:pt x="129" y="223"/>
                        <a:pt x="130" y="222"/>
                        <a:pt x="130" y="221"/>
                      </a:cubicBezTo>
                      <a:cubicBezTo>
                        <a:pt x="130" y="219"/>
                        <a:pt x="129" y="217"/>
                        <a:pt x="127" y="217"/>
                      </a:cubicBezTo>
                      <a:cubicBezTo>
                        <a:pt x="126" y="217"/>
                        <a:pt x="126" y="217"/>
                        <a:pt x="126" y="217"/>
                      </a:cubicBezTo>
                      <a:cubicBezTo>
                        <a:pt x="123" y="204"/>
                        <a:pt x="123" y="204"/>
                        <a:pt x="123" y="204"/>
                      </a:cubicBezTo>
                      <a:cubicBezTo>
                        <a:pt x="125" y="204"/>
                        <a:pt x="125" y="203"/>
                        <a:pt x="126" y="201"/>
                      </a:cubicBezTo>
                      <a:cubicBezTo>
                        <a:pt x="126" y="200"/>
                        <a:pt x="124" y="198"/>
                        <a:pt x="123" y="198"/>
                      </a:cubicBezTo>
                      <a:cubicBezTo>
                        <a:pt x="122" y="198"/>
                        <a:pt x="122" y="198"/>
                        <a:pt x="122" y="198"/>
                      </a:cubicBezTo>
                      <a:cubicBezTo>
                        <a:pt x="120" y="187"/>
                        <a:pt x="120" y="187"/>
                        <a:pt x="120" y="187"/>
                      </a:cubicBezTo>
                      <a:cubicBezTo>
                        <a:pt x="120" y="187"/>
                        <a:pt x="121" y="186"/>
                        <a:pt x="121" y="185"/>
                      </a:cubicBezTo>
                      <a:cubicBezTo>
                        <a:pt x="121" y="183"/>
                        <a:pt x="120" y="182"/>
                        <a:pt x="118" y="182"/>
                      </a:cubicBezTo>
                      <a:cubicBezTo>
                        <a:pt x="117" y="177"/>
                        <a:pt x="117" y="177"/>
                        <a:pt x="117" y="177"/>
                      </a:cubicBezTo>
                      <a:cubicBezTo>
                        <a:pt x="118" y="176"/>
                        <a:pt x="118" y="176"/>
                        <a:pt x="119" y="175"/>
                      </a:cubicBezTo>
                      <a:cubicBezTo>
                        <a:pt x="122" y="175"/>
                        <a:pt x="122" y="175"/>
                        <a:pt x="122" y="175"/>
                      </a:cubicBezTo>
                      <a:cubicBezTo>
                        <a:pt x="123" y="175"/>
                        <a:pt x="125" y="174"/>
                        <a:pt x="125" y="173"/>
                      </a:cubicBezTo>
                      <a:cubicBezTo>
                        <a:pt x="125" y="167"/>
                        <a:pt x="125" y="167"/>
                        <a:pt x="125" y="167"/>
                      </a:cubicBezTo>
                      <a:cubicBezTo>
                        <a:pt x="144" y="155"/>
                        <a:pt x="157" y="136"/>
                        <a:pt x="159" y="113"/>
                      </a:cubicBezTo>
                      <a:cubicBezTo>
                        <a:pt x="160" y="101"/>
                        <a:pt x="159" y="90"/>
                        <a:pt x="155" y="80"/>
                      </a:cubicBezTo>
                      <a:close/>
                      <a:moveTo>
                        <a:pt x="67" y="59"/>
                      </a:moveTo>
                      <a:cubicBezTo>
                        <a:pt x="62" y="59"/>
                        <a:pt x="57" y="63"/>
                        <a:pt x="57" y="68"/>
                      </a:cubicBezTo>
                      <a:cubicBezTo>
                        <a:pt x="56" y="73"/>
                        <a:pt x="60" y="78"/>
                        <a:pt x="66" y="78"/>
                      </a:cubicBezTo>
                      <a:cubicBezTo>
                        <a:pt x="71" y="79"/>
                        <a:pt x="75" y="75"/>
                        <a:pt x="76" y="70"/>
                      </a:cubicBezTo>
                      <a:cubicBezTo>
                        <a:pt x="76" y="64"/>
                        <a:pt x="73" y="60"/>
                        <a:pt x="67" y="59"/>
                      </a:cubicBezTo>
                      <a:close/>
                      <a:moveTo>
                        <a:pt x="66" y="43"/>
                      </a:moveTo>
                      <a:cubicBezTo>
                        <a:pt x="60" y="42"/>
                        <a:pt x="55" y="44"/>
                        <a:pt x="50" y="48"/>
                      </a:cubicBezTo>
                      <a:cubicBezTo>
                        <a:pt x="46" y="51"/>
                        <a:pt x="43" y="56"/>
                        <a:pt x="43" y="62"/>
                      </a:cubicBezTo>
                      <a:cubicBezTo>
                        <a:pt x="48" y="61"/>
                        <a:pt x="48" y="61"/>
                        <a:pt x="48" y="61"/>
                      </a:cubicBezTo>
                      <a:cubicBezTo>
                        <a:pt x="48" y="58"/>
                        <a:pt x="50" y="54"/>
                        <a:pt x="53" y="51"/>
                      </a:cubicBezTo>
                      <a:cubicBezTo>
                        <a:pt x="57" y="49"/>
                        <a:pt x="61" y="47"/>
                        <a:pt x="64" y="48"/>
                      </a:cubicBezTo>
                      <a:lnTo>
                        <a:pt x="66" y="43"/>
                      </a:lnTo>
                      <a:close/>
                      <a:moveTo>
                        <a:pt x="60" y="23"/>
                      </a:moveTo>
                      <a:cubicBezTo>
                        <a:pt x="51" y="23"/>
                        <a:pt x="42" y="26"/>
                        <a:pt x="35" y="32"/>
                      </a:cubicBezTo>
                      <a:cubicBezTo>
                        <a:pt x="28" y="38"/>
                        <a:pt x="23" y="48"/>
                        <a:pt x="22" y="58"/>
                      </a:cubicBezTo>
                      <a:cubicBezTo>
                        <a:pt x="31" y="58"/>
                        <a:pt x="31" y="58"/>
                        <a:pt x="31" y="58"/>
                      </a:cubicBezTo>
                      <a:cubicBezTo>
                        <a:pt x="32" y="51"/>
                        <a:pt x="35" y="44"/>
                        <a:pt x="41" y="39"/>
                      </a:cubicBezTo>
                      <a:cubicBezTo>
                        <a:pt x="47" y="34"/>
                        <a:pt x="55" y="32"/>
                        <a:pt x="62" y="33"/>
                      </a:cubicBezTo>
                      <a:cubicBezTo>
                        <a:pt x="64" y="24"/>
                        <a:pt x="64" y="24"/>
                        <a:pt x="64" y="24"/>
                      </a:cubicBezTo>
                      <a:cubicBezTo>
                        <a:pt x="63" y="24"/>
                        <a:pt x="61" y="24"/>
                        <a:pt x="60" y="23"/>
                      </a:cubicBezTo>
                      <a:close/>
                      <a:moveTo>
                        <a:pt x="54" y="0"/>
                      </a:moveTo>
                      <a:cubicBezTo>
                        <a:pt x="42" y="0"/>
                        <a:pt x="29" y="4"/>
                        <a:pt x="19" y="12"/>
                      </a:cubicBezTo>
                      <a:cubicBezTo>
                        <a:pt x="8" y="22"/>
                        <a:pt x="1" y="35"/>
                        <a:pt x="0" y="49"/>
                      </a:cubicBezTo>
                      <a:cubicBezTo>
                        <a:pt x="13" y="49"/>
                        <a:pt x="13" y="49"/>
                        <a:pt x="13" y="49"/>
                      </a:cubicBezTo>
                      <a:cubicBezTo>
                        <a:pt x="14" y="39"/>
                        <a:pt x="19" y="29"/>
                        <a:pt x="27" y="22"/>
                      </a:cubicBezTo>
                      <a:cubicBezTo>
                        <a:pt x="35" y="15"/>
                        <a:pt x="46" y="12"/>
                        <a:pt x="56" y="14"/>
                      </a:cubicBezTo>
                      <a:cubicBezTo>
                        <a:pt x="59" y="1"/>
                        <a:pt x="59" y="1"/>
                        <a:pt x="59" y="1"/>
                      </a:cubicBezTo>
                      <a:cubicBezTo>
                        <a:pt x="58" y="1"/>
                        <a:pt x="56" y="1"/>
                        <a:pt x="54" y="0"/>
                      </a:cubicBezTo>
                      <a:close/>
                    </a:path>
                  </a:pathLst>
                </a:custGeom>
                <a:solidFill>
                  <a:srgbClr val="DA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20" name="Freeform 217"/>
                <p:cNvSpPr>
                  <a:spLocks/>
                </p:cNvSpPr>
                <p:nvPr/>
              </p:nvSpPr>
              <p:spPr bwMode="auto">
                <a:xfrm rot="5400000">
                  <a:off x="11267838" y="-133605"/>
                  <a:ext cx="232853" cy="1574030"/>
                </a:xfrm>
                <a:custGeom>
                  <a:avLst/>
                  <a:gdLst>
                    <a:gd name="T0" fmla="*/ 0 w 212"/>
                    <a:gd name="T1" fmla="*/ 1384 h 1384"/>
                    <a:gd name="T2" fmla="*/ 0 w 212"/>
                    <a:gd name="T3" fmla="*/ 1350 h 1384"/>
                    <a:gd name="T4" fmla="*/ 106 w 212"/>
                    <a:gd name="T5" fmla="*/ 1350 h 1384"/>
                    <a:gd name="T6" fmla="*/ 160 w 212"/>
                    <a:gd name="T7" fmla="*/ 1331 h 1384"/>
                    <a:gd name="T8" fmla="*/ 173 w 212"/>
                    <a:gd name="T9" fmla="*/ 1245 h 1384"/>
                    <a:gd name="T10" fmla="*/ 173 w 212"/>
                    <a:gd name="T11" fmla="*/ 1243 h 1384"/>
                    <a:gd name="T12" fmla="*/ 173 w 212"/>
                    <a:gd name="T13" fmla="*/ 0 h 1384"/>
                    <a:gd name="T14" fmla="*/ 207 w 212"/>
                    <a:gd name="T15" fmla="*/ 0 h 1384"/>
                    <a:gd name="T16" fmla="*/ 207 w 212"/>
                    <a:gd name="T17" fmla="*/ 1242 h 1384"/>
                    <a:gd name="T18" fmla="*/ 186 w 212"/>
                    <a:gd name="T19" fmla="*/ 1354 h 1384"/>
                    <a:gd name="T20" fmla="*/ 106 w 212"/>
                    <a:gd name="T21" fmla="*/ 1384 h 1384"/>
                    <a:gd name="T22" fmla="*/ 0 w 212"/>
                    <a:gd name="T23" fmla="*/ 1384 h 1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2" h="1384">
                      <a:moveTo>
                        <a:pt x="0" y="1384"/>
                      </a:moveTo>
                      <a:cubicBezTo>
                        <a:pt x="0" y="1350"/>
                        <a:pt x="0" y="1350"/>
                        <a:pt x="0" y="1350"/>
                      </a:cubicBezTo>
                      <a:cubicBezTo>
                        <a:pt x="106" y="1350"/>
                        <a:pt x="106" y="1350"/>
                        <a:pt x="106" y="1350"/>
                      </a:cubicBezTo>
                      <a:cubicBezTo>
                        <a:pt x="132" y="1349"/>
                        <a:pt x="150" y="1343"/>
                        <a:pt x="160" y="1331"/>
                      </a:cubicBezTo>
                      <a:cubicBezTo>
                        <a:pt x="178" y="1312"/>
                        <a:pt x="177" y="1277"/>
                        <a:pt x="173" y="1245"/>
                      </a:cubicBezTo>
                      <a:cubicBezTo>
                        <a:pt x="173" y="1244"/>
                        <a:pt x="173" y="1244"/>
                        <a:pt x="173" y="1243"/>
                      </a:cubicBezTo>
                      <a:cubicBezTo>
                        <a:pt x="173" y="0"/>
                        <a:pt x="173" y="0"/>
                        <a:pt x="173" y="0"/>
                      </a:cubicBezTo>
                      <a:cubicBezTo>
                        <a:pt x="207" y="0"/>
                        <a:pt x="207" y="0"/>
                        <a:pt x="207" y="0"/>
                      </a:cubicBezTo>
                      <a:cubicBezTo>
                        <a:pt x="207" y="1242"/>
                        <a:pt x="207" y="1242"/>
                        <a:pt x="207" y="1242"/>
                      </a:cubicBezTo>
                      <a:cubicBezTo>
                        <a:pt x="211" y="1281"/>
                        <a:pt x="212" y="1325"/>
                        <a:pt x="186" y="1354"/>
                      </a:cubicBezTo>
                      <a:cubicBezTo>
                        <a:pt x="169" y="1373"/>
                        <a:pt x="142" y="1383"/>
                        <a:pt x="106" y="1384"/>
                      </a:cubicBezTo>
                      <a:lnTo>
                        <a:pt x="0" y="1384"/>
                      </a:lnTo>
                      <a:close/>
                    </a:path>
                  </a:pathLst>
                </a:custGeom>
                <a:solidFill>
                  <a:srgbClr val="DC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21" name="Rectangle 218"/>
                <p:cNvSpPr>
                  <a:spLocks noChangeArrowheads="1"/>
                </p:cNvSpPr>
                <p:nvPr/>
              </p:nvSpPr>
              <p:spPr bwMode="auto">
                <a:xfrm rot="5400000">
                  <a:off x="10574637" y="446081"/>
                  <a:ext cx="82954" cy="37728"/>
                </a:xfrm>
                <a:prstGeom prst="rect">
                  <a:avLst/>
                </a:prstGeom>
                <a:solidFill>
                  <a:srgbClr val="DC5B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22" name="Freeform 219"/>
                <p:cNvSpPr>
                  <a:spLocks/>
                </p:cNvSpPr>
                <p:nvPr/>
              </p:nvSpPr>
              <p:spPr bwMode="auto">
                <a:xfrm rot="5400000">
                  <a:off x="10579003" y="347175"/>
                  <a:ext cx="74222" cy="116203"/>
                </a:xfrm>
                <a:custGeom>
                  <a:avLst/>
                  <a:gdLst>
                    <a:gd name="T0" fmla="*/ 51 w 51"/>
                    <a:gd name="T1" fmla="*/ 77 h 77"/>
                    <a:gd name="T2" fmla="*/ 0 w 51"/>
                    <a:gd name="T3" fmla="*/ 38 h 77"/>
                    <a:gd name="T4" fmla="*/ 51 w 51"/>
                    <a:gd name="T5" fmla="*/ 0 h 77"/>
                    <a:gd name="T6" fmla="*/ 51 w 51"/>
                    <a:gd name="T7" fmla="*/ 77 h 77"/>
                    <a:gd name="T8" fmla="*/ 51 w 51"/>
                    <a:gd name="T9" fmla="*/ 77 h 77"/>
                  </a:gdLst>
                  <a:ahLst/>
                  <a:cxnLst>
                    <a:cxn ang="0">
                      <a:pos x="T0" y="T1"/>
                    </a:cxn>
                    <a:cxn ang="0">
                      <a:pos x="T2" y="T3"/>
                    </a:cxn>
                    <a:cxn ang="0">
                      <a:pos x="T4" y="T5"/>
                    </a:cxn>
                    <a:cxn ang="0">
                      <a:pos x="T6" y="T7"/>
                    </a:cxn>
                    <a:cxn ang="0">
                      <a:pos x="T8" y="T9"/>
                    </a:cxn>
                  </a:cxnLst>
                  <a:rect l="0" t="0" r="r" b="b"/>
                  <a:pathLst>
                    <a:path w="51" h="77">
                      <a:moveTo>
                        <a:pt x="51" y="77"/>
                      </a:moveTo>
                      <a:lnTo>
                        <a:pt x="0" y="38"/>
                      </a:lnTo>
                      <a:lnTo>
                        <a:pt x="51" y="0"/>
                      </a:lnTo>
                      <a:lnTo>
                        <a:pt x="51" y="77"/>
                      </a:lnTo>
                      <a:lnTo>
                        <a:pt x="51" y="77"/>
                      </a:lnTo>
                      <a:close/>
                    </a:path>
                  </a:pathLst>
                </a:custGeom>
                <a:solidFill>
                  <a:srgbClr val="DC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23" name="Freeform 220"/>
                <p:cNvSpPr>
                  <a:spLocks/>
                </p:cNvSpPr>
                <p:nvPr/>
              </p:nvSpPr>
              <p:spPr bwMode="auto">
                <a:xfrm rot="5400000">
                  <a:off x="11175950" y="991164"/>
                  <a:ext cx="854280" cy="1136380"/>
                </a:xfrm>
                <a:custGeom>
                  <a:avLst/>
                  <a:gdLst>
                    <a:gd name="T0" fmla="*/ 779 w 779"/>
                    <a:gd name="T1" fmla="*/ 999 h 999"/>
                    <a:gd name="T2" fmla="*/ 354 w 779"/>
                    <a:gd name="T3" fmla="*/ 999 h 999"/>
                    <a:gd name="T4" fmla="*/ 63 w 779"/>
                    <a:gd name="T5" fmla="*/ 980 h 999"/>
                    <a:gd name="T6" fmla="*/ 2 w 779"/>
                    <a:gd name="T7" fmla="*/ 874 h 999"/>
                    <a:gd name="T8" fmla="*/ 0 w 779"/>
                    <a:gd name="T9" fmla="*/ 849 h 999"/>
                    <a:gd name="T10" fmla="*/ 0 w 779"/>
                    <a:gd name="T11" fmla="*/ 847 h 999"/>
                    <a:gd name="T12" fmla="*/ 0 w 779"/>
                    <a:gd name="T13" fmla="*/ 0 h 999"/>
                    <a:gd name="T14" fmla="*/ 34 w 779"/>
                    <a:gd name="T15" fmla="*/ 0 h 999"/>
                    <a:gd name="T16" fmla="*/ 34 w 779"/>
                    <a:gd name="T17" fmla="*/ 847 h 999"/>
                    <a:gd name="T18" fmla="*/ 36 w 779"/>
                    <a:gd name="T19" fmla="*/ 871 h 999"/>
                    <a:gd name="T20" fmla="*/ 75 w 779"/>
                    <a:gd name="T21" fmla="*/ 948 h 999"/>
                    <a:gd name="T22" fmla="*/ 354 w 779"/>
                    <a:gd name="T23" fmla="*/ 965 h 999"/>
                    <a:gd name="T24" fmla="*/ 779 w 779"/>
                    <a:gd name="T25" fmla="*/ 965 h 999"/>
                    <a:gd name="T26" fmla="*/ 779 w 779"/>
                    <a:gd name="T27" fmla="*/ 999 h 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9" h="999">
                      <a:moveTo>
                        <a:pt x="779" y="999"/>
                      </a:moveTo>
                      <a:cubicBezTo>
                        <a:pt x="354" y="999"/>
                        <a:pt x="354" y="999"/>
                        <a:pt x="354" y="999"/>
                      </a:cubicBezTo>
                      <a:cubicBezTo>
                        <a:pt x="189" y="999"/>
                        <a:pt x="108" y="996"/>
                        <a:pt x="63" y="980"/>
                      </a:cubicBezTo>
                      <a:cubicBezTo>
                        <a:pt x="11" y="961"/>
                        <a:pt x="7" y="925"/>
                        <a:pt x="2" y="874"/>
                      </a:cubicBezTo>
                      <a:cubicBezTo>
                        <a:pt x="2" y="866"/>
                        <a:pt x="1" y="858"/>
                        <a:pt x="0" y="849"/>
                      </a:cubicBezTo>
                      <a:cubicBezTo>
                        <a:pt x="0" y="849"/>
                        <a:pt x="0" y="848"/>
                        <a:pt x="0" y="847"/>
                      </a:cubicBezTo>
                      <a:cubicBezTo>
                        <a:pt x="0" y="0"/>
                        <a:pt x="0" y="0"/>
                        <a:pt x="0" y="0"/>
                      </a:cubicBezTo>
                      <a:cubicBezTo>
                        <a:pt x="34" y="0"/>
                        <a:pt x="34" y="0"/>
                        <a:pt x="34" y="0"/>
                      </a:cubicBezTo>
                      <a:cubicBezTo>
                        <a:pt x="34" y="847"/>
                        <a:pt x="34" y="847"/>
                        <a:pt x="34" y="847"/>
                      </a:cubicBezTo>
                      <a:cubicBezTo>
                        <a:pt x="35" y="855"/>
                        <a:pt x="35" y="863"/>
                        <a:pt x="36" y="871"/>
                      </a:cubicBezTo>
                      <a:cubicBezTo>
                        <a:pt x="41" y="922"/>
                        <a:pt x="44" y="937"/>
                        <a:pt x="75" y="948"/>
                      </a:cubicBezTo>
                      <a:cubicBezTo>
                        <a:pt x="114" y="962"/>
                        <a:pt x="196" y="965"/>
                        <a:pt x="354" y="965"/>
                      </a:cubicBezTo>
                      <a:cubicBezTo>
                        <a:pt x="779" y="965"/>
                        <a:pt x="779" y="965"/>
                        <a:pt x="779" y="965"/>
                      </a:cubicBezTo>
                      <a:lnTo>
                        <a:pt x="779" y="999"/>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grpSp>
              <p:nvGrpSpPr>
                <p:cNvPr id="624" name="Group 623"/>
                <p:cNvGrpSpPr/>
                <p:nvPr/>
              </p:nvGrpSpPr>
              <p:grpSpPr>
                <a:xfrm rot="16200000">
                  <a:off x="10903605" y="1557171"/>
                  <a:ext cx="239953" cy="221210"/>
                  <a:chOff x="10903605" y="1557171"/>
                  <a:chExt cx="239953" cy="221210"/>
                </a:xfrm>
              </p:grpSpPr>
              <p:grpSp>
                <p:nvGrpSpPr>
                  <p:cNvPr id="661" name="Group 660"/>
                  <p:cNvGrpSpPr/>
                  <p:nvPr/>
                </p:nvGrpSpPr>
                <p:grpSpPr>
                  <a:xfrm>
                    <a:off x="10903605" y="1557171"/>
                    <a:ext cx="239953" cy="221210"/>
                    <a:chOff x="10903605" y="1557171"/>
                    <a:chExt cx="239953" cy="221210"/>
                  </a:xfrm>
                </p:grpSpPr>
                <p:sp>
                  <p:nvSpPr>
                    <p:cNvPr id="665" name="Freeform 221"/>
                    <p:cNvSpPr>
                      <a:spLocks/>
                    </p:cNvSpPr>
                    <p:nvPr/>
                  </p:nvSpPr>
                  <p:spPr bwMode="auto">
                    <a:xfrm rot="5400000">
                      <a:off x="10945423" y="1580246"/>
                      <a:ext cx="221210" cy="175060"/>
                    </a:xfrm>
                    <a:custGeom>
                      <a:avLst/>
                      <a:gdLst>
                        <a:gd name="T0" fmla="*/ 0 w 201"/>
                        <a:gd name="T1" fmla="*/ 25 h 153"/>
                        <a:gd name="T2" fmla="*/ 25 w 201"/>
                        <a:gd name="T3" fmla="*/ 0 h 153"/>
                        <a:gd name="T4" fmla="*/ 175 w 201"/>
                        <a:gd name="T5" fmla="*/ 0 h 153"/>
                        <a:gd name="T6" fmla="*/ 201 w 201"/>
                        <a:gd name="T7" fmla="*/ 25 h 153"/>
                        <a:gd name="T8" fmla="*/ 201 w 201"/>
                        <a:gd name="T9" fmla="*/ 127 h 153"/>
                        <a:gd name="T10" fmla="*/ 175 w 201"/>
                        <a:gd name="T11" fmla="*/ 153 h 153"/>
                        <a:gd name="T12" fmla="*/ 25 w 201"/>
                        <a:gd name="T13" fmla="*/ 153 h 153"/>
                        <a:gd name="T14" fmla="*/ 0 w 201"/>
                        <a:gd name="T15" fmla="*/ 127 h 153"/>
                        <a:gd name="T16" fmla="*/ 0 w 201"/>
                        <a:gd name="T17" fmla="*/ 2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53">
                          <a:moveTo>
                            <a:pt x="0" y="25"/>
                          </a:moveTo>
                          <a:cubicBezTo>
                            <a:pt x="0" y="11"/>
                            <a:pt x="11" y="0"/>
                            <a:pt x="25" y="0"/>
                          </a:cubicBezTo>
                          <a:cubicBezTo>
                            <a:pt x="175" y="0"/>
                            <a:pt x="175" y="0"/>
                            <a:pt x="175" y="0"/>
                          </a:cubicBezTo>
                          <a:cubicBezTo>
                            <a:pt x="189" y="0"/>
                            <a:pt x="201" y="11"/>
                            <a:pt x="201" y="25"/>
                          </a:cubicBezTo>
                          <a:cubicBezTo>
                            <a:pt x="201" y="127"/>
                            <a:pt x="201" y="127"/>
                            <a:pt x="201" y="127"/>
                          </a:cubicBezTo>
                          <a:cubicBezTo>
                            <a:pt x="201" y="141"/>
                            <a:pt x="189" y="153"/>
                            <a:pt x="175" y="153"/>
                          </a:cubicBezTo>
                          <a:cubicBezTo>
                            <a:pt x="25" y="153"/>
                            <a:pt x="25" y="153"/>
                            <a:pt x="25" y="153"/>
                          </a:cubicBezTo>
                          <a:cubicBezTo>
                            <a:pt x="11" y="153"/>
                            <a:pt x="0" y="141"/>
                            <a:pt x="0" y="127"/>
                          </a:cubicBezTo>
                          <a:lnTo>
                            <a:pt x="0" y="25"/>
                          </a:lnTo>
                          <a:close/>
                        </a:path>
                      </a:pathLst>
                    </a:custGeom>
                    <a:solidFill>
                      <a:srgbClr val="F78C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66" name="Freeform 222"/>
                    <p:cNvSpPr>
                      <a:spLocks/>
                    </p:cNvSpPr>
                    <p:nvPr/>
                  </p:nvSpPr>
                  <p:spPr bwMode="auto">
                    <a:xfrm rot="5400000">
                      <a:off x="10897053" y="1604472"/>
                      <a:ext cx="94597" cy="81493"/>
                    </a:xfrm>
                    <a:custGeom>
                      <a:avLst/>
                      <a:gdLst>
                        <a:gd name="T0" fmla="*/ 0 w 65"/>
                        <a:gd name="T1" fmla="*/ 0 h 54"/>
                        <a:gd name="T2" fmla="*/ 13 w 65"/>
                        <a:gd name="T3" fmla="*/ 54 h 54"/>
                        <a:gd name="T4" fmla="*/ 65 w 65"/>
                        <a:gd name="T5" fmla="*/ 0 h 54"/>
                        <a:gd name="T6" fmla="*/ 0 w 65"/>
                        <a:gd name="T7" fmla="*/ 0 h 54"/>
                        <a:gd name="T8" fmla="*/ 0 w 65"/>
                        <a:gd name="T9" fmla="*/ 0 h 54"/>
                      </a:gdLst>
                      <a:ahLst/>
                      <a:cxnLst>
                        <a:cxn ang="0">
                          <a:pos x="T0" y="T1"/>
                        </a:cxn>
                        <a:cxn ang="0">
                          <a:pos x="T2" y="T3"/>
                        </a:cxn>
                        <a:cxn ang="0">
                          <a:pos x="T4" y="T5"/>
                        </a:cxn>
                        <a:cxn ang="0">
                          <a:pos x="T6" y="T7"/>
                        </a:cxn>
                        <a:cxn ang="0">
                          <a:pos x="T8" y="T9"/>
                        </a:cxn>
                      </a:cxnLst>
                      <a:rect l="0" t="0" r="r" b="b"/>
                      <a:pathLst>
                        <a:path w="65" h="54">
                          <a:moveTo>
                            <a:pt x="0" y="0"/>
                          </a:moveTo>
                          <a:lnTo>
                            <a:pt x="13" y="54"/>
                          </a:lnTo>
                          <a:lnTo>
                            <a:pt x="65" y="0"/>
                          </a:lnTo>
                          <a:lnTo>
                            <a:pt x="0" y="0"/>
                          </a:lnTo>
                          <a:lnTo>
                            <a:pt x="0" y="0"/>
                          </a:lnTo>
                          <a:close/>
                        </a:path>
                      </a:pathLst>
                    </a:custGeom>
                    <a:solidFill>
                      <a:srgbClr val="F78C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grpSp>
              <p:grpSp>
                <p:nvGrpSpPr>
                  <p:cNvPr id="662" name="Group 661"/>
                  <p:cNvGrpSpPr/>
                  <p:nvPr/>
                </p:nvGrpSpPr>
                <p:grpSpPr>
                  <a:xfrm>
                    <a:off x="11065083" y="1592098"/>
                    <a:ext cx="27164" cy="80043"/>
                    <a:chOff x="11065083" y="1592098"/>
                    <a:chExt cx="27164" cy="80043"/>
                  </a:xfrm>
                </p:grpSpPr>
                <p:sp>
                  <p:nvSpPr>
                    <p:cNvPr id="663" name="Freeform 224"/>
                    <p:cNvSpPr>
                      <a:spLocks noEditPoints="1"/>
                    </p:cNvSpPr>
                    <p:nvPr/>
                  </p:nvSpPr>
                  <p:spPr bwMode="auto">
                    <a:xfrm rot="5400000">
                      <a:off x="11061928" y="1595253"/>
                      <a:ext cx="33473" cy="27164"/>
                    </a:xfrm>
                    <a:custGeom>
                      <a:avLst/>
                      <a:gdLst>
                        <a:gd name="T0" fmla="*/ 14 w 30"/>
                        <a:gd name="T1" fmla="*/ 25 h 25"/>
                        <a:gd name="T2" fmla="*/ 0 w 30"/>
                        <a:gd name="T3" fmla="*/ 25 h 25"/>
                        <a:gd name="T4" fmla="*/ 0 w 30"/>
                        <a:gd name="T5" fmla="*/ 15 h 25"/>
                        <a:gd name="T6" fmla="*/ 3 w 30"/>
                        <a:gd name="T7" fmla="*/ 6 h 25"/>
                        <a:gd name="T8" fmla="*/ 11 w 30"/>
                        <a:gd name="T9" fmla="*/ 0 h 25"/>
                        <a:gd name="T10" fmla="*/ 14 w 30"/>
                        <a:gd name="T11" fmla="*/ 5 h 25"/>
                        <a:gd name="T12" fmla="*/ 9 w 30"/>
                        <a:gd name="T13" fmla="*/ 9 h 25"/>
                        <a:gd name="T14" fmla="*/ 7 w 30"/>
                        <a:gd name="T15" fmla="*/ 13 h 25"/>
                        <a:gd name="T16" fmla="*/ 14 w 30"/>
                        <a:gd name="T17" fmla="*/ 13 h 25"/>
                        <a:gd name="T18" fmla="*/ 14 w 30"/>
                        <a:gd name="T19" fmla="*/ 25 h 25"/>
                        <a:gd name="T20" fmla="*/ 30 w 30"/>
                        <a:gd name="T21" fmla="*/ 25 h 25"/>
                        <a:gd name="T22" fmla="*/ 16 w 30"/>
                        <a:gd name="T23" fmla="*/ 25 h 25"/>
                        <a:gd name="T24" fmla="*/ 16 w 30"/>
                        <a:gd name="T25" fmla="*/ 15 h 25"/>
                        <a:gd name="T26" fmla="*/ 18 w 30"/>
                        <a:gd name="T27" fmla="*/ 6 h 25"/>
                        <a:gd name="T28" fmla="*/ 27 w 30"/>
                        <a:gd name="T29" fmla="*/ 0 h 25"/>
                        <a:gd name="T30" fmla="*/ 30 w 30"/>
                        <a:gd name="T31" fmla="*/ 5 h 25"/>
                        <a:gd name="T32" fmla="*/ 25 w 30"/>
                        <a:gd name="T33" fmla="*/ 9 h 25"/>
                        <a:gd name="T34" fmla="*/ 23 w 30"/>
                        <a:gd name="T35" fmla="*/ 13 h 25"/>
                        <a:gd name="T36" fmla="*/ 30 w 30"/>
                        <a:gd name="T37" fmla="*/ 13 h 25"/>
                        <a:gd name="T38" fmla="*/ 30 w 30"/>
                        <a:gd name="T3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 h="25">
                          <a:moveTo>
                            <a:pt x="14" y="25"/>
                          </a:moveTo>
                          <a:cubicBezTo>
                            <a:pt x="0" y="25"/>
                            <a:pt x="0" y="25"/>
                            <a:pt x="0" y="25"/>
                          </a:cubicBezTo>
                          <a:cubicBezTo>
                            <a:pt x="0" y="15"/>
                            <a:pt x="0" y="15"/>
                            <a:pt x="0" y="15"/>
                          </a:cubicBezTo>
                          <a:cubicBezTo>
                            <a:pt x="0" y="11"/>
                            <a:pt x="1" y="8"/>
                            <a:pt x="3" y="6"/>
                          </a:cubicBezTo>
                          <a:cubicBezTo>
                            <a:pt x="4" y="3"/>
                            <a:pt x="7" y="1"/>
                            <a:pt x="11" y="0"/>
                          </a:cubicBezTo>
                          <a:cubicBezTo>
                            <a:pt x="14" y="5"/>
                            <a:pt x="14" y="5"/>
                            <a:pt x="14" y="5"/>
                          </a:cubicBezTo>
                          <a:cubicBezTo>
                            <a:pt x="11" y="6"/>
                            <a:pt x="10" y="7"/>
                            <a:pt x="9" y="9"/>
                          </a:cubicBezTo>
                          <a:cubicBezTo>
                            <a:pt x="8" y="10"/>
                            <a:pt x="7" y="11"/>
                            <a:pt x="7" y="13"/>
                          </a:cubicBezTo>
                          <a:cubicBezTo>
                            <a:pt x="14" y="13"/>
                            <a:pt x="14" y="13"/>
                            <a:pt x="14" y="13"/>
                          </a:cubicBezTo>
                          <a:lnTo>
                            <a:pt x="14" y="25"/>
                          </a:lnTo>
                          <a:close/>
                          <a:moveTo>
                            <a:pt x="30" y="25"/>
                          </a:moveTo>
                          <a:cubicBezTo>
                            <a:pt x="16" y="25"/>
                            <a:pt x="16" y="25"/>
                            <a:pt x="16" y="25"/>
                          </a:cubicBezTo>
                          <a:cubicBezTo>
                            <a:pt x="16" y="15"/>
                            <a:pt x="16" y="15"/>
                            <a:pt x="16" y="15"/>
                          </a:cubicBezTo>
                          <a:cubicBezTo>
                            <a:pt x="16" y="11"/>
                            <a:pt x="17" y="8"/>
                            <a:pt x="18" y="6"/>
                          </a:cubicBezTo>
                          <a:cubicBezTo>
                            <a:pt x="20" y="3"/>
                            <a:pt x="23" y="1"/>
                            <a:pt x="27" y="0"/>
                          </a:cubicBezTo>
                          <a:cubicBezTo>
                            <a:pt x="30" y="5"/>
                            <a:pt x="30" y="5"/>
                            <a:pt x="30" y="5"/>
                          </a:cubicBezTo>
                          <a:cubicBezTo>
                            <a:pt x="27" y="6"/>
                            <a:pt x="26" y="7"/>
                            <a:pt x="25" y="9"/>
                          </a:cubicBezTo>
                          <a:cubicBezTo>
                            <a:pt x="24" y="10"/>
                            <a:pt x="23" y="11"/>
                            <a:pt x="23" y="13"/>
                          </a:cubicBezTo>
                          <a:cubicBezTo>
                            <a:pt x="30" y="13"/>
                            <a:pt x="30" y="13"/>
                            <a:pt x="30" y="13"/>
                          </a:cubicBezTo>
                          <a:lnTo>
                            <a:pt x="3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64" name="Freeform 225"/>
                    <p:cNvSpPr>
                      <a:spLocks noEditPoints="1"/>
                    </p:cNvSpPr>
                    <p:nvPr/>
                  </p:nvSpPr>
                  <p:spPr bwMode="auto">
                    <a:xfrm rot="5400000">
                      <a:off x="11062656" y="1642551"/>
                      <a:ext cx="32017" cy="27164"/>
                    </a:xfrm>
                    <a:custGeom>
                      <a:avLst/>
                      <a:gdLst>
                        <a:gd name="T0" fmla="*/ 0 w 29"/>
                        <a:gd name="T1" fmla="*/ 0 h 25"/>
                        <a:gd name="T2" fmla="*/ 14 w 29"/>
                        <a:gd name="T3" fmla="*/ 0 h 25"/>
                        <a:gd name="T4" fmla="*/ 14 w 29"/>
                        <a:gd name="T5" fmla="*/ 10 h 25"/>
                        <a:gd name="T6" fmla="*/ 11 w 29"/>
                        <a:gd name="T7" fmla="*/ 19 h 25"/>
                        <a:gd name="T8" fmla="*/ 3 w 29"/>
                        <a:gd name="T9" fmla="*/ 25 h 25"/>
                        <a:gd name="T10" fmla="*/ 0 w 29"/>
                        <a:gd name="T11" fmla="*/ 20 h 25"/>
                        <a:gd name="T12" fmla="*/ 5 w 29"/>
                        <a:gd name="T13" fmla="*/ 16 h 25"/>
                        <a:gd name="T14" fmla="*/ 7 w 29"/>
                        <a:gd name="T15" fmla="*/ 12 h 25"/>
                        <a:gd name="T16" fmla="*/ 0 w 29"/>
                        <a:gd name="T17" fmla="*/ 12 h 25"/>
                        <a:gd name="T18" fmla="*/ 0 w 29"/>
                        <a:gd name="T19" fmla="*/ 0 h 25"/>
                        <a:gd name="T20" fmla="*/ 16 w 29"/>
                        <a:gd name="T21" fmla="*/ 0 h 25"/>
                        <a:gd name="T22" fmla="*/ 29 w 29"/>
                        <a:gd name="T23" fmla="*/ 0 h 25"/>
                        <a:gd name="T24" fmla="*/ 29 w 29"/>
                        <a:gd name="T25" fmla="*/ 10 h 25"/>
                        <a:gd name="T26" fmla="*/ 27 w 29"/>
                        <a:gd name="T27" fmla="*/ 19 h 25"/>
                        <a:gd name="T28" fmla="*/ 19 w 29"/>
                        <a:gd name="T29" fmla="*/ 25 h 25"/>
                        <a:gd name="T30" fmla="*/ 16 w 29"/>
                        <a:gd name="T31" fmla="*/ 20 h 25"/>
                        <a:gd name="T32" fmla="*/ 21 w 29"/>
                        <a:gd name="T33" fmla="*/ 16 h 25"/>
                        <a:gd name="T34" fmla="*/ 22 w 29"/>
                        <a:gd name="T35" fmla="*/ 12 h 25"/>
                        <a:gd name="T36" fmla="*/ 16 w 29"/>
                        <a:gd name="T37" fmla="*/ 12 h 25"/>
                        <a:gd name="T38" fmla="*/ 16 w 29"/>
                        <a:gd name="T3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 h="25">
                          <a:moveTo>
                            <a:pt x="0" y="0"/>
                          </a:moveTo>
                          <a:cubicBezTo>
                            <a:pt x="14" y="0"/>
                            <a:pt x="14" y="0"/>
                            <a:pt x="14" y="0"/>
                          </a:cubicBezTo>
                          <a:cubicBezTo>
                            <a:pt x="14" y="10"/>
                            <a:pt x="14" y="10"/>
                            <a:pt x="14" y="10"/>
                          </a:cubicBezTo>
                          <a:cubicBezTo>
                            <a:pt x="14" y="14"/>
                            <a:pt x="13" y="17"/>
                            <a:pt x="11" y="19"/>
                          </a:cubicBezTo>
                          <a:cubicBezTo>
                            <a:pt x="10" y="21"/>
                            <a:pt x="7" y="23"/>
                            <a:pt x="3" y="25"/>
                          </a:cubicBezTo>
                          <a:cubicBezTo>
                            <a:pt x="0" y="20"/>
                            <a:pt x="0" y="20"/>
                            <a:pt x="0" y="20"/>
                          </a:cubicBezTo>
                          <a:cubicBezTo>
                            <a:pt x="2" y="18"/>
                            <a:pt x="4" y="17"/>
                            <a:pt x="5" y="16"/>
                          </a:cubicBezTo>
                          <a:cubicBezTo>
                            <a:pt x="6" y="15"/>
                            <a:pt x="6" y="14"/>
                            <a:pt x="7" y="12"/>
                          </a:cubicBezTo>
                          <a:cubicBezTo>
                            <a:pt x="0" y="12"/>
                            <a:pt x="0" y="12"/>
                            <a:pt x="0" y="12"/>
                          </a:cubicBezTo>
                          <a:lnTo>
                            <a:pt x="0" y="0"/>
                          </a:lnTo>
                          <a:close/>
                          <a:moveTo>
                            <a:pt x="16" y="0"/>
                          </a:moveTo>
                          <a:cubicBezTo>
                            <a:pt x="29" y="0"/>
                            <a:pt x="29" y="0"/>
                            <a:pt x="29" y="0"/>
                          </a:cubicBezTo>
                          <a:cubicBezTo>
                            <a:pt x="29" y="10"/>
                            <a:pt x="29" y="10"/>
                            <a:pt x="29" y="10"/>
                          </a:cubicBezTo>
                          <a:cubicBezTo>
                            <a:pt x="29" y="14"/>
                            <a:pt x="29" y="17"/>
                            <a:pt x="27" y="19"/>
                          </a:cubicBezTo>
                          <a:cubicBezTo>
                            <a:pt x="25" y="21"/>
                            <a:pt x="23" y="23"/>
                            <a:pt x="19" y="25"/>
                          </a:cubicBezTo>
                          <a:cubicBezTo>
                            <a:pt x="16" y="20"/>
                            <a:pt x="16" y="20"/>
                            <a:pt x="16" y="20"/>
                          </a:cubicBezTo>
                          <a:cubicBezTo>
                            <a:pt x="18" y="18"/>
                            <a:pt x="20" y="17"/>
                            <a:pt x="21" y="16"/>
                          </a:cubicBezTo>
                          <a:cubicBezTo>
                            <a:pt x="22" y="15"/>
                            <a:pt x="22" y="14"/>
                            <a:pt x="22" y="12"/>
                          </a:cubicBezTo>
                          <a:cubicBezTo>
                            <a:pt x="16" y="12"/>
                            <a:pt x="16" y="12"/>
                            <a:pt x="16" y="12"/>
                          </a:cubicBezTo>
                          <a:lnTo>
                            <a:pt x="1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grpSp>
            </p:grpSp>
            <p:sp>
              <p:nvSpPr>
                <p:cNvPr id="625" name="Freeform 226"/>
                <p:cNvSpPr>
                  <a:spLocks noEditPoints="1"/>
                </p:cNvSpPr>
                <p:nvPr/>
              </p:nvSpPr>
              <p:spPr bwMode="auto">
                <a:xfrm rot="18900000">
                  <a:off x="11274280" y="1428435"/>
                  <a:ext cx="213934" cy="200715"/>
                </a:xfrm>
                <a:custGeom>
                  <a:avLst/>
                  <a:gdLst>
                    <a:gd name="T0" fmla="*/ 113 w 196"/>
                    <a:gd name="T1" fmla="*/ 118 h 177"/>
                    <a:gd name="T2" fmla="*/ 114 w 196"/>
                    <a:gd name="T3" fmla="*/ 126 h 177"/>
                    <a:gd name="T4" fmla="*/ 122 w 196"/>
                    <a:gd name="T5" fmla="*/ 127 h 177"/>
                    <a:gd name="T6" fmla="*/ 124 w 196"/>
                    <a:gd name="T7" fmla="*/ 135 h 177"/>
                    <a:gd name="T8" fmla="*/ 131 w 196"/>
                    <a:gd name="T9" fmla="*/ 135 h 177"/>
                    <a:gd name="T10" fmla="*/ 132 w 196"/>
                    <a:gd name="T11" fmla="*/ 144 h 177"/>
                    <a:gd name="T12" fmla="*/ 141 w 196"/>
                    <a:gd name="T13" fmla="*/ 145 h 177"/>
                    <a:gd name="T14" fmla="*/ 128 w 196"/>
                    <a:gd name="T15" fmla="*/ 166 h 177"/>
                    <a:gd name="T16" fmla="*/ 119 w 196"/>
                    <a:gd name="T17" fmla="*/ 165 h 177"/>
                    <a:gd name="T18" fmla="*/ 111 w 196"/>
                    <a:gd name="T19" fmla="*/ 157 h 177"/>
                    <a:gd name="T20" fmla="*/ 109 w 196"/>
                    <a:gd name="T21" fmla="*/ 149 h 177"/>
                    <a:gd name="T22" fmla="*/ 101 w 196"/>
                    <a:gd name="T23" fmla="*/ 147 h 177"/>
                    <a:gd name="T24" fmla="*/ 93 w 196"/>
                    <a:gd name="T25" fmla="*/ 139 h 177"/>
                    <a:gd name="T26" fmla="*/ 92 w 196"/>
                    <a:gd name="T27" fmla="*/ 130 h 177"/>
                    <a:gd name="T28" fmla="*/ 109 w 196"/>
                    <a:gd name="T29" fmla="*/ 116 h 177"/>
                    <a:gd name="T30" fmla="*/ 172 w 196"/>
                    <a:gd name="T31" fmla="*/ 148 h 177"/>
                    <a:gd name="T32" fmla="*/ 166 w 196"/>
                    <a:gd name="T33" fmla="*/ 172 h 177"/>
                    <a:gd name="T34" fmla="*/ 140 w 196"/>
                    <a:gd name="T35" fmla="*/ 164 h 177"/>
                    <a:gd name="T36" fmla="*/ 139 w 196"/>
                    <a:gd name="T37" fmla="*/ 136 h 177"/>
                    <a:gd name="T38" fmla="*/ 124 w 196"/>
                    <a:gd name="T39" fmla="*/ 120 h 177"/>
                    <a:gd name="T40" fmla="*/ 154 w 196"/>
                    <a:gd name="T41" fmla="*/ 78 h 177"/>
                    <a:gd name="T42" fmla="*/ 182 w 196"/>
                    <a:gd name="T43" fmla="*/ 104 h 177"/>
                    <a:gd name="T44" fmla="*/ 164 w 196"/>
                    <a:gd name="T45" fmla="*/ 130 h 177"/>
                    <a:gd name="T46" fmla="*/ 128 w 196"/>
                    <a:gd name="T47" fmla="*/ 104 h 177"/>
                    <a:gd name="T48" fmla="*/ 128 w 196"/>
                    <a:gd name="T49" fmla="*/ 105 h 177"/>
                    <a:gd name="T50" fmla="*/ 126 w 196"/>
                    <a:gd name="T51" fmla="*/ 110 h 177"/>
                    <a:gd name="T52" fmla="*/ 121 w 196"/>
                    <a:gd name="T53" fmla="*/ 114 h 177"/>
                    <a:gd name="T54" fmla="*/ 117 w 196"/>
                    <a:gd name="T55" fmla="*/ 94 h 177"/>
                    <a:gd name="T56" fmla="*/ 117 w 196"/>
                    <a:gd name="T57" fmla="*/ 93 h 177"/>
                    <a:gd name="T58" fmla="*/ 127 w 196"/>
                    <a:gd name="T59" fmla="*/ 79 h 177"/>
                    <a:gd name="T60" fmla="*/ 167 w 196"/>
                    <a:gd name="T61" fmla="*/ 67 h 177"/>
                    <a:gd name="T62" fmla="*/ 194 w 196"/>
                    <a:gd name="T63" fmla="*/ 91 h 177"/>
                    <a:gd name="T64" fmla="*/ 192 w 196"/>
                    <a:gd name="T65" fmla="*/ 101 h 177"/>
                    <a:gd name="T66" fmla="*/ 161 w 196"/>
                    <a:gd name="T67" fmla="*/ 78 h 177"/>
                    <a:gd name="T68" fmla="*/ 163 w 196"/>
                    <a:gd name="T69" fmla="*/ 68 h 177"/>
                    <a:gd name="T70" fmla="*/ 35 w 196"/>
                    <a:gd name="T71" fmla="*/ 33 h 177"/>
                    <a:gd name="T72" fmla="*/ 35 w 196"/>
                    <a:gd name="T73" fmla="*/ 66 h 177"/>
                    <a:gd name="T74" fmla="*/ 33 w 196"/>
                    <a:gd name="T75" fmla="*/ 33 h 177"/>
                    <a:gd name="T76" fmla="*/ 56 w 196"/>
                    <a:gd name="T77" fmla="*/ 16 h 177"/>
                    <a:gd name="T78" fmla="*/ 56 w 196"/>
                    <a:gd name="T79" fmla="*/ 95 h 177"/>
                    <a:gd name="T80" fmla="*/ 56 w 196"/>
                    <a:gd name="T81" fmla="*/ 16 h 177"/>
                    <a:gd name="T82" fmla="*/ 111 w 196"/>
                    <a:gd name="T83" fmla="*/ 56 h 177"/>
                    <a:gd name="T84" fmla="*/ 106 w 196"/>
                    <a:gd name="T85" fmla="*/ 82 h 177"/>
                    <a:gd name="T86" fmla="*/ 105 w 196"/>
                    <a:gd name="T87" fmla="*/ 110 h 177"/>
                    <a:gd name="T88" fmla="*/ 82 w 196"/>
                    <a:gd name="T89" fmla="*/ 106 h 177"/>
                    <a:gd name="T90" fmla="*/ 56 w 196"/>
                    <a:gd name="T91" fmla="*/ 111 h 177"/>
                    <a:gd name="T92" fmla="*/ 56 w 196"/>
                    <a:gd name="T93"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6" h="177">
                      <a:moveTo>
                        <a:pt x="109" y="116"/>
                      </a:moveTo>
                      <a:cubicBezTo>
                        <a:pt x="110" y="116"/>
                        <a:pt x="112" y="117"/>
                        <a:pt x="113" y="118"/>
                      </a:cubicBezTo>
                      <a:cubicBezTo>
                        <a:pt x="114" y="118"/>
                        <a:pt x="114" y="118"/>
                        <a:pt x="114" y="118"/>
                      </a:cubicBezTo>
                      <a:cubicBezTo>
                        <a:pt x="116" y="121"/>
                        <a:pt x="116" y="124"/>
                        <a:pt x="114" y="126"/>
                      </a:cubicBezTo>
                      <a:cubicBezTo>
                        <a:pt x="115" y="125"/>
                        <a:pt x="117" y="125"/>
                        <a:pt x="118" y="125"/>
                      </a:cubicBezTo>
                      <a:cubicBezTo>
                        <a:pt x="119" y="125"/>
                        <a:pt x="121" y="125"/>
                        <a:pt x="122" y="127"/>
                      </a:cubicBezTo>
                      <a:cubicBezTo>
                        <a:pt x="123" y="127"/>
                        <a:pt x="123" y="127"/>
                        <a:pt x="123" y="127"/>
                      </a:cubicBezTo>
                      <a:cubicBezTo>
                        <a:pt x="125" y="129"/>
                        <a:pt x="125" y="132"/>
                        <a:pt x="124" y="135"/>
                      </a:cubicBezTo>
                      <a:cubicBezTo>
                        <a:pt x="124" y="134"/>
                        <a:pt x="126" y="134"/>
                        <a:pt x="127" y="134"/>
                      </a:cubicBezTo>
                      <a:cubicBezTo>
                        <a:pt x="128" y="134"/>
                        <a:pt x="130" y="134"/>
                        <a:pt x="131" y="135"/>
                      </a:cubicBezTo>
                      <a:cubicBezTo>
                        <a:pt x="132" y="136"/>
                        <a:pt x="132" y="136"/>
                        <a:pt x="132" y="136"/>
                      </a:cubicBezTo>
                      <a:cubicBezTo>
                        <a:pt x="134" y="138"/>
                        <a:pt x="134" y="142"/>
                        <a:pt x="132" y="144"/>
                      </a:cubicBezTo>
                      <a:cubicBezTo>
                        <a:pt x="134" y="142"/>
                        <a:pt x="138" y="142"/>
                        <a:pt x="140" y="144"/>
                      </a:cubicBezTo>
                      <a:cubicBezTo>
                        <a:pt x="141" y="145"/>
                        <a:pt x="141" y="145"/>
                        <a:pt x="141" y="145"/>
                      </a:cubicBezTo>
                      <a:cubicBezTo>
                        <a:pt x="143" y="147"/>
                        <a:pt x="143" y="151"/>
                        <a:pt x="141" y="153"/>
                      </a:cubicBezTo>
                      <a:cubicBezTo>
                        <a:pt x="128" y="166"/>
                        <a:pt x="128" y="166"/>
                        <a:pt x="128" y="166"/>
                      </a:cubicBezTo>
                      <a:cubicBezTo>
                        <a:pt x="126" y="168"/>
                        <a:pt x="122" y="168"/>
                        <a:pt x="120" y="166"/>
                      </a:cubicBezTo>
                      <a:cubicBezTo>
                        <a:pt x="119" y="165"/>
                        <a:pt x="119" y="165"/>
                        <a:pt x="119" y="165"/>
                      </a:cubicBezTo>
                      <a:cubicBezTo>
                        <a:pt x="117" y="163"/>
                        <a:pt x="117" y="160"/>
                        <a:pt x="119" y="157"/>
                      </a:cubicBezTo>
                      <a:cubicBezTo>
                        <a:pt x="116" y="159"/>
                        <a:pt x="113" y="159"/>
                        <a:pt x="111" y="157"/>
                      </a:cubicBezTo>
                      <a:cubicBezTo>
                        <a:pt x="110" y="156"/>
                        <a:pt x="110" y="156"/>
                        <a:pt x="110" y="156"/>
                      </a:cubicBezTo>
                      <a:cubicBezTo>
                        <a:pt x="108" y="154"/>
                        <a:pt x="108" y="151"/>
                        <a:pt x="109" y="149"/>
                      </a:cubicBezTo>
                      <a:cubicBezTo>
                        <a:pt x="107" y="151"/>
                        <a:pt x="104" y="150"/>
                        <a:pt x="102" y="148"/>
                      </a:cubicBezTo>
                      <a:cubicBezTo>
                        <a:pt x="101" y="147"/>
                        <a:pt x="101" y="147"/>
                        <a:pt x="101" y="147"/>
                      </a:cubicBezTo>
                      <a:cubicBezTo>
                        <a:pt x="99" y="145"/>
                        <a:pt x="99" y="142"/>
                        <a:pt x="101" y="140"/>
                      </a:cubicBezTo>
                      <a:cubicBezTo>
                        <a:pt x="99" y="142"/>
                        <a:pt x="95" y="141"/>
                        <a:pt x="93" y="139"/>
                      </a:cubicBezTo>
                      <a:cubicBezTo>
                        <a:pt x="92" y="139"/>
                        <a:pt x="92" y="139"/>
                        <a:pt x="92" y="139"/>
                      </a:cubicBezTo>
                      <a:cubicBezTo>
                        <a:pt x="90" y="136"/>
                        <a:pt x="90" y="132"/>
                        <a:pt x="92" y="130"/>
                      </a:cubicBezTo>
                      <a:cubicBezTo>
                        <a:pt x="105" y="118"/>
                        <a:pt x="105" y="118"/>
                        <a:pt x="105" y="118"/>
                      </a:cubicBezTo>
                      <a:cubicBezTo>
                        <a:pt x="106" y="117"/>
                        <a:pt x="107" y="116"/>
                        <a:pt x="109" y="116"/>
                      </a:cubicBezTo>
                      <a:close/>
                      <a:moveTo>
                        <a:pt x="134" y="109"/>
                      </a:moveTo>
                      <a:cubicBezTo>
                        <a:pt x="172" y="148"/>
                        <a:pt x="172" y="148"/>
                        <a:pt x="172" y="148"/>
                      </a:cubicBezTo>
                      <a:cubicBezTo>
                        <a:pt x="177" y="153"/>
                        <a:pt x="177" y="160"/>
                        <a:pt x="172" y="165"/>
                      </a:cubicBezTo>
                      <a:cubicBezTo>
                        <a:pt x="166" y="172"/>
                        <a:pt x="166" y="172"/>
                        <a:pt x="166" y="172"/>
                      </a:cubicBezTo>
                      <a:cubicBezTo>
                        <a:pt x="161" y="177"/>
                        <a:pt x="153" y="177"/>
                        <a:pt x="148" y="172"/>
                      </a:cubicBezTo>
                      <a:cubicBezTo>
                        <a:pt x="140" y="164"/>
                        <a:pt x="140" y="164"/>
                        <a:pt x="140" y="164"/>
                      </a:cubicBezTo>
                      <a:cubicBezTo>
                        <a:pt x="147" y="156"/>
                        <a:pt x="147" y="156"/>
                        <a:pt x="147" y="156"/>
                      </a:cubicBezTo>
                      <a:cubicBezTo>
                        <a:pt x="149" y="153"/>
                        <a:pt x="152" y="142"/>
                        <a:pt x="139" y="136"/>
                      </a:cubicBezTo>
                      <a:cubicBezTo>
                        <a:pt x="138" y="133"/>
                        <a:pt x="135" y="128"/>
                        <a:pt x="131" y="127"/>
                      </a:cubicBezTo>
                      <a:cubicBezTo>
                        <a:pt x="130" y="125"/>
                        <a:pt x="128" y="122"/>
                        <a:pt x="124" y="120"/>
                      </a:cubicBezTo>
                      <a:cubicBezTo>
                        <a:pt x="128" y="118"/>
                        <a:pt x="131" y="115"/>
                        <a:pt x="134" y="109"/>
                      </a:cubicBezTo>
                      <a:close/>
                      <a:moveTo>
                        <a:pt x="154" y="78"/>
                      </a:moveTo>
                      <a:cubicBezTo>
                        <a:pt x="156" y="78"/>
                        <a:pt x="158" y="79"/>
                        <a:pt x="160" y="81"/>
                      </a:cubicBezTo>
                      <a:cubicBezTo>
                        <a:pt x="182" y="104"/>
                        <a:pt x="182" y="104"/>
                        <a:pt x="182" y="104"/>
                      </a:cubicBezTo>
                      <a:cubicBezTo>
                        <a:pt x="185" y="106"/>
                        <a:pt x="184" y="109"/>
                        <a:pt x="183" y="111"/>
                      </a:cubicBezTo>
                      <a:cubicBezTo>
                        <a:pt x="164" y="130"/>
                        <a:pt x="164" y="130"/>
                        <a:pt x="164" y="130"/>
                      </a:cubicBezTo>
                      <a:cubicBezTo>
                        <a:pt x="131" y="97"/>
                        <a:pt x="131" y="97"/>
                        <a:pt x="131" y="97"/>
                      </a:cubicBezTo>
                      <a:cubicBezTo>
                        <a:pt x="128" y="104"/>
                        <a:pt x="128" y="104"/>
                        <a:pt x="128" y="104"/>
                      </a:cubicBezTo>
                      <a:cubicBezTo>
                        <a:pt x="128" y="104"/>
                        <a:pt x="128" y="104"/>
                        <a:pt x="128" y="104"/>
                      </a:cubicBezTo>
                      <a:cubicBezTo>
                        <a:pt x="128" y="105"/>
                        <a:pt x="128" y="105"/>
                        <a:pt x="128" y="105"/>
                      </a:cubicBezTo>
                      <a:cubicBezTo>
                        <a:pt x="127" y="107"/>
                        <a:pt x="127" y="109"/>
                        <a:pt x="126" y="110"/>
                      </a:cubicBezTo>
                      <a:cubicBezTo>
                        <a:pt x="126" y="110"/>
                        <a:pt x="126" y="110"/>
                        <a:pt x="126" y="110"/>
                      </a:cubicBezTo>
                      <a:cubicBezTo>
                        <a:pt x="125" y="110"/>
                        <a:pt x="125" y="110"/>
                        <a:pt x="125" y="110"/>
                      </a:cubicBezTo>
                      <a:cubicBezTo>
                        <a:pt x="124" y="112"/>
                        <a:pt x="123" y="113"/>
                        <a:pt x="121" y="114"/>
                      </a:cubicBezTo>
                      <a:cubicBezTo>
                        <a:pt x="113" y="116"/>
                        <a:pt x="111" y="111"/>
                        <a:pt x="112" y="107"/>
                      </a:cubicBezTo>
                      <a:cubicBezTo>
                        <a:pt x="117" y="94"/>
                        <a:pt x="117" y="94"/>
                        <a:pt x="117" y="94"/>
                      </a:cubicBezTo>
                      <a:cubicBezTo>
                        <a:pt x="117" y="93"/>
                        <a:pt x="117" y="93"/>
                        <a:pt x="117" y="93"/>
                      </a:cubicBezTo>
                      <a:cubicBezTo>
                        <a:pt x="117" y="93"/>
                        <a:pt x="117" y="93"/>
                        <a:pt x="117" y="93"/>
                      </a:cubicBezTo>
                      <a:cubicBezTo>
                        <a:pt x="121" y="84"/>
                        <a:pt x="121" y="84"/>
                        <a:pt x="121" y="84"/>
                      </a:cubicBezTo>
                      <a:cubicBezTo>
                        <a:pt x="122" y="82"/>
                        <a:pt x="124" y="80"/>
                        <a:pt x="127" y="79"/>
                      </a:cubicBezTo>
                      <a:lnTo>
                        <a:pt x="154" y="78"/>
                      </a:lnTo>
                      <a:close/>
                      <a:moveTo>
                        <a:pt x="167" y="67"/>
                      </a:moveTo>
                      <a:cubicBezTo>
                        <a:pt x="169" y="67"/>
                        <a:pt x="170" y="67"/>
                        <a:pt x="171" y="68"/>
                      </a:cubicBezTo>
                      <a:cubicBezTo>
                        <a:pt x="194" y="91"/>
                        <a:pt x="194" y="91"/>
                        <a:pt x="194" y="91"/>
                      </a:cubicBezTo>
                      <a:cubicBezTo>
                        <a:pt x="196" y="93"/>
                        <a:pt x="196" y="97"/>
                        <a:pt x="194" y="99"/>
                      </a:cubicBezTo>
                      <a:cubicBezTo>
                        <a:pt x="192" y="101"/>
                        <a:pt x="192" y="101"/>
                        <a:pt x="192" y="101"/>
                      </a:cubicBezTo>
                      <a:cubicBezTo>
                        <a:pt x="190" y="103"/>
                        <a:pt x="186" y="103"/>
                        <a:pt x="184" y="101"/>
                      </a:cubicBezTo>
                      <a:cubicBezTo>
                        <a:pt x="161" y="78"/>
                        <a:pt x="161" y="78"/>
                        <a:pt x="161" y="78"/>
                      </a:cubicBezTo>
                      <a:cubicBezTo>
                        <a:pt x="159" y="76"/>
                        <a:pt x="159" y="73"/>
                        <a:pt x="161" y="70"/>
                      </a:cubicBezTo>
                      <a:cubicBezTo>
                        <a:pt x="163" y="68"/>
                        <a:pt x="163" y="68"/>
                        <a:pt x="163" y="68"/>
                      </a:cubicBezTo>
                      <a:cubicBezTo>
                        <a:pt x="164" y="67"/>
                        <a:pt x="166" y="67"/>
                        <a:pt x="167" y="67"/>
                      </a:cubicBezTo>
                      <a:close/>
                      <a:moveTo>
                        <a:pt x="35" y="33"/>
                      </a:moveTo>
                      <a:cubicBezTo>
                        <a:pt x="39" y="33"/>
                        <a:pt x="39" y="37"/>
                        <a:pt x="39" y="39"/>
                      </a:cubicBezTo>
                      <a:cubicBezTo>
                        <a:pt x="36" y="43"/>
                        <a:pt x="29" y="50"/>
                        <a:pt x="35" y="66"/>
                      </a:cubicBezTo>
                      <a:cubicBezTo>
                        <a:pt x="35" y="69"/>
                        <a:pt x="33" y="72"/>
                        <a:pt x="29" y="70"/>
                      </a:cubicBezTo>
                      <a:cubicBezTo>
                        <a:pt x="19" y="54"/>
                        <a:pt x="29" y="38"/>
                        <a:pt x="33" y="33"/>
                      </a:cubicBezTo>
                      <a:cubicBezTo>
                        <a:pt x="34" y="33"/>
                        <a:pt x="34" y="33"/>
                        <a:pt x="35" y="33"/>
                      </a:cubicBezTo>
                      <a:close/>
                      <a:moveTo>
                        <a:pt x="56" y="16"/>
                      </a:moveTo>
                      <a:cubicBezTo>
                        <a:pt x="34" y="16"/>
                        <a:pt x="16" y="34"/>
                        <a:pt x="16" y="56"/>
                      </a:cubicBezTo>
                      <a:cubicBezTo>
                        <a:pt x="16" y="77"/>
                        <a:pt x="34" y="95"/>
                        <a:pt x="56" y="95"/>
                      </a:cubicBezTo>
                      <a:cubicBezTo>
                        <a:pt x="77" y="95"/>
                        <a:pt x="95" y="77"/>
                        <a:pt x="95" y="56"/>
                      </a:cubicBezTo>
                      <a:cubicBezTo>
                        <a:pt x="95" y="34"/>
                        <a:pt x="77" y="16"/>
                        <a:pt x="56" y="16"/>
                      </a:cubicBezTo>
                      <a:close/>
                      <a:moveTo>
                        <a:pt x="56" y="0"/>
                      </a:moveTo>
                      <a:cubicBezTo>
                        <a:pt x="86" y="0"/>
                        <a:pt x="111" y="25"/>
                        <a:pt x="111" y="56"/>
                      </a:cubicBezTo>
                      <a:cubicBezTo>
                        <a:pt x="111" y="65"/>
                        <a:pt x="109" y="73"/>
                        <a:pt x="105" y="81"/>
                      </a:cubicBezTo>
                      <a:cubicBezTo>
                        <a:pt x="105" y="81"/>
                        <a:pt x="106" y="82"/>
                        <a:pt x="106" y="82"/>
                      </a:cubicBezTo>
                      <a:cubicBezTo>
                        <a:pt x="112" y="88"/>
                        <a:pt x="112" y="88"/>
                        <a:pt x="112" y="88"/>
                      </a:cubicBezTo>
                      <a:cubicBezTo>
                        <a:pt x="109" y="96"/>
                        <a:pt x="104" y="106"/>
                        <a:pt x="105" y="110"/>
                      </a:cubicBezTo>
                      <a:cubicBezTo>
                        <a:pt x="100" y="111"/>
                        <a:pt x="97" y="115"/>
                        <a:pt x="94" y="118"/>
                      </a:cubicBezTo>
                      <a:cubicBezTo>
                        <a:pt x="82" y="106"/>
                        <a:pt x="82" y="106"/>
                        <a:pt x="82" y="106"/>
                      </a:cubicBezTo>
                      <a:cubicBezTo>
                        <a:pt x="81" y="105"/>
                        <a:pt x="81" y="105"/>
                        <a:pt x="81" y="105"/>
                      </a:cubicBezTo>
                      <a:cubicBezTo>
                        <a:pt x="73" y="109"/>
                        <a:pt x="65" y="111"/>
                        <a:pt x="56" y="111"/>
                      </a:cubicBezTo>
                      <a:cubicBezTo>
                        <a:pt x="25" y="111"/>
                        <a:pt x="0" y="86"/>
                        <a:pt x="0" y="56"/>
                      </a:cubicBezTo>
                      <a:cubicBezTo>
                        <a:pt x="0" y="25"/>
                        <a:pt x="25" y="0"/>
                        <a:pt x="56" y="0"/>
                      </a:cubicBezTo>
                      <a:close/>
                    </a:path>
                  </a:pathLst>
                </a:custGeom>
                <a:solidFill>
                  <a:srgbClr val="028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26" name="Freeform 227"/>
                <p:cNvSpPr>
                  <a:spLocks/>
                </p:cNvSpPr>
                <p:nvPr/>
              </p:nvSpPr>
              <p:spPr bwMode="auto">
                <a:xfrm rot="5400000">
                  <a:off x="11575277" y="352539"/>
                  <a:ext cx="135346" cy="141859"/>
                </a:xfrm>
                <a:custGeom>
                  <a:avLst/>
                  <a:gdLst>
                    <a:gd name="T0" fmla="*/ 0 w 93"/>
                    <a:gd name="T1" fmla="*/ 23 h 94"/>
                    <a:gd name="T2" fmla="*/ 46 w 93"/>
                    <a:gd name="T3" fmla="*/ 23 h 94"/>
                    <a:gd name="T4" fmla="*/ 46 w 93"/>
                    <a:gd name="T5" fmla="*/ 0 h 94"/>
                    <a:gd name="T6" fmla="*/ 93 w 93"/>
                    <a:gd name="T7" fmla="*/ 47 h 94"/>
                    <a:gd name="T8" fmla="*/ 46 w 93"/>
                    <a:gd name="T9" fmla="*/ 94 h 94"/>
                    <a:gd name="T10" fmla="*/ 46 w 93"/>
                    <a:gd name="T11" fmla="*/ 71 h 94"/>
                    <a:gd name="T12" fmla="*/ 0 w 93"/>
                    <a:gd name="T13" fmla="*/ 71 h 94"/>
                    <a:gd name="T14" fmla="*/ 0 w 93"/>
                    <a:gd name="T15" fmla="*/ 23 h 94"/>
                    <a:gd name="T16" fmla="*/ 0 w 93"/>
                    <a:gd name="T17" fmla="*/ 2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94">
                      <a:moveTo>
                        <a:pt x="0" y="23"/>
                      </a:moveTo>
                      <a:lnTo>
                        <a:pt x="46" y="23"/>
                      </a:lnTo>
                      <a:lnTo>
                        <a:pt x="46" y="0"/>
                      </a:lnTo>
                      <a:lnTo>
                        <a:pt x="93" y="47"/>
                      </a:lnTo>
                      <a:lnTo>
                        <a:pt x="46" y="94"/>
                      </a:lnTo>
                      <a:lnTo>
                        <a:pt x="46" y="71"/>
                      </a:lnTo>
                      <a:lnTo>
                        <a:pt x="0" y="71"/>
                      </a:lnTo>
                      <a:lnTo>
                        <a:pt x="0" y="23"/>
                      </a:lnTo>
                      <a:lnTo>
                        <a:pt x="0" y="23"/>
                      </a:ln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27" name="Freeform 228"/>
                <p:cNvSpPr>
                  <a:spLocks/>
                </p:cNvSpPr>
                <p:nvPr/>
              </p:nvSpPr>
              <p:spPr bwMode="auto">
                <a:xfrm rot="5400000">
                  <a:off x="11081949" y="1032392"/>
                  <a:ext cx="136801" cy="89039"/>
                </a:xfrm>
                <a:custGeom>
                  <a:avLst/>
                  <a:gdLst>
                    <a:gd name="T0" fmla="*/ 94 w 94"/>
                    <a:gd name="T1" fmla="*/ 15 h 59"/>
                    <a:gd name="T2" fmla="*/ 30 w 94"/>
                    <a:gd name="T3" fmla="*/ 15 h 59"/>
                    <a:gd name="T4" fmla="*/ 30 w 94"/>
                    <a:gd name="T5" fmla="*/ 0 h 59"/>
                    <a:gd name="T6" fmla="*/ 0 w 94"/>
                    <a:gd name="T7" fmla="*/ 29 h 59"/>
                    <a:gd name="T8" fmla="*/ 30 w 94"/>
                    <a:gd name="T9" fmla="*/ 59 h 59"/>
                    <a:gd name="T10" fmla="*/ 30 w 94"/>
                    <a:gd name="T11" fmla="*/ 44 h 59"/>
                    <a:gd name="T12" fmla="*/ 94 w 94"/>
                    <a:gd name="T13" fmla="*/ 44 h 59"/>
                    <a:gd name="T14" fmla="*/ 94 w 94"/>
                    <a:gd name="T15" fmla="*/ 15 h 59"/>
                    <a:gd name="T16" fmla="*/ 94 w 94"/>
                    <a:gd name="T17" fmla="*/ 15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59">
                      <a:moveTo>
                        <a:pt x="94" y="15"/>
                      </a:moveTo>
                      <a:lnTo>
                        <a:pt x="30" y="15"/>
                      </a:lnTo>
                      <a:lnTo>
                        <a:pt x="30" y="0"/>
                      </a:lnTo>
                      <a:lnTo>
                        <a:pt x="0" y="29"/>
                      </a:lnTo>
                      <a:lnTo>
                        <a:pt x="30" y="59"/>
                      </a:lnTo>
                      <a:lnTo>
                        <a:pt x="30" y="44"/>
                      </a:lnTo>
                      <a:lnTo>
                        <a:pt x="94" y="44"/>
                      </a:lnTo>
                      <a:lnTo>
                        <a:pt x="94" y="15"/>
                      </a:lnTo>
                      <a:lnTo>
                        <a:pt x="94" y="15"/>
                      </a:ln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28" name="Rectangle 229"/>
                <p:cNvSpPr>
                  <a:spLocks noChangeArrowheads="1"/>
                </p:cNvSpPr>
                <p:nvPr/>
              </p:nvSpPr>
              <p:spPr bwMode="auto">
                <a:xfrm rot="5400000">
                  <a:off x="10574637" y="94138"/>
                  <a:ext cx="82954" cy="37728"/>
                </a:xfrm>
                <a:prstGeom prst="rect">
                  <a:avLst/>
                </a:prstGeom>
                <a:solidFill>
                  <a:srgbClr val="028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29" name="Freeform 230"/>
                <p:cNvSpPr>
                  <a:spLocks/>
                </p:cNvSpPr>
                <p:nvPr/>
              </p:nvSpPr>
              <p:spPr bwMode="auto">
                <a:xfrm rot="5400000">
                  <a:off x="10579003" y="-4768"/>
                  <a:ext cx="74222" cy="116203"/>
                </a:xfrm>
                <a:custGeom>
                  <a:avLst/>
                  <a:gdLst>
                    <a:gd name="T0" fmla="*/ 51 w 51"/>
                    <a:gd name="T1" fmla="*/ 77 h 77"/>
                    <a:gd name="T2" fmla="*/ 0 w 51"/>
                    <a:gd name="T3" fmla="*/ 38 h 77"/>
                    <a:gd name="T4" fmla="*/ 51 w 51"/>
                    <a:gd name="T5" fmla="*/ 0 h 77"/>
                    <a:gd name="T6" fmla="*/ 51 w 51"/>
                    <a:gd name="T7" fmla="*/ 77 h 77"/>
                    <a:gd name="T8" fmla="*/ 51 w 51"/>
                    <a:gd name="T9" fmla="*/ 77 h 77"/>
                  </a:gdLst>
                  <a:ahLst/>
                  <a:cxnLst>
                    <a:cxn ang="0">
                      <a:pos x="T0" y="T1"/>
                    </a:cxn>
                    <a:cxn ang="0">
                      <a:pos x="T2" y="T3"/>
                    </a:cxn>
                    <a:cxn ang="0">
                      <a:pos x="T4" y="T5"/>
                    </a:cxn>
                    <a:cxn ang="0">
                      <a:pos x="T6" y="T7"/>
                    </a:cxn>
                    <a:cxn ang="0">
                      <a:pos x="T8" y="T9"/>
                    </a:cxn>
                  </a:cxnLst>
                  <a:rect l="0" t="0" r="r" b="b"/>
                  <a:pathLst>
                    <a:path w="51" h="77">
                      <a:moveTo>
                        <a:pt x="51" y="77"/>
                      </a:moveTo>
                      <a:lnTo>
                        <a:pt x="0" y="38"/>
                      </a:lnTo>
                      <a:lnTo>
                        <a:pt x="51" y="0"/>
                      </a:lnTo>
                      <a:lnTo>
                        <a:pt x="51" y="77"/>
                      </a:lnTo>
                      <a:lnTo>
                        <a:pt x="51" y="77"/>
                      </a:lnTo>
                      <a:close/>
                    </a:path>
                  </a:pathLst>
                </a:custGeom>
                <a:solidFill>
                  <a:srgbClr val="028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30" name="Freeform 231"/>
                <p:cNvSpPr>
                  <a:spLocks noEditPoints="1"/>
                </p:cNvSpPr>
                <p:nvPr/>
              </p:nvSpPr>
              <p:spPr bwMode="auto">
                <a:xfrm rot="5400000">
                  <a:off x="11289644" y="565473"/>
                  <a:ext cx="106240" cy="75457"/>
                </a:xfrm>
                <a:custGeom>
                  <a:avLst/>
                  <a:gdLst>
                    <a:gd name="T0" fmla="*/ 41 w 73"/>
                    <a:gd name="T1" fmla="*/ 0 h 50"/>
                    <a:gd name="T2" fmla="*/ 41 w 73"/>
                    <a:gd name="T3" fmla="*/ 50 h 50"/>
                    <a:gd name="T4" fmla="*/ 73 w 73"/>
                    <a:gd name="T5" fmla="*/ 26 h 50"/>
                    <a:gd name="T6" fmla="*/ 41 w 73"/>
                    <a:gd name="T7" fmla="*/ 0 h 50"/>
                    <a:gd name="T8" fmla="*/ 41 w 73"/>
                    <a:gd name="T9" fmla="*/ 0 h 50"/>
                    <a:gd name="T10" fmla="*/ 41 w 73"/>
                    <a:gd name="T11" fmla="*/ 0 h 50"/>
                    <a:gd name="T12" fmla="*/ 32 w 73"/>
                    <a:gd name="T13" fmla="*/ 26 h 50"/>
                    <a:gd name="T14" fmla="*/ 0 w 73"/>
                    <a:gd name="T15" fmla="*/ 50 h 50"/>
                    <a:gd name="T16" fmla="*/ 0 w 73"/>
                    <a:gd name="T17" fmla="*/ 0 h 50"/>
                    <a:gd name="T18" fmla="*/ 32 w 73"/>
                    <a:gd name="T19" fmla="*/ 26 h 50"/>
                    <a:gd name="T20" fmla="*/ 32 w 73"/>
                    <a:gd name="T21" fmla="*/ 26 h 50"/>
                    <a:gd name="T22" fmla="*/ 32 w 73"/>
                    <a:gd name="T23" fmla="*/ 2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0">
                      <a:moveTo>
                        <a:pt x="41" y="0"/>
                      </a:moveTo>
                      <a:lnTo>
                        <a:pt x="41" y="50"/>
                      </a:lnTo>
                      <a:lnTo>
                        <a:pt x="73" y="26"/>
                      </a:lnTo>
                      <a:lnTo>
                        <a:pt x="41" y="0"/>
                      </a:lnTo>
                      <a:lnTo>
                        <a:pt x="41" y="0"/>
                      </a:lnTo>
                      <a:lnTo>
                        <a:pt x="41" y="0"/>
                      </a:lnTo>
                      <a:close/>
                      <a:moveTo>
                        <a:pt x="32" y="26"/>
                      </a:moveTo>
                      <a:lnTo>
                        <a:pt x="0" y="50"/>
                      </a:lnTo>
                      <a:lnTo>
                        <a:pt x="0" y="0"/>
                      </a:lnTo>
                      <a:lnTo>
                        <a:pt x="32" y="26"/>
                      </a:lnTo>
                      <a:lnTo>
                        <a:pt x="32" y="26"/>
                      </a:lnTo>
                      <a:lnTo>
                        <a:pt x="32" y="26"/>
                      </a:lnTo>
                      <a:close/>
                    </a:path>
                  </a:pathLst>
                </a:custGeom>
                <a:solidFill>
                  <a:srgbClr val="DA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grpSp>
              <p:nvGrpSpPr>
                <p:cNvPr id="631" name="Group 630"/>
                <p:cNvGrpSpPr/>
                <p:nvPr/>
              </p:nvGrpSpPr>
              <p:grpSpPr>
                <a:xfrm rot="16200000">
                  <a:off x="10598176" y="1571948"/>
                  <a:ext cx="313901" cy="133891"/>
                  <a:chOff x="10648560" y="1439289"/>
                  <a:chExt cx="313901" cy="133891"/>
                </a:xfrm>
              </p:grpSpPr>
              <p:sp>
                <p:nvSpPr>
                  <p:cNvPr id="651" name="Freeform 233"/>
                  <p:cNvSpPr>
                    <a:spLocks noEditPoints="1"/>
                  </p:cNvSpPr>
                  <p:nvPr/>
                </p:nvSpPr>
                <p:spPr bwMode="auto">
                  <a:xfrm rot="5400000">
                    <a:off x="10847925" y="1485053"/>
                    <a:ext cx="90231" cy="45274"/>
                  </a:xfrm>
                  <a:custGeom>
                    <a:avLst/>
                    <a:gdLst>
                      <a:gd name="T0" fmla="*/ 0 w 83"/>
                      <a:gd name="T1" fmla="*/ 21 h 39"/>
                      <a:gd name="T2" fmla="*/ 0 w 83"/>
                      <a:gd name="T3" fmla="*/ 21 h 39"/>
                      <a:gd name="T4" fmla="*/ 0 w 83"/>
                      <a:gd name="T5" fmla="*/ 21 h 39"/>
                      <a:gd name="T6" fmla="*/ 32 w 83"/>
                      <a:gd name="T7" fmla="*/ 0 h 39"/>
                      <a:gd name="T8" fmla="*/ 42 w 83"/>
                      <a:gd name="T9" fmla="*/ 16 h 39"/>
                      <a:gd name="T10" fmla="*/ 51 w 83"/>
                      <a:gd name="T11" fmla="*/ 0 h 39"/>
                      <a:gd name="T12" fmla="*/ 64 w 83"/>
                      <a:gd name="T13" fmla="*/ 3 h 39"/>
                      <a:gd name="T14" fmla="*/ 83 w 83"/>
                      <a:gd name="T15" fmla="*/ 21 h 39"/>
                      <a:gd name="T16" fmla="*/ 83 w 83"/>
                      <a:gd name="T17" fmla="*/ 21 h 39"/>
                      <a:gd name="T18" fmla="*/ 64 w 83"/>
                      <a:gd name="T19" fmla="*/ 39 h 39"/>
                      <a:gd name="T20" fmla="*/ 19 w 83"/>
                      <a:gd name="T21" fmla="*/ 39 h 39"/>
                      <a:gd name="T22" fmla="*/ 0 w 83"/>
                      <a:gd name="T23" fmla="*/ 21 h 39"/>
                      <a:gd name="T24" fmla="*/ 19 w 83"/>
                      <a:gd name="T25" fmla="*/ 3 h 39"/>
                      <a:gd name="T26" fmla="*/ 32 w 83"/>
                      <a:gd name="T2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39">
                        <a:moveTo>
                          <a:pt x="0" y="21"/>
                        </a:moveTo>
                        <a:cubicBezTo>
                          <a:pt x="0" y="21"/>
                          <a:pt x="0" y="21"/>
                          <a:pt x="0" y="21"/>
                        </a:cubicBezTo>
                        <a:cubicBezTo>
                          <a:pt x="0" y="21"/>
                          <a:pt x="0" y="21"/>
                          <a:pt x="0" y="21"/>
                        </a:cubicBezTo>
                        <a:close/>
                        <a:moveTo>
                          <a:pt x="32" y="0"/>
                        </a:moveTo>
                        <a:cubicBezTo>
                          <a:pt x="42" y="16"/>
                          <a:pt x="42" y="16"/>
                          <a:pt x="42" y="16"/>
                        </a:cubicBezTo>
                        <a:cubicBezTo>
                          <a:pt x="51" y="0"/>
                          <a:pt x="51" y="0"/>
                          <a:pt x="51" y="0"/>
                        </a:cubicBezTo>
                        <a:cubicBezTo>
                          <a:pt x="55" y="1"/>
                          <a:pt x="60" y="3"/>
                          <a:pt x="64" y="3"/>
                        </a:cubicBezTo>
                        <a:cubicBezTo>
                          <a:pt x="74" y="3"/>
                          <a:pt x="83" y="11"/>
                          <a:pt x="83" y="21"/>
                        </a:cubicBezTo>
                        <a:cubicBezTo>
                          <a:pt x="83" y="21"/>
                          <a:pt x="83" y="21"/>
                          <a:pt x="83" y="21"/>
                        </a:cubicBezTo>
                        <a:cubicBezTo>
                          <a:pt x="83" y="31"/>
                          <a:pt x="74" y="39"/>
                          <a:pt x="64" y="39"/>
                        </a:cubicBezTo>
                        <a:cubicBezTo>
                          <a:pt x="19" y="39"/>
                          <a:pt x="19" y="39"/>
                          <a:pt x="19" y="39"/>
                        </a:cubicBezTo>
                        <a:cubicBezTo>
                          <a:pt x="9" y="39"/>
                          <a:pt x="0" y="31"/>
                          <a:pt x="0" y="21"/>
                        </a:cubicBezTo>
                        <a:cubicBezTo>
                          <a:pt x="0" y="11"/>
                          <a:pt x="9" y="3"/>
                          <a:pt x="19" y="3"/>
                        </a:cubicBezTo>
                        <a:cubicBezTo>
                          <a:pt x="23" y="3"/>
                          <a:pt x="28" y="1"/>
                          <a:pt x="32" y="0"/>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grpSp>
                <p:nvGrpSpPr>
                  <p:cNvPr id="652" name="Group 651"/>
                  <p:cNvGrpSpPr/>
                  <p:nvPr/>
                </p:nvGrpSpPr>
                <p:grpSpPr>
                  <a:xfrm>
                    <a:off x="10648560" y="1439289"/>
                    <a:ext cx="313901" cy="133891"/>
                    <a:chOff x="10648560" y="1439289"/>
                    <a:chExt cx="313901" cy="133891"/>
                  </a:xfrm>
                </p:grpSpPr>
                <p:sp>
                  <p:nvSpPr>
                    <p:cNvPr id="653" name="Oval 232"/>
                    <p:cNvSpPr>
                      <a:spLocks noChangeArrowheads="1"/>
                    </p:cNvSpPr>
                    <p:nvPr/>
                  </p:nvSpPr>
                  <p:spPr bwMode="auto">
                    <a:xfrm rot="5400000">
                      <a:off x="10921632" y="1484325"/>
                      <a:ext cx="36384" cy="45274"/>
                    </a:xfrm>
                    <a:prstGeom prst="ellipse">
                      <a:avLst/>
                    </a:pr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54" name="Freeform 234"/>
                    <p:cNvSpPr>
                      <a:spLocks/>
                    </p:cNvSpPr>
                    <p:nvPr/>
                  </p:nvSpPr>
                  <p:spPr bwMode="auto">
                    <a:xfrm rot="5400000">
                      <a:off x="10790256" y="1459397"/>
                      <a:ext cx="72767" cy="96585"/>
                    </a:xfrm>
                    <a:custGeom>
                      <a:avLst/>
                      <a:gdLst>
                        <a:gd name="T0" fmla="*/ 0 w 67"/>
                        <a:gd name="T1" fmla="*/ 0 h 85"/>
                        <a:gd name="T2" fmla="*/ 67 w 67"/>
                        <a:gd name="T3" fmla="*/ 0 h 85"/>
                        <a:gd name="T4" fmla="*/ 67 w 67"/>
                        <a:gd name="T5" fmla="*/ 23 h 85"/>
                        <a:gd name="T6" fmla="*/ 56 w 67"/>
                        <a:gd name="T7" fmla="*/ 47 h 85"/>
                        <a:gd name="T8" fmla="*/ 62 w 67"/>
                        <a:gd name="T9" fmla="*/ 62 h 85"/>
                        <a:gd name="T10" fmla="*/ 67 w 67"/>
                        <a:gd name="T11" fmla="*/ 63 h 85"/>
                        <a:gd name="T12" fmla="*/ 67 w 67"/>
                        <a:gd name="T13" fmla="*/ 71 h 85"/>
                        <a:gd name="T14" fmla="*/ 67 w 67"/>
                        <a:gd name="T15" fmla="*/ 79 h 85"/>
                        <a:gd name="T16" fmla="*/ 67 w 67"/>
                        <a:gd name="T17" fmla="*/ 85 h 85"/>
                        <a:gd name="T18" fmla="*/ 0 w 67"/>
                        <a:gd name="T19" fmla="*/ 85 h 85"/>
                        <a:gd name="T20" fmla="*/ 0 w 67"/>
                        <a:gd name="T21" fmla="*/ 79 h 85"/>
                        <a:gd name="T22" fmla="*/ 0 w 67"/>
                        <a:gd name="T23" fmla="*/ 71 h 85"/>
                        <a:gd name="T24" fmla="*/ 0 w 67"/>
                        <a:gd name="T25" fmla="*/ 63 h 85"/>
                        <a:gd name="T26" fmla="*/ 5 w 67"/>
                        <a:gd name="T27" fmla="*/ 62 h 85"/>
                        <a:gd name="T28" fmla="*/ 11 w 67"/>
                        <a:gd name="T29" fmla="*/ 47 h 85"/>
                        <a:gd name="T30" fmla="*/ 0 w 67"/>
                        <a:gd name="T31" fmla="*/ 23 h 85"/>
                        <a:gd name="T32" fmla="*/ 0 w 67"/>
                        <a:gd name="T33"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85">
                          <a:moveTo>
                            <a:pt x="0" y="0"/>
                          </a:moveTo>
                          <a:cubicBezTo>
                            <a:pt x="67" y="0"/>
                            <a:pt x="67" y="0"/>
                            <a:pt x="67" y="0"/>
                          </a:cubicBezTo>
                          <a:cubicBezTo>
                            <a:pt x="67" y="23"/>
                            <a:pt x="67" y="23"/>
                            <a:pt x="67" y="23"/>
                          </a:cubicBezTo>
                          <a:cubicBezTo>
                            <a:pt x="56" y="47"/>
                            <a:pt x="56" y="47"/>
                            <a:pt x="56" y="47"/>
                          </a:cubicBezTo>
                          <a:cubicBezTo>
                            <a:pt x="54" y="52"/>
                            <a:pt x="56" y="59"/>
                            <a:pt x="62" y="62"/>
                          </a:cubicBezTo>
                          <a:cubicBezTo>
                            <a:pt x="64" y="63"/>
                            <a:pt x="66" y="63"/>
                            <a:pt x="67" y="63"/>
                          </a:cubicBezTo>
                          <a:cubicBezTo>
                            <a:pt x="67" y="71"/>
                            <a:pt x="67" y="71"/>
                            <a:pt x="67" y="71"/>
                          </a:cubicBezTo>
                          <a:cubicBezTo>
                            <a:pt x="67" y="79"/>
                            <a:pt x="67" y="79"/>
                            <a:pt x="67" y="79"/>
                          </a:cubicBezTo>
                          <a:cubicBezTo>
                            <a:pt x="67" y="85"/>
                            <a:pt x="67" y="85"/>
                            <a:pt x="67" y="85"/>
                          </a:cubicBezTo>
                          <a:cubicBezTo>
                            <a:pt x="0" y="85"/>
                            <a:pt x="0" y="85"/>
                            <a:pt x="0" y="85"/>
                          </a:cubicBezTo>
                          <a:cubicBezTo>
                            <a:pt x="0" y="79"/>
                            <a:pt x="0" y="79"/>
                            <a:pt x="0" y="79"/>
                          </a:cubicBezTo>
                          <a:cubicBezTo>
                            <a:pt x="0" y="71"/>
                            <a:pt x="0" y="71"/>
                            <a:pt x="0" y="71"/>
                          </a:cubicBezTo>
                          <a:cubicBezTo>
                            <a:pt x="0" y="63"/>
                            <a:pt x="0" y="63"/>
                            <a:pt x="0" y="63"/>
                          </a:cubicBezTo>
                          <a:cubicBezTo>
                            <a:pt x="1" y="63"/>
                            <a:pt x="3" y="63"/>
                            <a:pt x="5" y="62"/>
                          </a:cubicBezTo>
                          <a:cubicBezTo>
                            <a:pt x="11" y="59"/>
                            <a:pt x="13" y="52"/>
                            <a:pt x="11" y="47"/>
                          </a:cubicBezTo>
                          <a:cubicBezTo>
                            <a:pt x="0" y="23"/>
                            <a:pt x="0" y="23"/>
                            <a:pt x="0" y="23"/>
                          </a:cubicBezTo>
                          <a:cubicBezTo>
                            <a:pt x="0" y="0"/>
                            <a:pt x="0" y="0"/>
                            <a:pt x="0" y="0"/>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55" name="Freeform 235"/>
                    <p:cNvSpPr>
                      <a:spLocks/>
                    </p:cNvSpPr>
                    <p:nvPr/>
                  </p:nvSpPr>
                  <p:spPr bwMode="auto">
                    <a:xfrm rot="5400000">
                      <a:off x="10707901" y="1416331"/>
                      <a:ext cx="26196" cy="144877"/>
                    </a:xfrm>
                    <a:custGeom>
                      <a:avLst/>
                      <a:gdLst>
                        <a:gd name="T0" fmla="*/ 0 w 23"/>
                        <a:gd name="T1" fmla="*/ 12 h 127"/>
                        <a:gd name="T2" fmla="*/ 12 w 23"/>
                        <a:gd name="T3" fmla="*/ 0 h 127"/>
                        <a:gd name="T4" fmla="*/ 12 w 23"/>
                        <a:gd name="T5" fmla="*/ 0 h 127"/>
                        <a:gd name="T6" fmla="*/ 23 w 23"/>
                        <a:gd name="T7" fmla="*/ 12 h 127"/>
                        <a:gd name="T8" fmla="*/ 23 w 23"/>
                        <a:gd name="T9" fmla="*/ 115 h 127"/>
                        <a:gd name="T10" fmla="*/ 12 w 23"/>
                        <a:gd name="T11" fmla="*/ 127 h 127"/>
                        <a:gd name="T12" fmla="*/ 12 w 23"/>
                        <a:gd name="T13" fmla="*/ 127 h 127"/>
                        <a:gd name="T14" fmla="*/ 0 w 23"/>
                        <a:gd name="T15" fmla="*/ 115 h 127"/>
                        <a:gd name="T16" fmla="*/ 0 w 23"/>
                        <a:gd name="T17" fmla="*/ 12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127">
                          <a:moveTo>
                            <a:pt x="0" y="12"/>
                          </a:moveTo>
                          <a:cubicBezTo>
                            <a:pt x="0" y="6"/>
                            <a:pt x="6" y="0"/>
                            <a:pt x="12" y="0"/>
                          </a:cubicBezTo>
                          <a:cubicBezTo>
                            <a:pt x="12" y="0"/>
                            <a:pt x="12" y="0"/>
                            <a:pt x="12" y="0"/>
                          </a:cubicBezTo>
                          <a:cubicBezTo>
                            <a:pt x="18" y="0"/>
                            <a:pt x="23" y="6"/>
                            <a:pt x="23" y="12"/>
                          </a:cubicBezTo>
                          <a:cubicBezTo>
                            <a:pt x="23" y="115"/>
                            <a:pt x="23" y="115"/>
                            <a:pt x="23" y="115"/>
                          </a:cubicBezTo>
                          <a:cubicBezTo>
                            <a:pt x="23" y="121"/>
                            <a:pt x="18" y="127"/>
                            <a:pt x="12" y="127"/>
                          </a:cubicBezTo>
                          <a:cubicBezTo>
                            <a:pt x="12" y="127"/>
                            <a:pt x="12" y="127"/>
                            <a:pt x="12" y="127"/>
                          </a:cubicBezTo>
                          <a:cubicBezTo>
                            <a:pt x="6" y="127"/>
                            <a:pt x="0" y="121"/>
                            <a:pt x="0" y="115"/>
                          </a:cubicBezTo>
                          <a:lnTo>
                            <a:pt x="0" y="12"/>
                          </a:ln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56" name="Freeform 236"/>
                    <p:cNvSpPr>
                      <a:spLocks/>
                    </p:cNvSpPr>
                    <p:nvPr/>
                  </p:nvSpPr>
                  <p:spPr bwMode="auto">
                    <a:xfrm rot="5400000">
                      <a:off x="10708629" y="1453442"/>
                      <a:ext cx="24741" cy="144877"/>
                    </a:xfrm>
                    <a:custGeom>
                      <a:avLst/>
                      <a:gdLst>
                        <a:gd name="T0" fmla="*/ 0 w 23"/>
                        <a:gd name="T1" fmla="*/ 12 h 127"/>
                        <a:gd name="T2" fmla="*/ 11 w 23"/>
                        <a:gd name="T3" fmla="*/ 0 h 127"/>
                        <a:gd name="T4" fmla="*/ 11 w 23"/>
                        <a:gd name="T5" fmla="*/ 0 h 127"/>
                        <a:gd name="T6" fmla="*/ 23 w 23"/>
                        <a:gd name="T7" fmla="*/ 12 h 127"/>
                        <a:gd name="T8" fmla="*/ 23 w 23"/>
                        <a:gd name="T9" fmla="*/ 115 h 127"/>
                        <a:gd name="T10" fmla="*/ 11 w 23"/>
                        <a:gd name="T11" fmla="*/ 127 h 127"/>
                        <a:gd name="T12" fmla="*/ 11 w 23"/>
                        <a:gd name="T13" fmla="*/ 127 h 127"/>
                        <a:gd name="T14" fmla="*/ 0 w 23"/>
                        <a:gd name="T15" fmla="*/ 115 h 127"/>
                        <a:gd name="T16" fmla="*/ 0 w 23"/>
                        <a:gd name="T17" fmla="*/ 12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127">
                          <a:moveTo>
                            <a:pt x="0" y="12"/>
                          </a:moveTo>
                          <a:cubicBezTo>
                            <a:pt x="0" y="6"/>
                            <a:pt x="5" y="0"/>
                            <a:pt x="11" y="0"/>
                          </a:cubicBezTo>
                          <a:cubicBezTo>
                            <a:pt x="11" y="0"/>
                            <a:pt x="11" y="0"/>
                            <a:pt x="11" y="0"/>
                          </a:cubicBezTo>
                          <a:cubicBezTo>
                            <a:pt x="17" y="0"/>
                            <a:pt x="23" y="6"/>
                            <a:pt x="23" y="12"/>
                          </a:cubicBezTo>
                          <a:cubicBezTo>
                            <a:pt x="23" y="115"/>
                            <a:pt x="23" y="115"/>
                            <a:pt x="23" y="115"/>
                          </a:cubicBezTo>
                          <a:cubicBezTo>
                            <a:pt x="23" y="121"/>
                            <a:pt x="17" y="127"/>
                            <a:pt x="11" y="127"/>
                          </a:cubicBezTo>
                          <a:cubicBezTo>
                            <a:pt x="11" y="127"/>
                            <a:pt x="11" y="127"/>
                            <a:pt x="11" y="127"/>
                          </a:cubicBezTo>
                          <a:cubicBezTo>
                            <a:pt x="5" y="127"/>
                            <a:pt x="0" y="121"/>
                            <a:pt x="0" y="115"/>
                          </a:cubicBezTo>
                          <a:lnTo>
                            <a:pt x="0" y="12"/>
                          </a:ln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57" name="Freeform 237"/>
                    <p:cNvSpPr>
                      <a:spLocks/>
                    </p:cNvSpPr>
                    <p:nvPr/>
                  </p:nvSpPr>
                  <p:spPr bwMode="auto">
                    <a:xfrm rot="5400000">
                      <a:off x="10853883" y="1518930"/>
                      <a:ext cx="45116" cy="63384"/>
                    </a:xfrm>
                    <a:custGeom>
                      <a:avLst/>
                      <a:gdLst>
                        <a:gd name="T0" fmla="*/ 3 w 41"/>
                        <a:gd name="T1" fmla="*/ 15 h 56"/>
                        <a:gd name="T2" fmla="*/ 6 w 41"/>
                        <a:gd name="T3" fmla="*/ 2 h 56"/>
                        <a:gd name="T4" fmla="*/ 6 w 41"/>
                        <a:gd name="T5" fmla="*/ 2 h 56"/>
                        <a:gd name="T6" fmla="*/ 19 w 41"/>
                        <a:gd name="T7" fmla="*/ 6 h 56"/>
                        <a:gd name="T8" fmla="*/ 39 w 41"/>
                        <a:gd name="T9" fmla="*/ 40 h 56"/>
                        <a:gd name="T10" fmla="*/ 35 w 41"/>
                        <a:gd name="T11" fmla="*/ 53 h 56"/>
                        <a:gd name="T12" fmla="*/ 35 w 41"/>
                        <a:gd name="T13" fmla="*/ 53 h 56"/>
                        <a:gd name="T14" fmla="*/ 23 w 41"/>
                        <a:gd name="T15" fmla="*/ 49 h 56"/>
                        <a:gd name="T16" fmla="*/ 3 w 41"/>
                        <a:gd name="T17" fmla="*/ 1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6">
                          <a:moveTo>
                            <a:pt x="3" y="15"/>
                          </a:moveTo>
                          <a:cubicBezTo>
                            <a:pt x="0" y="11"/>
                            <a:pt x="2" y="5"/>
                            <a:pt x="6" y="2"/>
                          </a:cubicBezTo>
                          <a:cubicBezTo>
                            <a:pt x="6" y="2"/>
                            <a:pt x="6" y="2"/>
                            <a:pt x="6" y="2"/>
                          </a:cubicBezTo>
                          <a:cubicBezTo>
                            <a:pt x="11" y="0"/>
                            <a:pt x="17" y="1"/>
                            <a:pt x="19" y="6"/>
                          </a:cubicBezTo>
                          <a:cubicBezTo>
                            <a:pt x="39" y="40"/>
                            <a:pt x="39" y="40"/>
                            <a:pt x="39" y="40"/>
                          </a:cubicBezTo>
                          <a:cubicBezTo>
                            <a:pt x="41" y="45"/>
                            <a:pt x="40" y="50"/>
                            <a:pt x="35" y="53"/>
                          </a:cubicBezTo>
                          <a:cubicBezTo>
                            <a:pt x="35" y="53"/>
                            <a:pt x="35" y="53"/>
                            <a:pt x="35" y="53"/>
                          </a:cubicBezTo>
                          <a:cubicBezTo>
                            <a:pt x="31" y="56"/>
                            <a:pt x="25" y="54"/>
                            <a:pt x="23" y="49"/>
                          </a:cubicBezTo>
                          <a:lnTo>
                            <a:pt x="3" y="15"/>
                          </a:ln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58" name="Freeform 238"/>
                    <p:cNvSpPr>
                      <a:spLocks/>
                    </p:cNvSpPr>
                    <p:nvPr/>
                  </p:nvSpPr>
                  <p:spPr bwMode="auto">
                    <a:xfrm rot="5400000">
                      <a:off x="10816047" y="1523350"/>
                      <a:ext cx="39294" cy="60365"/>
                    </a:xfrm>
                    <a:custGeom>
                      <a:avLst/>
                      <a:gdLst>
                        <a:gd name="T0" fmla="*/ 19 w 36"/>
                        <a:gd name="T1" fmla="*/ 6 h 54"/>
                        <a:gd name="T2" fmla="*/ 30 w 36"/>
                        <a:gd name="T3" fmla="*/ 2 h 54"/>
                        <a:gd name="T4" fmla="*/ 30 w 36"/>
                        <a:gd name="T5" fmla="*/ 2 h 54"/>
                        <a:gd name="T6" fmla="*/ 34 w 36"/>
                        <a:gd name="T7" fmla="*/ 13 h 54"/>
                        <a:gd name="T8" fmla="*/ 18 w 36"/>
                        <a:gd name="T9" fmla="*/ 48 h 54"/>
                        <a:gd name="T10" fmla="*/ 6 w 36"/>
                        <a:gd name="T11" fmla="*/ 52 h 54"/>
                        <a:gd name="T12" fmla="*/ 6 w 36"/>
                        <a:gd name="T13" fmla="*/ 52 h 54"/>
                        <a:gd name="T14" fmla="*/ 2 w 36"/>
                        <a:gd name="T15" fmla="*/ 41 h 54"/>
                        <a:gd name="T16" fmla="*/ 19 w 36"/>
                        <a:gd name="T17"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54">
                          <a:moveTo>
                            <a:pt x="19" y="6"/>
                          </a:moveTo>
                          <a:cubicBezTo>
                            <a:pt x="21" y="1"/>
                            <a:pt x="26" y="0"/>
                            <a:pt x="30" y="2"/>
                          </a:cubicBezTo>
                          <a:cubicBezTo>
                            <a:pt x="30" y="2"/>
                            <a:pt x="30" y="2"/>
                            <a:pt x="30" y="2"/>
                          </a:cubicBezTo>
                          <a:cubicBezTo>
                            <a:pt x="34" y="4"/>
                            <a:pt x="36" y="9"/>
                            <a:pt x="34" y="13"/>
                          </a:cubicBezTo>
                          <a:cubicBezTo>
                            <a:pt x="18" y="48"/>
                            <a:pt x="18" y="48"/>
                            <a:pt x="18" y="48"/>
                          </a:cubicBezTo>
                          <a:cubicBezTo>
                            <a:pt x="16" y="52"/>
                            <a:pt x="11" y="54"/>
                            <a:pt x="6" y="52"/>
                          </a:cubicBezTo>
                          <a:cubicBezTo>
                            <a:pt x="6" y="52"/>
                            <a:pt x="6" y="52"/>
                            <a:pt x="6" y="52"/>
                          </a:cubicBezTo>
                          <a:cubicBezTo>
                            <a:pt x="2" y="50"/>
                            <a:pt x="0" y="45"/>
                            <a:pt x="2" y="41"/>
                          </a:cubicBezTo>
                          <a:lnTo>
                            <a:pt x="19" y="6"/>
                          </a:ln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59" name="Freeform 239"/>
                    <p:cNvSpPr>
                      <a:spLocks/>
                    </p:cNvSpPr>
                    <p:nvPr/>
                  </p:nvSpPr>
                  <p:spPr bwMode="auto">
                    <a:xfrm rot="5400000">
                      <a:off x="10853155" y="1430883"/>
                      <a:ext cx="46571" cy="63384"/>
                    </a:xfrm>
                    <a:custGeom>
                      <a:avLst/>
                      <a:gdLst>
                        <a:gd name="T0" fmla="*/ 39 w 42"/>
                        <a:gd name="T1" fmla="*/ 15 h 56"/>
                        <a:gd name="T2" fmla="*/ 36 w 42"/>
                        <a:gd name="T3" fmla="*/ 2 h 56"/>
                        <a:gd name="T4" fmla="*/ 36 w 42"/>
                        <a:gd name="T5" fmla="*/ 2 h 56"/>
                        <a:gd name="T6" fmla="*/ 23 w 42"/>
                        <a:gd name="T7" fmla="*/ 6 h 56"/>
                        <a:gd name="T8" fmla="*/ 3 w 42"/>
                        <a:gd name="T9" fmla="*/ 40 h 56"/>
                        <a:gd name="T10" fmla="*/ 7 w 42"/>
                        <a:gd name="T11" fmla="*/ 53 h 56"/>
                        <a:gd name="T12" fmla="*/ 7 w 42"/>
                        <a:gd name="T13" fmla="*/ 53 h 56"/>
                        <a:gd name="T14" fmla="*/ 19 w 42"/>
                        <a:gd name="T15" fmla="*/ 49 h 56"/>
                        <a:gd name="T16" fmla="*/ 39 w 42"/>
                        <a:gd name="T17" fmla="*/ 1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6">
                          <a:moveTo>
                            <a:pt x="39" y="15"/>
                          </a:moveTo>
                          <a:cubicBezTo>
                            <a:pt x="42" y="11"/>
                            <a:pt x="40" y="5"/>
                            <a:pt x="36" y="2"/>
                          </a:cubicBezTo>
                          <a:cubicBezTo>
                            <a:pt x="36" y="2"/>
                            <a:pt x="36" y="2"/>
                            <a:pt x="36" y="2"/>
                          </a:cubicBezTo>
                          <a:cubicBezTo>
                            <a:pt x="31" y="0"/>
                            <a:pt x="25" y="1"/>
                            <a:pt x="23" y="6"/>
                          </a:cubicBezTo>
                          <a:cubicBezTo>
                            <a:pt x="3" y="40"/>
                            <a:pt x="3" y="40"/>
                            <a:pt x="3" y="40"/>
                          </a:cubicBezTo>
                          <a:cubicBezTo>
                            <a:pt x="0" y="45"/>
                            <a:pt x="2" y="50"/>
                            <a:pt x="7" y="53"/>
                          </a:cubicBezTo>
                          <a:cubicBezTo>
                            <a:pt x="7" y="53"/>
                            <a:pt x="7" y="53"/>
                            <a:pt x="7" y="53"/>
                          </a:cubicBezTo>
                          <a:cubicBezTo>
                            <a:pt x="11" y="56"/>
                            <a:pt x="17" y="54"/>
                            <a:pt x="19" y="49"/>
                          </a:cubicBezTo>
                          <a:lnTo>
                            <a:pt x="39" y="15"/>
                          </a:ln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60" name="Freeform 240"/>
                    <p:cNvSpPr>
                      <a:spLocks/>
                    </p:cNvSpPr>
                    <p:nvPr/>
                  </p:nvSpPr>
                  <p:spPr bwMode="auto">
                    <a:xfrm rot="5400000">
                      <a:off x="10816047" y="1431664"/>
                      <a:ext cx="39294" cy="60365"/>
                    </a:xfrm>
                    <a:custGeom>
                      <a:avLst/>
                      <a:gdLst>
                        <a:gd name="T0" fmla="*/ 17 w 36"/>
                        <a:gd name="T1" fmla="*/ 6 h 54"/>
                        <a:gd name="T2" fmla="*/ 6 w 36"/>
                        <a:gd name="T3" fmla="*/ 2 h 54"/>
                        <a:gd name="T4" fmla="*/ 6 w 36"/>
                        <a:gd name="T5" fmla="*/ 2 h 54"/>
                        <a:gd name="T6" fmla="*/ 2 w 36"/>
                        <a:gd name="T7" fmla="*/ 13 h 54"/>
                        <a:gd name="T8" fmla="*/ 18 w 36"/>
                        <a:gd name="T9" fmla="*/ 48 h 54"/>
                        <a:gd name="T10" fmla="*/ 30 w 36"/>
                        <a:gd name="T11" fmla="*/ 52 h 54"/>
                        <a:gd name="T12" fmla="*/ 30 w 36"/>
                        <a:gd name="T13" fmla="*/ 52 h 54"/>
                        <a:gd name="T14" fmla="*/ 34 w 36"/>
                        <a:gd name="T15" fmla="*/ 41 h 54"/>
                        <a:gd name="T16" fmla="*/ 17 w 36"/>
                        <a:gd name="T17"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54">
                          <a:moveTo>
                            <a:pt x="17" y="6"/>
                          </a:moveTo>
                          <a:cubicBezTo>
                            <a:pt x="15" y="1"/>
                            <a:pt x="10" y="0"/>
                            <a:pt x="6" y="2"/>
                          </a:cubicBezTo>
                          <a:cubicBezTo>
                            <a:pt x="6" y="2"/>
                            <a:pt x="6" y="2"/>
                            <a:pt x="6" y="2"/>
                          </a:cubicBezTo>
                          <a:cubicBezTo>
                            <a:pt x="1" y="4"/>
                            <a:pt x="0" y="9"/>
                            <a:pt x="2" y="13"/>
                          </a:cubicBezTo>
                          <a:cubicBezTo>
                            <a:pt x="18" y="48"/>
                            <a:pt x="18" y="48"/>
                            <a:pt x="18" y="48"/>
                          </a:cubicBezTo>
                          <a:cubicBezTo>
                            <a:pt x="20" y="52"/>
                            <a:pt x="25" y="54"/>
                            <a:pt x="30" y="52"/>
                          </a:cubicBezTo>
                          <a:cubicBezTo>
                            <a:pt x="30" y="52"/>
                            <a:pt x="30" y="52"/>
                            <a:pt x="30" y="52"/>
                          </a:cubicBezTo>
                          <a:cubicBezTo>
                            <a:pt x="34" y="50"/>
                            <a:pt x="36" y="45"/>
                            <a:pt x="34" y="41"/>
                          </a:cubicBezTo>
                          <a:lnTo>
                            <a:pt x="17" y="6"/>
                          </a:ln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grpSp>
            </p:grpSp>
            <p:sp>
              <p:nvSpPr>
                <p:cNvPr id="632" name="Freeform 241"/>
                <p:cNvSpPr>
                  <a:spLocks noEditPoints="1"/>
                </p:cNvSpPr>
                <p:nvPr/>
              </p:nvSpPr>
              <p:spPr bwMode="auto">
                <a:xfrm>
                  <a:off x="12000421" y="1707561"/>
                  <a:ext cx="104784" cy="176569"/>
                </a:xfrm>
                <a:custGeom>
                  <a:avLst/>
                  <a:gdLst>
                    <a:gd name="T0" fmla="*/ 82 w 95"/>
                    <a:gd name="T1" fmla="*/ 13 h 155"/>
                    <a:gd name="T2" fmla="*/ 49 w 95"/>
                    <a:gd name="T3" fmla="*/ 0 h 155"/>
                    <a:gd name="T4" fmla="*/ 16 w 95"/>
                    <a:gd name="T5" fmla="*/ 13 h 155"/>
                    <a:gd name="T6" fmla="*/ 0 w 95"/>
                    <a:gd name="T7" fmla="*/ 46 h 155"/>
                    <a:gd name="T8" fmla="*/ 8 w 95"/>
                    <a:gd name="T9" fmla="*/ 75 h 155"/>
                    <a:gd name="T10" fmla="*/ 31 w 95"/>
                    <a:gd name="T11" fmla="*/ 106 h 155"/>
                    <a:gd name="T12" fmla="*/ 45 w 95"/>
                    <a:gd name="T13" fmla="*/ 155 h 155"/>
                    <a:gd name="T14" fmla="*/ 53 w 95"/>
                    <a:gd name="T15" fmla="*/ 155 h 155"/>
                    <a:gd name="T16" fmla="*/ 72 w 95"/>
                    <a:gd name="T17" fmla="*/ 95 h 155"/>
                    <a:gd name="T18" fmla="*/ 88 w 95"/>
                    <a:gd name="T19" fmla="*/ 75 h 155"/>
                    <a:gd name="T20" fmla="*/ 95 w 95"/>
                    <a:gd name="T21" fmla="*/ 46 h 155"/>
                    <a:gd name="T22" fmla="*/ 82 w 95"/>
                    <a:gd name="T23" fmla="*/ 13 h 155"/>
                    <a:gd name="T24" fmla="*/ 49 w 95"/>
                    <a:gd name="T25" fmla="*/ 71 h 155"/>
                    <a:gd name="T26" fmla="*/ 25 w 95"/>
                    <a:gd name="T27" fmla="*/ 48 h 155"/>
                    <a:gd name="T28" fmla="*/ 49 w 95"/>
                    <a:gd name="T29" fmla="*/ 27 h 155"/>
                    <a:gd name="T30" fmla="*/ 70 w 95"/>
                    <a:gd name="T31" fmla="*/ 48 h 155"/>
                    <a:gd name="T32" fmla="*/ 49 w 95"/>
                    <a:gd name="T33" fmla="*/ 7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 h="155">
                      <a:moveTo>
                        <a:pt x="82" y="13"/>
                      </a:moveTo>
                      <a:cubicBezTo>
                        <a:pt x="72" y="6"/>
                        <a:pt x="60" y="0"/>
                        <a:pt x="49" y="0"/>
                      </a:cubicBezTo>
                      <a:cubicBezTo>
                        <a:pt x="35" y="0"/>
                        <a:pt x="24" y="6"/>
                        <a:pt x="16" y="13"/>
                      </a:cubicBezTo>
                      <a:cubicBezTo>
                        <a:pt x="6" y="23"/>
                        <a:pt x="0" y="35"/>
                        <a:pt x="0" y="46"/>
                      </a:cubicBezTo>
                      <a:cubicBezTo>
                        <a:pt x="0" y="58"/>
                        <a:pt x="4" y="68"/>
                        <a:pt x="8" y="75"/>
                      </a:cubicBezTo>
                      <a:cubicBezTo>
                        <a:pt x="16" y="87"/>
                        <a:pt x="24" y="95"/>
                        <a:pt x="31" y="106"/>
                      </a:cubicBezTo>
                      <a:cubicBezTo>
                        <a:pt x="39" y="118"/>
                        <a:pt x="45" y="132"/>
                        <a:pt x="45" y="155"/>
                      </a:cubicBezTo>
                      <a:cubicBezTo>
                        <a:pt x="53" y="155"/>
                        <a:pt x="53" y="155"/>
                        <a:pt x="53" y="155"/>
                      </a:cubicBezTo>
                      <a:cubicBezTo>
                        <a:pt x="53" y="124"/>
                        <a:pt x="62" y="108"/>
                        <a:pt x="72" y="95"/>
                      </a:cubicBezTo>
                      <a:cubicBezTo>
                        <a:pt x="78" y="89"/>
                        <a:pt x="84" y="83"/>
                        <a:pt x="88" y="75"/>
                      </a:cubicBezTo>
                      <a:cubicBezTo>
                        <a:pt x="93" y="68"/>
                        <a:pt x="95" y="58"/>
                        <a:pt x="95" y="46"/>
                      </a:cubicBezTo>
                      <a:cubicBezTo>
                        <a:pt x="95" y="35"/>
                        <a:pt x="89" y="23"/>
                        <a:pt x="82" y="13"/>
                      </a:cubicBezTo>
                      <a:close/>
                      <a:moveTo>
                        <a:pt x="49" y="71"/>
                      </a:moveTo>
                      <a:cubicBezTo>
                        <a:pt x="35" y="71"/>
                        <a:pt x="25" y="60"/>
                        <a:pt x="25" y="48"/>
                      </a:cubicBezTo>
                      <a:cubicBezTo>
                        <a:pt x="25" y="37"/>
                        <a:pt x="35" y="27"/>
                        <a:pt x="49" y="27"/>
                      </a:cubicBezTo>
                      <a:cubicBezTo>
                        <a:pt x="60" y="27"/>
                        <a:pt x="70" y="37"/>
                        <a:pt x="70" y="48"/>
                      </a:cubicBezTo>
                      <a:cubicBezTo>
                        <a:pt x="70" y="60"/>
                        <a:pt x="60" y="71"/>
                        <a:pt x="49" y="71"/>
                      </a:cubicBezTo>
                      <a:close/>
                    </a:path>
                  </a:pathLst>
                </a:custGeom>
                <a:solidFill>
                  <a:srgbClr val="DA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33" name="Freeform 242"/>
                <p:cNvSpPr>
                  <a:spLocks noEditPoints="1"/>
                </p:cNvSpPr>
                <p:nvPr/>
              </p:nvSpPr>
              <p:spPr bwMode="auto">
                <a:xfrm rot="5400000">
                  <a:off x="11571961" y="1163023"/>
                  <a:ext cx="71312" cy="149404"/>
                </a:xfrm>
                <a:custGeom>
                  <a:avLst/>
                  <a:gdLst>
                    <a:gd name="T0" fmla="*/ 24 w 49"/>
                    <a:gd name="T1" fmla="*/ 82 h 99"/>
                    <a:gd name="T2" fmla="*/ 27 w 49"/>
                    <a:gd name="T3" fmla="*/ 83 h 99"/>
                    <a:gd name="T4" fmla="*/ 29 w 49"/>
                    <a:gd name="T5" fmla="*/ 86 h 99"/>
                    <a:gd name="T6" fmla="*/ 31 w 49"/>
                    <a:gd name="T7" fmla="*/ 89 h 99"/>
                    <a:gd name="T8" fmla="*/ 30 w 49"/>
                    <a:gd name="T9" fmla="*/ 93 h 99"/>
                    <a:gd name="T10" fmla="*/ 28 w 49"/>
                    <a:gd name="T11" fmla="*/ 96 h 99"/>
                    <a:gd name="T12" fmla="*/ 25 w 49"/>
                    <a:gd name="T13" fmla="*/ 98 h 99"/>
                    <a:gd name="T14" fmla="*/ 22 w 49"/>
                    <a:gd name="T15" fmla="*/ 99 h 99"/>
                    <a:gd name="T16" fmla="*/ 18 w 49"/>
                    <a:gd name="T17" fmla="*/ 99 h 99"/>
                    <a:gd name="T18" fmla="*/ 15 w 49"/>
                    <a:gd name="T19" fmla="*/ 97 h 99"/>
                    <a:gd name="T20" fmla="*/ 13 w 49"/>
                    <a:gd name="T21" fmla="*/ 94 h 99"/>
                    <a:gd name="T22" fmla="*/ 11 w 49"/>
                    <a:gd name="T23" fmla="*/ 91 h 99"/>
                    <a:gd name="T24" fmla="*/ 12 w 49"/>
                    <a:gd name="T25" fmla="*/ 88 h 99"/>
                    <a:gd name="T26" fmla="*/ 13 w 49"/>
                    <a:gd name="T27" fmla="*/ 85 h 99"/>
                    <a:gd name="T28" fmla="*/ 16 w 49"/>
                    <a:gd name="T29" fmla="*/ 82 h 99"/>
                    <a:gd name="T30" fmla="*/ 20 w 49"/>
                    <a:gd name="T31" fmla="*/ 82 h 99"/>
                    <a:gd name="T32" fmla="*/ 21 w 49"/>
                    <a:gd name="T33" fmla="*/ 82 h 99"/>
                    <a:gd name="T34" fmla="*/ 26 w 49"/>
                    <a:gd name="T35" fmla="*/ 1 h 99"/>
                    <a:gd name="T36" fmla="*/ 31 w 49"/>
                    <a:gd name="T37" fmla="*/ 2 h 99"/>
                    <a:gd name="T38" fmla="*/ 36 w 49"/>
                    <a:gd name="T39" fmla="*/ 3 h 99"/>
                    <a:gd name="T40" fmla="*/ 41 w 49"/>
                    <a:gd name="T41" fmla="*/ 5 h 99"/>
                    <a:gd name="T42" fmla="*/ 44 w 49"/>
                    <a:gd name="T43" fmla="*/ 8 h 99"/>
                    <a:gd name="T44" fmla="*/ 47 w 49"/>
                    <a:gd name="T45" fmla="*/ 12 h 99"/>
                    <a:gd name="T46" fmla="*/ 48 w 49"/>
                    <a:gd name="T47" fmla="*/ 16 h 99"/>
                    <a:gd name="T48" fmla="*/ 49 w 49"/>
                    <a:gd name="T49" fmla="*/ 21 h 99"/>
                    <a:gd name="T50" fmla="*/ 49 w 49"/>
                    <a:gd name="T51" fmla="*/ 26 h 99"/>
                    <a:gd name="T52" fmla="*/ 47 w 49"/>
                    <a:gd name="T53" fmla="*/ 30 h 99"/>
                    <a:gd name="T54" fmla="*/ 46 w 49"/>
                    <a:gd name="T55" fmla="*/ 34 h 99"/>
                    <a:gd name="T56" fmla="*/ 44 w 49"/>
                    <a:gd name="T57" fmla="*/ 38 h 99"/>
                    <a:gd name="T58" fmla="*/ 38 w 49"/>
                    <a:gd name="T59" fmla="*/ 44 h 99"/>
                    <a:gd name="T60" fmla="*/ 33 w 49"/>
                    <a:gd name="T61" fmla="*/ 49 h 99"/>
                    <a:gd name="T62" fmla="*/ 29 w 49"/>
                    <a:gd name="T63" fmla="*/ 52 h 99"/>
                    <a:gd name="T64" fmla="*/ 28 w 49"/>
                    <a:gd name="T65" fmla="*/ 55 h 99"/>
                    <a:gd name="T66" fmla="*/ 26 w 49"/>
                    <a:gd name="T67" fmla="*/ 57 h 99"/>
                    <a:gd name="T68" fmla="*/ 25 w 49"/>
                    <a:gd name="T69" fmla="*/ 61 h 99"/>
                    <a:gd name="T70" fmla="*/ 25 w 49"/>
                    <a:gd name="T71" fmla="*/ 66 h 99"/>
                    <a:gd name="T72" fmla="*/ 27 w 49"/>
                    <a:gd name="T73" fmla="*/ 70 h 99"/>
                    <a:gd name="T74" fmla="*/ 13 w 49"/>
                    <a:gd name="T75" fmla="*/ 70 h 99"/>
                    <a:gd name="T76" fmla="*/ 13 w 49"/>
                    <a:gd name="T77" fmla="*/ 68 h 99"/>
                    <a:gd name="T78" fmla="*/ 12 w 49"/>
                    <a:gd name="T79" fmla="*/ 64 h 99"/>
                    <a:gd name="T80" fmla="*/ 12 w 49"/>
                    <a:gd name="T81" fmla="*/ 59 h 99"/>
                    <a:gd name="T82" fmla="*/ 13 w 49"/>
                    <a:gd name="T83" fmla="*/ 56 h 99"/>
                    <a:gd name="T84" fmla="*/ 16 w 49"/>
                    <a:gd name="T85" fmla="*/ 51 h 99"/>
                    <a:gd name="T86" fmla="*/ 20 w 49"/>
                    <a:gd name="T87" fmla="*/ 45 h 99"/>
                    <a:gd name="T88" fmla="*/ 25 w 49"/>
                    <a:gd name="T89" fmla="*/ 39 h 99"/>
                    <a:gd name="T90" fmla="*/ 31 w 49"/>
                    <a:gd name="T91" fmla="*/ 34 h 99"/>
                    <a:gd name="T92" fmla="*/ 33 w 49"/>
                    <a:gd name="T93" fmla="*/ 30 h 99"/>
                    <a:gd name="T94" fmla="*/ 34 w 49"/>
                    <a:gd name="T95" fmla="*/ 27 h 99"/>
                    <a:gd name="T96" fmla="*/ 34 w 49"/>
                    <a:gd name="T97" fmla="*/ 24 h 99"/>
                    <a:gd name="T98" fmla="*/ 33 w 49"/>
                    <a:gd name="T99" fmla="*/ 21 h 99"/>
                    <a:gd name="T100" fmla="*/ 32 w 49"/>
                    <a:gd name="T101" fmla="*/ 19 h 99"/>
                    <a:gd name="T102" fmla="*/ 30 w 49"/>
                    <a:gd name="T103" fmla="*/ 17 h 99"/>
                    <a:gd name="T104" fmla="*/ 27 w 49"/>
                    <a:gd name="T105" fmla="*/ 15 h 99"/>
                    <a:gd name="T106" fmla="*/ 22 w 49"/>
                    <a:gd name="T107" fmla="*/ 14 h 99"/>
                    <a:gd name="T108" fmla="*/ 16 w 49"/>
                    <a:gd name="T109" fmla="*/ 14 h 99"/>
                    <a:gd name="T110" fmla="*/ 11 w 49"/>
                    <a:gd name="T111" fmla="*/ 14 h 99"/>
                    <a:gd name="T112" fmla="*/ 7 w 49"/>
                    <a:gd name="T113" fmla="*/ 17 h 99"/>
                    <a:gd name="T114" fmla="*/ 2 w 49"/>
                    <a:gd name="T115" fmla="*/ 20 h 99"/>
                    <a:gd name="T116" fmla="*/ 1 w 49"/>
                    <a:gd name="T117" fmla="*/ 6 h 99"/>
                    <a:gd name="T118" fmla="*/ 7 w 49"/>
                    <a:gd name="T119" fmla="*/ 3 h 99"/>
                    <a:gd name="T120" fmla="*/ 13 w 49"/>
                    <a:gd name="T121" fmla="*/ 2 h 99"/>
                    <a:gd name="T122" fmla="*/ 18 w 49"/>
                    <a:gd name="T123" fmla="*/ 1 h 99"/>
                    <a:gd name="T124" fmla="*/ 22 w 49"/>
                    <a:gd name="T125"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 h="99">
                      <a:moveTo>
                        <a:pt x="21" y="82"/>
                      </a:moveTo>
                      <a:lnTo>
                        <a:pt x="22" y="82"/>
                      </a:lnTo>
                      <a:lnTo>
                        <a:pt x="23" y="82"/>
                      </a:lnTo>
                      <a:lnTo>
                        <a:pt x="24" y="82"/>
                      </a:lnTo>
                      <a:lnTo>
                        <a:pt x="25" y="82"/>
                      </a:lnTo>
                      <a:lnTo>
                        <a:pt x="25" y="82"/>
                      </a:lnTo>
                      <a:lnTo>
                        <a:pt x="26" y="83"/>
                      </a:lnTo>
                      <a:lnTo>
                        <a:pt x="27" y="83"/>
                      </a:lnTo>
                      <a:lnTo>
                        <a:pt x="28" y="84"/>
                      </a:lnTo>
                      <a:lnTo>
                        <a:pt x="28" y="85"/>
                      </a:lnTo>
                      <a:lnTo>
                        <a:pt x="29" y="85"/>
                      </a:lnTo>
                      <a:lnTo>
                        <a:pt x="29" y="86"/>
                      </a:lnTo>
                      <a:lnTo>
                        <a:pt x="30" y="87"/>
                      </a:lnTo>
                      <a:lnTo>
                        <a:pt x="30" y="88"/>
                      </a:lnTo>
                      <a:lnTo>
                        <a:pt x="30" y="88"/>
                      </a:lnTo>
                      <a:lnTo>
                        <a:pt x="31" y="89"/>
                      </a:lnTo>
                      <a:lnTo>
                        <a:pt x="31" y="91"/>
                      </a:lnTo>
                      <a:lnTo>
                        <a:pt x="31" y="91"/>
                      </a:lnTo>
                      <a:lnTo>
                        <a:pt x="30" y="92"/>
                      </a:lnTo>
                      <a:lnTo>
                        <a:pt x="30" y="93"/>
                      </a:lnTo>
                      <a:lnTo>
                        <a:pt x="30" y="94"/>
                      </a:lnTo>
                      <a:lnTo>
                        <a:pt x="29" y="94"/>
                      </a:lnTo>
                      <a:lnTo>
                        <a:pt x="29" y="95"/>
                      </a:lnTo>
                      <a:lnTo>
                        <a:pt x="28" y="96"/>
                      </a:lnTo>
                      <a:lnTo>
                        <a:pt x="28" y="97"/>
                      </a:lnTo>
                      <a:lnTo>
                        <a:pt x="27" y="97"/>
                      </a:lnTo>
                      <a:lnTo>
                        <a:pt x="26" y="97"/>
                      </a:lnTo>
                      <a:lnTo>
                        <a:pt x="25" y="98"/>
                      </a:lnTo>
                      <a:lnTo>
                        <a:pt x="25" y="99"/>
                      </a:lnTo>
                      <a:lnTo>
                        <a:pt x="24" y="99"/>
                      </a:lnTo>
                      <a:lnTo>
                        <a:pt x="23" y="99"/>
                      </a:lnTo>
                      <a:lnTo>
                        <a:pt x="22" y="99"/>
                      </a:lnTo>
                      <a:lnTo>
                        <a:pt x="21" y="99"/>
                      </a:lnTo>
                      <a:lnTo>
                        <a:pt x="20" y="99"/>
                      </a:lnTo>
                      <a:lnTo>
                        <a:pt x="19" y="99"/>
                      </a:lnTo>
                      <a:lnTo>
                        <a:pt x="18" y="99"/>
                      </a:lnTo>
                      <a:lnTo>
                        <a:pt x="17" y="99"/>
                      </a:lnTo>
                      <a:lnTo>
                        <a:pt x="16" y="98"/>
                      </a:lnTo>
                      <a:lnTo>
                        <a:pt x="16" y="97"/>
                      </a:lnTo>
                      <a:lnTo>
                        <a:pt x="15" y="97"/>
                      </a:lnTo>
                      <a:lnTo>
                        <a:pt x="14" y="97"/>
                      </a:lnTo>
                      <a:lnTo>
                        <a:pt x="13" y="96"/>
                      </a:lnTo>
                      <a:lnTo>
                        <a:pt x="13" y="95"/>
                      </a:lnTo>
                      <a:lnTo>
                        <a:pt x="13" y="94"/>
                      </a:lnTo>
                      <a:lnTo>
                        <a:pt x="12" y="94"/>
                      </a:lnTo>
                      <a:lnTo>
                        <a:pt x="12" y="93"/>
                      </a:lnTo>
                      <a:lnTo>
                        <a:pt x="12" y="92"/>
                      </a:lnTo>
                      <a:lnTo>
                        <a:pt x="11" y="91"/>
                      </a:lnTo>
                      <a:lnTo>
                        <a:pt x="11" y="91"/>
                      </a:lnTo>
                      <a:lnTo>
                        <a:pt x="11" y="89"/>
                      </a:lnTo>
                      <a:lnTo>
                        <a:pt x="12" y="88"/>
                      </a:lnTo>
                      <a:lnTo>
                        <a:pt x="12" y="88"/>
                      </a:lnTo>
                      <a:lnTo>
                        <a:pt x="12" y="87"/>
                      </a:lnTo>
                      <a:lnTo>
                        <a:pt x="13" y="86"/>
                      </a:lnTo>
                      <a:lnTo>
                        <a:pt x="13" y="85"/>
                      </a:lnTo>
                      <a:lnTo>
                        <a:pt x="13" y="85"/>
                      </a:lnTo>
                      <a:lnTo>
                        <a:pt x="14" y="84"/>
                      </a:lnTo>
                      <a:lnTo>
                        <a:pt x="15" y="83"/>
                      </a:lnTo>
                      <a:lnTo>
                        <a:pt x="16" y="83"/>
                      </a:lnTo>
                      <a:lnTo>
                        <a:pt x="16" y="82"/>
                      </a:lnTo>
                      <a:lnTo>
                        <a:pt x="17" y="82"/>
                      </a:lnTo>
                      <a:lnTo>
                        <a:pt x="18" y="82"/>
                      </a:lnTo>
                      <a:lnTo>
                        <a:pt x="19" y="82"/>
                      </a:lnTo>
                      <a:lnTo>
                        <a:pt x="20" y="82"/>
                      </a:lnTo>
                      <a:lnTo>
                        <a:pt x="21" y="82"/>
                      </a:lnTo>
                      <a:lnTo>
                        <a:pt x="21" y="82"/>
                      </a:lnTo>
                      <a:lnTo>
                        <a:pt x="21" y="82"/>
                      </a:lnTo>
                      <a:lnTo>
                        <a:pt x="21" y="82"/>
                      </a:lnTo>
                      <a:close/>
                      <a:moveTo>
                        <a:pt x="22" y="0"/>
                      </a:moveTo>
                      <a:lnTo>
                        <a:pt x="24" y="0"/>
                      </a:lnTo>
                      <a:lnTo>
                        <a:pt x="25" y="1"/>
                      </a:lnTo>
                      <a:lnTo>
                        <a:pt x="26" y="1"/>
                      </a:lnTo>
                      <a:lnTo>
                        <a:pt x="28" y="1"/>
                      </a:lnTo>
                      <a:lnTo>
                        <a:pt x="29" y="1"/>
                      </a:lnTo>
                      <a:lnTo>
                        <a:pt x="30" y="1"/>
                      </a:lnTo>
                      <a:lnTo>
                        <a:pt x="31" y="2"/>
                      </a:lnTo>
                      <a:lnTo>
                        <a:pt x="33" y="2"/>
                      </a:lnTo>
                      <a:lnTo>
                        <a:pt x="34" y="2"/>
                      </a:lnTo>
                      <a:lnTo>
                        <a:pt x="35" y="2"/>
                      </a:lnTo>
                      <a:lnTo>
                        <a:pt x="36" y="3"/>
                      </a:lnTo>
                      <a:lnTo>
                        <a:pt x="38" y="4"/>
                      </a:lnTo>
                      <a:lnTo>
                        <a:pt x="38" y="4"/>
                      </a:lnTo>
                      <a:lnTo>
                        <a:pt x="39" y="5"/>
                      </a:lnTo>
                      <a:lnTo>
                        <a:pt x="41" y="5"/>
                      </a:lnTo>
                      <a:lnTo>
                        <a:pt x="41" y="6"/>
                      </a:lnTo>
                      <a:lnTo>
                        <a:pt x="42" y="7"/>
                      </a:lnTo>
                      <a:lnTo>
                        <a:pt x="43" y="8"/>
                      </a:lnTo>
                      <a:lnTo>
                        <a:pt x="44" y="8"/>
                      </a:lnTo>
                      <a:lnTo>
                        <a:pt x="44" y="9"/>
                      </a:lnTo>
                      <a:lnTo>
                        <a:pt x="45" y="10"/>
                      </a:lnTo>
                      <a:lnTo>
                        <a:pt x="46" y="11"/>
                      </a:lnTo>
                      <a:lnTo>
                        <a:pt x="47" y="12"/>
                      </a:lnTo>
                      <a:lnTo>
                        <a:pt x="47" y="13"/>
                      </a:lnTo>
                      <a:lnTo>
                        <a:pt x="47" y="14"/>
                      </a:lnTo>
                      <a:lnTo>
                        <a:pt x="48" y="15"/>
                      </a:lnTo>
                      <a:lnTo>
                        <a:pt x="48" y="16"/>
                      </a:lnTo>
                      <a:lnTo>
                        <a:pt x="48" y="17"/>
                      </a:lnTo>
                      <a:lnTo>
                        <a:pt x="49" y="18"/>
                      </a:lnTo>
                      <a:lnTo>
                        <a:pt x="49" y="20"/>
                      </a:lnTo>
                      <a:lnTo>
                        <a:pt x="49" y="21"/>
                      </a:lnTo>
                      <a:lnTo>
                        <a:pt x="49" y="22"/>
                      </a:lnTo>
                      <a:lnTo>
                        <a:pt x="49" y="23"/>
                      </a:lnTo>
                      <a:lnTo>
                        <a:pt x="49" y="25"/>
                      </a:lnTo>
                      <a:lnTo>
                        <a:pt x="49" y="26"/>
                      </a:lnTo>
                      <a:lnTo>
                        <a:pt x="49" y="27"/>
                      </a:lnTo>
                      <a:lnTo>
                        <a:pt x="48" y="28"/>
                      </a:lnTo>
                      <a:lnTo>
                        <a:pt x="48" y="30"/>
                      </a:lnTo>
                      <a:lnTo>
                        <a:pt x="47" y="30"/>
                      </a:lnTo>
                      <a:lnTo>
                        <a:pt x="47" y="32"/>
                      </a:lnTo>
                      <a:lnTo>
                        <a:pt x="47" y="33"/>
                      </a:lnTo>
                      <a:lnTo>
                        <a:pt x="47" y="33"/>
                      </a:lnTo>
                      <a:lnTo>
                        <a:pt x="46" y="34"/>
                      </a:lnTo>
                      <a:lnTo>
                        <a:pt x="45" y="36"/>
                      </a:lnTo>
                      <a:lnTo>
                        <a:pt x="44" y="36"/>
                      </a:lnTo>
                      <a:lnTo>
                        <a:pt x="44" y="37"/>
                      </a:lnTo>
                      <a:lnTo>
                        <a:pt x="44" y="38"/>
                      </a:lnTo>
                      <a:lnTo>
                        <a:pt x="43" y="39"/>
                      </a:lnTo>
                      <a:lnTo>
                        <a:pt x="41" y="41"/>
                      </a:lnTo>
                      <a:lnTo>
                        <a:pt x="40" y="42"/>
                      </a:lnTo>
                      <a:lnTo>
                        <a:pt x="38" y="44"/>
                      </a:lnTo>
                      <a:lnTo>
                        <a:pt x="37" y="45"/>
                      </a:lnTo>
                      <a:lnTo>
                        <a:pt x="35" y="46"/>
                      </a:lnTo>
                      <a:lnTo>
                        <a:pt x="34" y="48"/>
                      </a:lnTo>
                      <a:lnTo>
                        <a:pt x="33" y="49"/>
                      </a:lnTo>
                      <a:lnTo>
                        <a:pt x="31" y="50"/>
                      </a:lnTo>
                      <a:lnTo>
                        <a:pt x="31" y="51"/>
                      </a:lnTo>
                      <a:lnTo>
                        <a:pt x="30" y="51"/>
                      </a:lnTo>
                      <a:lnTo>
                        <a:pt x="29" y="52"/>
                      </a:lnTo>
                      <a:lnTo>
                        <a:pt x="29" y="53"/>
                      </a:lnTo>
                      <a:lnTo>
                        <a:pt x="28" y="54"/>
                      </a:lnTo>
                      <a:lnTo>
                        <a:pt x="28" y="54"/>
                      </a:lnTo>
                      <a:lnTo>
                        <a:pt x="28" y="55"/>
                      </a:lnTo>
                      <a:lnTo>
                        <a:pt x="27" y="55"/>
                      </a:lnTo>
                      <a:lnTo>
                        <a:pt x="27" y="56"/>
                      </a:lnTo>
                      <a:lnTo>
                        <a:pt x="26" y="57"/>
                      </a:lnTo>
                      <a:lnTo>
                        <a:pt x="26" y="57"/>
                      </a:lnTo>
                      <a:lnTo>
                        <a:pt x="25" y="58"/>
                      </a:lnTo>
                      <a:lnTo>
                        <a:pt x="25" y="59"/>
                      </a:lnTo>
                      <a:lnTo>
                        <a:pt x="25" y="60"/>
                      </a:lnTo>
                      <a:lnTo>
                        <a:pt x="25" y="61"/>
                      </a:lnTo>
                      <a:lnTo>
                        <a:pt x="25" y="62"/>
                      </a:lnTo>
                      <a:lnTo>
                        <a:pt x="25" y="63"/>
                      </a:lnTo>
                      <a:lnTo>
                        <a:pt x="25" y="64"/>
                      </a:lnTo>
                      <a:lnTo>
                        <a:pt x="25" y="66"/>
                      </a:lnTo>
                      <a:lnTo>
                        <a:pt x="26" y="67"/>
                      </a:lnTo>
                      <a:lnTo>
                        <a:pt x="26" y="68"/>
                      </a:lnTo>
                      <a:lnTo>
                        <a:pt x="27" y="69"/>
                      </a:lnTo>
                      <a:lnTo>
                        <a:pt x="27" y="70"/>
                      </a:lnTo>
                      <a:lnTo>
                        <a:pt x="28" y="71"/>
                      </a:lnTo>
                      <a:lnTo>
                        <a:pt x="13" y="71"/>
                      </a:lnTo>
                      <a:lnTo>
                        <a:pt x="13" y="70"/>
                      </a:lnTo>
                      <a:lnTo>
                        <a:pt x="13" y="70"/>
                      </a:lnTo>
                      <a:lnTo>
                        <a:pt x="13" y="69"/>
                      </a:lnTo>
                      <a:lnTo>
                        <a:pt x="13" y="69"/>
                      </a:lnTo>
                      <a:lnTo>
                        <a:pt x="13" y="69"/>
                      </a:lnTo>
                      <a:lnTo>
                        <a:pt x="13" y="68"/>
                      </a:lnTo>
                      <a:lnTo>
                        <a:pt x="13" y="67"/>
                      </a:lnTo>
                      <a:lnTo>
                        <a:pt x="13" y="66"/>
                      </a:lnTo>
                      <a:lnTo>
                        <a:pt x="12" y="65"/>
                      </a:lnTo>
                      <a:lnTo>
                        <a:pt x="12" y="64"/>
                      </a:lnTo>
                      <a:lnTo>
                        <a:pt x="12" y="63"/>
                      </a:lnTo>
                      <a:lnTo>
                        <a:pt x="12" y="61"/>
                      </a:lnTo>
                      <a:lnTo>
                        <a:pt x="12" y="60"/>
                      </a:lnTo>
                      <a:lnTo>
                        <a:pt x="12" y="59"/>
                      </a:lnTo>
                      <a:lnTo>
                        <a:pt x="12" y="58"/>
                      </a:lnTo>
                      <a:lnTo>
                        <a:pt x="13" y="57"/>
                      </a:lnTo>
                      <a:lnTo>
                        <a:pt x="13" y="57"/>
                      </a:lnTo>
                      <a:lnTo>
                        <a:pt x="13" y="56"/>
                      </a:lnTo>
                      <a:lnTo>
                        <a:pt x="13" y="54"/>
                      </a:lnTo>
                      <a:lnTo>
                        <a:pt x="13" y="54"/>
                      </a:lnTo>
                      <a:lnTo>
                        <a:pt x="14" y="52"/>
                      </a:lnTo>
                      <a:lnTo>
                        <a:pt x="16" y="51"/>
                      </a:lnTo>
                      <a:lnTo>
                        <a:pt x="16" y="49"/>
                      </a:lnTo>
                      <a:lnTo>
                        <a:pt x="18" y="48"/>
                      </a:lnTo>
                      <a:lnTo>
                        <a:pt x="19" y="46"/>
                      </a:lnTo>
                      <a:lnTo>
                        <a:pt x="20" y="45"/>
                      </a:lnTo>
                      <a:lnTo>
                        <a:pt x="22" y="43"/>
                      </a:lnTo>
                      <a:lnTo>
                        <a:pt x="23" y="42"/>
                      </a:lnTo>
                      <a:lnTo>
                        <a:pt x="24" y="41"/>
                      </a:lnTo>
                      <a:lnTo>
                        <a:pt x="25" y="39"/>
                      </a:lnTo>
                      <a:lnTo>
                        <a:pt x="27" y="38"/>
                      </a:lnTo>
                      <a:lnTo>
                        <a:pt x="28" y="37"/>
                      </a:lnTo>
                      <a:lnTo>
                        <a:pt x="29" y="36"/>
                      </a:lnTo>
                      <a:lnTo>
                        <a:pt x="31" y="34"/>
                      </a:lnTo>
                      <a:lnTo>
                        <a:pt x="31" y="33"/>
                      </a:lnTo>
                      <a:lnTo>
                        <a:pt x="32" y="32"/>
                      </a:lnTo>
                      <a:lnTo>
                        <a:pt x="33" y="31"/>
                      </a:lnTo>
                      <a:lnTo>
                        <a:pt x="33" y="30"/>
                      </a:lnTo>
                      <a:lnTo>
                        <a:pt x="33" y="30"/>
                      </a:lnTo>
                      <a:lnTo>
                        <a:pt x="34" y="29"/>
                      </a:lnTo>
                      <a:lnTo>
                        <a:pt x="34" y="28"/>
                      </a:lnTo>
                      <a:lnTo>
                        <a:pt x="34" y="27"/>
                      </a:lnTo>
                      <a:lnTo>
                        <a:pt x="34" y="27"/>
                      </a:lnTo>
                      <a:lnTo>
                        <a:pt x="34" y="26"/>
                      </a:lnTo>
                      <a:lnTo>
                        <a:pt x="34" y="25"/>
                      </a:lnTo>
                      <a:lnTo>
                        <a:pt x="34" y="24"/>
                      </a:lnTo>
                      <a:lnTo>
                        <a:pt x="34" y="23"/>
                      </a:lnTo>
                      <a:lnTo>
                        <a:pt x="34" y="23"/>
                      </a:lnTo>
                      <a:lnTo>
                        <a:pt x="34" y="22"/>
                      </a:lnTo>
                      <a:lnTo>
                        <a:pt x="33" y="21"/>
                      </a:lnTo>
                      <a:lnTo>
                        <a:pt x="33" y="20"/>
                      </a:lnTo>
                      <a:lnTo>
                        <a:pt x="33" y="20"/>
                      </a:lnTo>
                      <a:lnTo>
                        <a:pt x="32" y="20"/>
                      </a:lnTo>
                      <a:lnTo>
                        <a:pt x="32" y="19"/>
                      </a:lnTo>
                      <a:lnTo>
                        <a:pt x="31" y="18"/>
                      </a:lnTo>
                      <a:lnTo>
                        <a:pt x="31" y="18"/>
                      </a:lnTo>
                      <a:lnTo>
                        <a:pt x="31" y="17"/>
                      </a:lnTo>
                      <a:lnTo>
                        <a:pt x="30" y="17"/>
                      </a:lnTo>
                      <a:lnTo>
                        <a:pt x="30" y="17"/>
                      </a:lnTo>
                      <a:lnTo>
                        <a:pt x="29" y="17"/>
                      </a:lnTo>
                      <a:lnTo>
                        <a:pt x="28" y="16"/>
                      </a:lnTo>
                      <a:lnTo>
                        <a:pt x="27" y="15"/>
                      </a:lnTo>
                      <a:lnTo>
                        <a:pt x="26" y="14"/>
                      </a:lnTo>
                      <a:lnTo>
                        <a:pt x="25" y="14"/>
                      </a:lnTo>
                      <a:lnTo>
                        <a:pt x="23" y="14"/>
                      </a:lnTo>
                      <a:lnTo>
                        <a:pt x="22" y="14"/>
                      </a:lnTo>
                      <a:lnTo>
                        <a:pt x="20" y="14"/>
                      </a:lnTo>
                      <a:lnTo>
                        <a:pt x="19" y="14"/>
                      </a:lnTo>
                      <a:lnTo>
                        <a:pt x="17" y="14"/>
                      </a:lnTo>
                      <a:lnTo>
                        <a:pt x="16" y="14"/>
                      </a:lnTo>
                      <a:lnTo>
                        <a:pt x="15" y="14"/>
                      </a:lnTo>
                      <a:lnTo>
                        <a:pt x="14" y="14"/>
                      </a:lnTo>
                      <a:lnTo>
                        <a:pt x="13" y="14"/>
                      </a:lnTo>
                      <a:lnTo>
                        <a:pt x="11" y="14"/>
                      </a:lnTo>
                      <a:lnTo>
                        <a:pt x="10" y="15"/>
                      </a:lnTo>
                      <a:lnTo>
                        <a:pt x="9" y="16"/>
                      </a:lnTo>
                      <a:lnTo>
                        <a:pt x="8" y="16"/>
                      </a:lnTo>
                      <a:lnTo>
                        <a:pt x="7" y="17"/>
                      </a:lnTo>
                      <a:lnTo>
                        <a:pt x="5" y="17"/>
                      </a:lnTo>
                      <a:lnTo>
                        <a:pt x="4" y="18"/>
                      </a:lnTo>
                      <a:lnTo>
                        <a:pt x="3" y="19"/>
                      </a:lnTo>
                      <a:lnTo>
                        <a:pt x="2" y="20"/>
                      </a:lnTo>
                      <a:lnTo>
                        <a:pt x="1" y="21"/>
                      </a:lnTo>
                      <a:lnTo>
                        <a:pt x="0" y="22"/>
                      </a:lnTo>
                      <a:lnTo>
                        <a:pt x="0" y="7"/>
                      </a:lnTo>
                      <a:lnTo>
                        <a:pt x="1" y="6"/>
                      </a:lnTo>
                      <a:lnTo>
                        <a:pt x="3" y="5"/>
                      </a:lnTo>
                      <a:lnTo>
                        <a:pt x="4" y="5"/>
                      </a:lnTo>
                      <a:lnTo>
                        <a:pt x="5" y="4"/>
                      </a:lnTo>
                      <a:lnTo>
                        <a:pt x="7" y="3"/>
                      </a:lnTo>
                      <a:lnTo>
                        <a:pt x="8" y="3"/>
                      </a:lnTo>
                      <a:lnTo>
                        <a:pt x="10" y="2"/>
                      </a:lnTo>
                      <a:lnTo>
                        <a:pt x="11" y="2"/>
                      </a:lnTo>
                      <a:lnTo>
                        <a:pt x="13" y="2"/>
                      </a:lnTo>
                      <a:lnTo>
                        <a:pt x="13" y="2"/>
                      </a:lnTo>
                      <a:lnTo>
                        <a:pt x="15" y="1"/>
                      </a:lnTo>
                      <a:lnTo>
                        <a:pt x="16" y="1"/>
                      </a:lnTo>
                      <a:lnTo>
                        <a:pt x="18" y="1"/>
                      </a:lnTo>
                      <a:lnTo>
                        <a:pt x="19" y="1"/>
                      </a:lnTo>
                      <a:lnTo>
                        <a:pt x="21" y="0"/>
                      </a:lnTo>
                      <a:lnTo>
                        <a:pt x="22" y="0"/>
                      </a:lnTo>
                      <a:lnTo>
                        <a:pt x="22" y="0"/>
                      </a:lnTo>
                      <a:lnTo>
                        <a:pt x="22" y="0"/>
                      </a:lnTo>
                      <a:lnTo>
                        <a:pt x="22"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34" name="Freeform 243"/>
                <p:cNvSpPr>
                  <a:spLocks/>
                </p:cNvSpPr>
                <p:nvPr/>
              </p:nvSpPr>
              <p:spPr bwMode="auto">
                <a:xfrm rot="5400000">
                  <a:off x="10645137" y="844463"/>
                  <a:ext cx="18920" cy="18110"/>
                </a:xfrm>
                <a:custGeom>
                  <a:avLst/>
                  <a:gdLst>
                    <a:gd name="T0" fmla="*/ 9 w 17"/>
                    <a:gd name="T1" fmla="*/ 16 h 16"/>
                    <a:gd name="T2" fmla="*/ 0 w 17"/>
                    <a:gd name="T3" fmla="*/ 8 h 16"/>
                    <a:gd name="T4" fmla="*/ 8 w 17"/>
                    <a:gd name="T5" fmla="*/ 0 h 16"/>
                    <a:gd name="T6" fmla="*/ 17 w 17"/>
                    <a:gd name="T7" fmla="*/ 8 h 16"/>
                    <a:gd name="T8" fmla="*/ 9 w 17"/>
                    <a:gd name="T9" fmla="*/ 16 h 16"/>
                  </a:gdLst>
                  <a:ahLst/>
                  <a:cxnLst>
                    <a:cxn ang="0">
                      <a:pos x="T0" y="T1"/>
                    </a:cxn>
                    <a:cxn ang="0">
                      <a:pos x="T2" y="T3"/>
                    </a:cxn>
                    <a:cxn ang="0">
                      <a:pos x="T4" y="T5"/>
                    </a:cxn>
                    <a:cxn ang="0">
                      <a:pos x="T6" y="T7"/>
                    </a:cxn>
                    <a:cxn ang="0">
                      <a:pos x="T8" y="T9"/>
                    </a:cxn>
                  </a:cxnLst>
                  <a:rect l="0" t="0" r="r" b="b"/>
                  <a:pathLst>
                    <a:path w="17" h="16">
                      <a:moveTo>
                        <a:pt x="9" y="16"/>
                      </a:moveTo>
                      <a:cubicBezTo>
                        <a:pt x="5" y="16"/>
                        <a:pt x="1" y="12"/>
                        <a:pt x="0" y="8"/>
                      </a:cubicBezTo>
                      <a:cubicBezTo>
                        <a:pt x="0" y="4"/>
                        <a:pt x="3" y="0"/>
                        <a:pt x="8" y="0"/>
                      </a:cubicBezTo>
                      <a:cubicBezTo>
                        <a:pt x="13" y="0"/>
                        <a:pt x="17" y="3"/>
                        <a:pt x="17" y="8"/>
                      </a:cubicBezTo>
                      <a:cubicBezTo>
                        <a:pt x="17" y="12"/>
                        <a:pt x="14" y="16"/>
                        <a:pt x="9" y="16"/>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35" name="Freeform 244"/>
                <p:cNvSpPr>
                  <a:spLocks/>
                </p:cNvSpPr>
                <p:nvPr/>
              </p:nvSpPr>
              <p:spPr bwMode="auto">
                <a:xfrm rot="5400000">
                  <a:off x="10647723" y="843441"/>
                  <a:ext cx="77133" cy="75457"/>
                </a:xfrm>
                <a:custGeom>
                  <a:avLst/>
                  <a:gdLst>
                    <a:gd name="T0" fmla="*/ 70 w 70"/>
                    <a:gd name="T1" fmla="*/ 64 h 67"/>
                    <a:gd name="T2" fmla="*/ 37 w 70"/>
                    <a:gd name="T3" fmla="*/ 8 h 67"/>
                    <a:gd name="T4" fmla="*/ 1 w 70"/>
                    <a:gd name="T5" fmla="*/ 1 h 67"/>
                    <a:gd name="T6" fmla="*/ 0 w 70"/>
                    <a:gd name="T7" fmla="*/ 2 h 67"/>
                    <a:gd name="T8" fmla="*/ 0 w 70"/>
                    <a:gd name="T9" fmla="*/ 11 h 67"/>
                    <a:gd name="T10" fmla="*/ 1 w 70"/>
                    <a:gd name="T11" fmla="*/ 12 h 67"/>
                    <a:gd name="T12" fmla="*/ 31 w 70"/>
                    <a:gd name="T13" fmla="*/ 19 h 67"/>
                    <a:gd name="T14" fmla="*/ 59 w 70"/>
                    <a:gd name="T15" fmla="*/ 66 h 67"/>
                    <a:gd name="T16" fmla="*/ 60 w 70"/>
                    <a:gd name="T17" fmla="*/ 67 h 67"/>
                    <a:gd name="T18" fmla="*/ 69 w 70"/>
                    <a:gd name="T19" fmla="*/ 66 h 67"/>
                    <a:gd name="T20" fmla="*/ 70 w 70"/>
                    <a:gd name="T21" fmla="*/ 6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 h="67">
                      <a:moveTo>
                        <a:pt x="70" y="64"/>
                      </a:moveTo>
                      <a:cubicBezTo>
                        <a:pt x="69" y="33"/>
                        <a:pt x="53" y="16"/>
                        <a:pt x="37" y="8"/>
                      </a:cubicBezTo>
                      <a:cubicBezTo>
                        <a:pt x="21" y="0"/>
                        <a:pt x="5" y="1"/>
                        <a:pt x="1" y="1"/>
                      </a:cubicBezTo>
                      <a:cubicBezTo>
                        <a:pt x="0" y="1"/>
                        <a:pt x="0" y="1"/>
                        <a:pt x="0" y="2"/>
                      </a:cubicBezTo>
                      <a:cubicBezTo>
                        <a:pt x="0" y="3"/>
                        <a:pt x="0" y="10"/>
                        <a:pt x="0" y="11"/>
                      </a:cubicBezTo>
                      <a:cubicBezTo>
                        <a:pt x="0" y="12"/>
                        <a:pt x="0" y="12"/>
                        <a:pt x="1" y="12"/>
                      </a:cubicBezTo>
                      <a:cubicBezTo>
                        <a:pt x="5" y="11"/>
                        <a:pt x="18" y="12"/>
                        <a:pt x="31" y="19"/>
                      </a:cubicBezTo>
                      <a:cubicBezTo>
                        <a:pt x="44" y="26"/>
                        <a:pt x="57" y="41"/>
                        <a:pt x="59" y="66"/>
                      </a:cubicBezTo>
                      <a:cubicBezTo>
                        <a:pt x="59" y="66"/>
                        <a:pt x="59" y="67"/>
                        <a:pt x="60" y="67"/>
                      </a:cubicBezTo>
                      <a:cubicBezTo>
                        <a:pt x="60" y="67"/>
                        <a:pt x="68" y="66"/>
                        <a:pt x="69" y="66"/>
                      </a:cubicBezTo>
                      <a:cubicBezTo>
                        <a:pt x="70" y="66"/>
                        <a:pt x="70" y="66"/>
                        <a:pt x="70" y="64"/>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36" name="Freeform 245"/>
                <p:cNvSpPr>
                  <a:spLocks/>
                </p:cNvSpPr>
                <p:nvPr/>
              </p:nvSpPr>
              <p:spPr bwMode="auto">
                <a:xfrm rot="5400000">
                  <a:off x="10644948" y="843198"/>
                  <a:ext cx="49481" cy="48292"/>
                </a:xfrm>
                <a:custGeom>
                  <a:avLst/>
                  <a:gdLst>
                    <a:gd name="T0" fmla="*/ 45 w 45"/>
                    <a:gd name="T1" fmla="*/ 40 h 42"/>
                    <a:gd name="T2" fmla="*/ 1 w 45"/>
                    <a:gd name="T3" fmla="*/ 0 h 42"/>
                    <a:gd name="T4" fmla="*/ 0 w 45"/>
                    <a:gd name="T5" fmla="*/ 1 h 42"/>
                    <a:gd name="T6" fmla="*/ 0 w 45"/>
                    <a:gd name="T7" fmla="*/ 10 h 42"/>
                    <a:gd name="T8" fmla="*/ 1 w 45"/>
                    <a:gd name="T9" fmla="*/ 12 h 42"/>
                    <a:gd name="T10" fmla="*/ 32 w 45"/>
                    <a:gd name="T11" fmla="*/ 40 h 42"/>
                    <a:gd name="T12" fmla="*/ 34 w 45"/>
                    <a:gd name="T13" fmla="*/ 42 h 42"/>
                    <a:gd name="T14" fmla="*/ 43 w 45"/>
                    <a:gd name="T15" fmla="*/ 41 h 42"/>
                    <a:gd name="T16" fmla="*/ 45 w 45"/>
                    <a:gd name="T17" fmla="*/ 4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42">
                      <a:moveTo>
                        <a:pt x="45" y="40"/>
                      </a:moveTo>
                      <a:cubicBezTo>
                        <a:pt x="42" y="9"/>
                        <a:pt x="16" y="0"/>
                        <a:pt x="1" y="0"/>
                      </a:cubicBezTo>
                      <a:cubicBezTo>
                        <a:pt x="0" y="0"/>
                        <a:pt x="0" y="0"/>
                        <a:pt x="0" y="1"/>
                      </a:cubicBezTo>
                      <a:cubicBezTo>
                        <a:pt x="0" y="1"/>
                        <a:pt x="0" y="10"/>
                        <a:pt x="0" y="10"/>
                      </a:cubicBezTo>
                      <a:cubicBezTo>
                        <a:pt x="0" y="11"/>
                        <a:pt x="0" y="12"/>
                        <a:pt x="1" y="12"/>
                      </a:cubicBezTo>
                      <a:cubicBezTo>
                        <a:pt x="9" y="12"/>
                        <a:pt x="29" y="16"/>
                        <a:pt x="32" y="40"/>
                      </a:cubicBezTo>
                      <a:cubicBezTo>
                        <a:pt x="33" y="41"/>
                        <a:pt x="33" y="42"/>
                        <a:pt x="34" y="42"/>
                      </a:cubicBezTo>
                      <a:cubicBezTo>
                        <a:pt x="34" y="42"/>
                        <a:pt x="43" y="41"/>
                        <a:pt x="43" y="41"/>
                      </a:cubicBezTo>
                      <a:cubicBezTo>
                        <a:pt x="44" y="41"/>
                        <a:pt x="45" y="41"/>
                        <a:pt x="45" y="40"/>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grpSp>
              <p:nvGrpSpPr>
                <p:cNvPr id="637" name="Group 636"/>
                <p:cNvGrpSpPr/>
                <p:nvPr/>
              </p:nvGrpSpPr>
              <p:grpSpPr>
                <a:xfrm rot="16200000">
                  <a:off x="10518775" y="1654678"/>
                  <a:ext cx="90548" cy="88776"/>
                  <a:chOff x="10518775" y="1654678"/>
                  <a:chExt cx="90548" cy="88776"/>
                </a:xfrm>
              </p:grpSpPr>
              <p:sp>
                <p:nvSpPr>
                  <p:cNvPr id="648" name="Freeform 249"/>
                  <p:cNvSpPr>
                    <a:spLocks/>
                  </p:cNvSpPr>
                  <p:nvPr/>
                </p:nvSpPr>
                <p:spPr bwMode="auto">
                  <a:xfrm rot="5400000">
                    <a:off x="10519906" y="1656458"/>
                    <a:ext cx="20375" cy="22637"/>
                  </a:xfrm>
                  <a:custGeom>
                    <a:avLst/>
                    <a:gdLst>
                      <a:gd name="T0" fmla="*/ 10 w 19"/>
                      <a:gd name="T1" fmla="*/ 19 h 19"/>
                      <a:gd name="T2" fmla="*/ 0 w 19"/>
                      <a:gd name="T3" fmla="*/ 9 h 19"/>
                      <a:gd name="T4" fmla="*/ 9 w 19"/>
                      <a:gd name="T5" fmla="*/ 0 h 19"/>
                      <a:gd name="T6" fmla="*/ 19 w 19"/>
                      <a:gd name="T7" fmla="*/ 9 h 19"/>
                      <a:gd name="T8" fmla="*/ 10 w 19"/>
                      <a:gd name="T9" fmla="*/ 19 h 19"/>
                    </a:gdLst>
                    <a:ahLst/>
                    <a:cxnLst>
                      <a:cxn ang="0">
                        <a:pos x="T0" y="T1"/>
                      </a:cxn>
                      <a:cxn ang="0">
                        <a:pos x="T2" y="T3"/>
                      </a:cxn>
                      <a:cxn ang="0">
                        <a:pos x="T4" y="T5"/>
                      </a:cxn>
                      <a:cxn ang="0">
                        <a:pos x="T6" y="T7"/>
                      </a:cxn>
                      <a:cxn ang="0">
                        <a:pos x="T8" y="T9"/>
                      </a:cxn>
                    </a:cxnLst>
                    <a:rect l="0" t="0" r="r" b="b"/>
                    <a:pathLst>
                      <a:path w="19" h="19">
                        <a:moveTo>
                          <a:pt x="10" y="19"/>
                        </a:moveTo>
                        <a:cubicBezTo>
                          <a:pt x="5" y="19"/>
                          <a:pt x="0" y="15"/>
                          <a:pt x="0" y="9"/>
                        </a:cubicBezTo>
                        <a:cubicBezTo>
                          <a:pt x="0" y="4"/>
                          <a:pt x="3" y="0"/>
                          <a:pt x="9" y="0"/>
                        </a:cubicBezTo>
                        <a:cubicBezTo>
                          <a:pt x="14" y="0"/>
                          <a:pt x="19" y="4"/>
                          <a:pt x="19" y="9"/>
                        </a:cubicBezTo>
                        <a:cubicBezTo>
                          <a:pt x="19" y="15"/>
                          <a:pt x="15" y="19"/>
                          <a:pt x="10" y="19"/>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49" name="Freeform 250"/>
                  <p:cNvSpPr>
                    <a:spLocks/>
                  </p:cNvSpPr>
                  <p:nvPr/>
                </p:nvSpPr>
                <p:spPr bwMode="auto">
                  <a:xfrm rot="5400000">
                    <a:off x="10521925" y="1656056"/>
                    <a:ext cx="88776" cy="86020"/>
                  </a:xfrm>
                  <a:custGeom>
                    <a:avLst/>
                    <a:gdLst>
                      <a:gd name="T0" fmla="*/ 81 w 81"/>
                      <a:gd name="T1" fmla="*/ 73 h 76"/>
                      <a:gd name="T2" fmla="*/ 43 w 81"/>
                      <a:gd name="T3" fmla="*/ 9 h 76"/>
                      <a:gd name="T4" fmla="*/ 1 w 81"/>
                      <a:gd name="T5" fmla="*/ 0 h 76"/>
                      <a:gd name="T6" fmla="*/ 0 w 81"/>
                      <a:gd name="T7" fmla="*/ 2 h 76"/>
                      <a:gd name="T8" fmla="*/ 0 w 81"/>
                      <a:gd name="T9" fmla="*/ 11 h 76"/>
                      <a:gd name="T10" fmla="*/ 1 w 81"/>
                      <a:gd name="T11" fmla="*/ 13 h 76"/>
                      <a:gd name="T12" fmla="*/ 36 w 81"/>
                      <a:gd name="T13" fmla="*/ 21 h 76"/>
                      <a:gd name="T14" fmla="*/ 68 w 81"/>
                      <a:gd name="T15" fmla="*/ 75 h 76"/>
                      <a:gd name="T16" fmla="*/ 69 w 81"/>
                      <a:gd name="T17" fmla="*/ 76 h 76"/>
                      <a:gd name="T18" fmla="*/ 80 w 81"/>
                      <a:gd name="T19" fmla="*/ 75 h 76"/>
                      <a:gd name="T20" fmla="*/ 81 w 81"/>
                      <a:gd name="T21"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 h="76">
                        <a:moveTo>
                          <a:pt x="81" y="73"/>
                        </a:moveTo>
                        <a:cubicBezTo>
                          <a:pt x="80" y="38"/>
                          <a:pt x="61" y="18"/>
                          <a:pt x="43" y="9"/>
                        </a:cubicBezTo>
                        <a:cubicBezTo>
                          <a:pt x="24" y="0"/>
                          <a:pt x="6" y="0"/>
                          <a:pt x="1" y="0"/>
                        </a:cubicBezTo>
                        <a:cubicBezTo>
                          <a:pt x="1" y="0"/>
                          <a:pt x="0" y="1"/>
                          <a:pt x="0" y="2"/>
                        </a:cubicBezTo>
                        <a:cubicBezTo>
                          <a:pt x="0" y="2"/>
                          <a:pt x="0" y="11"/>
                          <a:pt x="0" y="11"/>
                        </a:cubicBezTo>
                        <a:cubicBezTo>
                          <a:pt x="0" y="13"/>
                          <a:pt x="0" y="13"/>
                          <a:pt x="1" y="13"/>
                        </a:cubicBezTo>
                        <a:cubicBezTo>
                          <a:pt x="6" y="12"/>
                          <a:pt x="21" y="13"/>
                          <a:pt x="36" y="21"/>
                        </a:cubicBezTo>
                        <a:cubicBezTo>
                          <a:pt x="52" y="30"/>
                          <a:pt x="67" y="46"/>
                          <a:pt x="68" y="75"/>
                        </a:cubicBezTo>
                        <a:cubicBezTo>
                          <a:pt x="68" y="76"/>
                          <a:pt x="68" y="76"/>
                          <a:pt x="69" y="76"/>
                        </a:cubicBezTo>
                        <a:cubicBezTo>
                          <a:pt x="70" y="76"/>
                          <a:pt x="79" y="75"/>
                          <a:pt x="80" y="75"/>
                        </a:cubicBezTo>
                        <a:cubicBezTo>
                          <a:pt x="81" y="75"/>
                          <a:pt x="81" y="75"/>
                          <a:pt x="81" y="73"/>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50" name="Freeform 251"/>
                  <p:cNvSpPr>
                    <a:spLocks/>
                  </p:cNvSpPr>
                  <p:nvPr/>
                </p:nvSpPr>
                <p:spPr bwMode="auto">
                  <a:xfrm rot="5400000">
                    <a:off x="10518315" y="1655139"/>
                    <a:ext cx="56758" cy="55838"/>
                  </a:xfrm>
                  <a:custGeom>
                    <a:avLst/>
                    <a:gdLst>
                      <a:gd name="T0" fmla="*/ 52 w 52"/>
                      <a:gd name="T1" fmla="*/ 46 h 49"/>
                      <a:gd name="T2" fmla="*/ 1 w 52"/>
                      <a:gd name="T3" fmla="*/ 0 h 49"/>
                      <a:gd name="T4" fmla="*/ 0 w 52"/>
                      <a:gd name="T5" fmla="*/ 1 h 49"/>
                      <a:gd name="T6" fmla="*/ 0 w 52"/>
                      <a:gd name="T7" fmla="*/ 12 h 49"/>
                      <a:gd name="T8" fmla="*/ 1 w 52"/>
                      <a:gd name="T9" fmla="*/ 14 h 49"/>
                      <a:gd name="T10" fmla="*/ 38 w 52"/>
                      <a:gd name="T11" fmla="*/ 47 h 49"/>
                      <a:gd name="T12" fmla="*/ 40 w 52"/>
                      <a:gd name="T13" fmla="*/ 49 h 49"/>
                      <a:gd name="T14" fmla="*/ 50 w 52"/>
                      <a:gd name="T15" fmla="*/ 48 h 49"/>
                      <a:gd name="T16" fmla="*/ 52 w 52"/>
                      <a:gd name="T17" fmla="*/ 4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9">
                        <a:moveTo>
                          <a:pt x="52" y="46"/>
                        </a:moveTo>
                        <a:cubicBezTo>
                          <a:pt x="49" y="10"/>
                          <a:pt x="18" y="0"/>
                          <a:pt x="1" y="0"/>
                        </a:cubicBezTo>
                        <a:cubicBezTo>
                          <a:pt x="0" y="0"/>
                          <a:pt x="0" y="0"/>
                          <a:pt x="0" y="1"/>
                        </a:cubicBezTo>
                        <a:cubicBezTo>
                          <a:pt x="0" y="2"/>
                          <a:pt x="0" y="11"/>
                          <a:pt x="0" y="12"/>
                        </a:cubicBezTo>
                        <a:cubicBezTo>
                          <a:pt x="0" y="13"/>
                          <a:pt x="0" y="14"/>
                          <a:pt x="1" y="14"/>
                        </a:cubicBezTo>
                        <a:cubicBezTo>
                          <a:pt x="10" y="14"/>
                          <a:pt x="34" y="19"/>
                          <a:pt x="38" y="47"/>
                        </a:cubicBezTo>
                        <a:cubicBezTo>
                          <a:pt x="38" y="48"/>
                          <a:pt x="38" y="49"/>
                          <a:pt x="40" y="49"/>
                        </a:cubicBezTo>
                        <a:cubicBezTo>
                          <a:pt x="40" y="49"/>
                          <a:pt x="50" y="48"/>
                          <a:pt x="50" y="48"/>
                        </a:cubicBezTo>
                        <a:cubicBezTo>
                          <a:pt x="52" y="48"/>
                          <a:pt x="52" y="47"/>
                          <a:pt x="52" y="46"/>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grpSp>
            <p:sp>
              <p:nvSpPr>
                <p:cNvPr id="638" name="Freeform 252"/>
                <p:cNvSpPr>
                  <a:spLocks/>
                </p:cNvSpPr>
                <p:nvPr/>
              </p:nvSpPr>
              <p:spPr bwMode="auto">
                <a:xfrm rot="5400000">
                  <a:off x="11863849" y="1222685"/>
                  <a:ext cx="217066" cy="368231"/>
                </a:xfrm>
                <a:custGeom>
                  <a:avLst/>
                  <a:gdLst>
                    <a:gd name="T0" fmla="*/ 340 w 340"/>
                    <a:gd name="T1" fmla="*/ 2 h 200"/>
                    <a:gd name="T2" fmla="*/ 340 w 340"/>
                    <a:gd name="T3" fmla="*/ 200 h 200"/>
                    <a:gd name="T4" fmla="*/ 1 w 340"/>
                    <a:gd name="T5" fmla="*/ 200 h 200"/>
                    <a:gd name="T6" fmla="*/ 0 w 340"/>
                    <a:gd name="T7" fmla="*/ 0 h 200"/>
                    <a:gd name="T8" fmla="*/ 340 w 340"/>
                    <a:gd name="T9" fmla="*/ 2 h 200"/>
                    <a:gd name="T10" fmla="*/ 340 w 340"/>
                    <a:gd name="T11" fmla="*/ 2 h 200"/>
                  </a:gdLst>
                  <a:ahLst/>
                  <a:cxnLst>
                    <a:cxn ang="0">
                      <a:pos x="T0" y="T1"/>
                    </a:cxn>
                    <a:cxn ang="0">
                      <a:pos x="T2" y="T3"/>
                    </a:cxn>
                    <a:cxn ang="0">
                      <a:pos x="T4" y="T5"/>
                    </a:cxn>
                    <a:cxn ang="0">
                      <a:pos x="T6" y="T7"/>
                    </a:cxn>
                    <a:cxn ang="0">
                      <a:pos x="T8" y="T9"/>
                    </a:cxn>
                    <a:cxn ang="0">
                      <a:pos x="T10" y="T11"/>
                    </a:cxn>
                  </a:cxnLst>
                  <a:rect l="0" t="0" r="r" b="b"/>
                  <a:pathLst>
                    <a:path w="340" h="200">
                      <a:moveTo>
                        <a:pt x="340" y="2"/>
                      </a:moveTo>
                      <a:cubicBezTo>
                        <a:pt x="340" y="200"/>
                        <a:pt x="340" y="200"/>
                        <a:pt x="340" y="200"/>
                      </a:cubicBezTo>
                      <a:cubicBezTo>
                        <a:pt x="1" y="200"/>
                        <a:pt x="1" y="200"/>
                        <a:pt x="1" y="200"/>
                      </a:cubicBezTo>
                      <a:cubicBezTo>
                        <a:pt x="1" y="134"/>
                        <a:pt x="0" y="0"/>
                        <a:pt x="0" y="0"/>
                      </a:cubicBezTo>
                      <a:cubicBezTo>
                        <a:pt x="340" y="2"/>
                        <a:pt x="340" y="2"/>
                        <a:pt x="340" y="2"/>
                      </a:cubicBezTo>
                      <a:cubicBezTo>
                        <a:pt x="340" y="2"/>
                        <a:pt x="340" y="2"/>
                        <a:pt x="340" y="2"/>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grpSp>
              <p:nvGrpSpPr>
                <p:cNvPr id="639" name="Group 638"/>
                <p:cNvGrpSpPr/>
                <p:nvPr/>
              </p:nvGrpSpPr>
              <p:grpSpPr>
                <a:xfrm rot="16200000">
                  <a:off x="11860368" y="1212586"/>
                  <a:ext cx="241462" cy="385663"/>
                  <a:chOff x="11866434" y="1203525"/>
                  <a:chExt cx="241462" cy="385663"/>
                </a:xfrm>
              </p:grpSpPr>
              <p:sp>
                <p:nvSpPr>
                  <p:cNvPr id="645" name="Freeform 253"/>
                  <p:cNvSpPr>
                    <a:spLocks noEditPoints="1"/>
                  </p:cNvSpPr>
                  <p:nvPr/>
                </p:nvSpPr>
                <p:spPr bwMode="auto">
                  <a:xfrm rot="5400000">
                    <a:off x="11794333" y="1275626"/>
                    <a:ext cx="385663" cy="241462"/>
                  </a:xfrm>
                  <a:custGeom>
                    <a:avLst/>
                    <a:gdLst>
                      <a:gd name="T0" fmla="*/ 346 w 352"/>
                      <a:gd name="T1" fmla="*/ 212 h 212"/>
                      <a:gd name="T2" fmla="*/ 7 w 352"/>
                      <a:gd name="T3" fmla="*/ 212 h 212"/>
                      <a:gd name="T4" fmla="*/ 1 w 352"/>
                      <a:gd name="T5" fmla="*/ 206 h 212"/>
                      <a:gd name="T6" fmla="*/ 0 w 352"/>
                      <a:gd name="T7" fmla="*/ 6 h 212"/>
                      <a:gd name="T8" fmla="*/ 2 w 352"/>
                      <a:gd name="T9" fmla="*/ 2 h 212"/>
                      <a:gd name="T10" fmla="*/ 6 w 352"/>
                      <a:gd name="T11" fmla="*/ 0 h 212"/>
                      <a:gd name="T12" fmla="*/ 6 w 352"/>
                      <a:gd name="T13" fmla="*/ 0 h 212"/>
                      <a:gd name="T14" fmla="*/ 346 w 352"/>
                      <a:gd name="T15" fmla="*/ 2 h 212"/>
                      <a:gd name="T16" fmla="*/ 352 w 352"/>
                      <a:gd name="T17" fmla="*/ 8 h 212"/>
                      <a:gd name="T18" fmla="*/ 352 w 352"/>
                      <a:gd name="T19" fmla="*/ 206 h 212"/>
                      <a:gd name="T20" fmla="*/ 346 w 352"/>
                      <a:gd name="T21" fmla="*/ 212 h 212"/>
                      <a:gd name="T22" fmla="*/ 13 w 352"/>
                      <a:gd name="T23" fmla="*/ 200 h 212"/>
                      <a:gd name="T24" fmla="*/ 340 w 352"/>
                      <a:gd name="T25" fmla="*/ 200 h 212"/>
                      <a:gd name="T26" fmla="*/ 340 w 352"/>
                      <a:gd name="T27" fmla="*/ 14 h 212"/>
                      <a:gd name="T28" fmla="*/ 12 w 352"/>
                      <a:gd name="T29" fmla="*/ 12 h 212"/>
                      <a:gd name="T30" fmla="*/ 13 w 352"/>
                      <a:gd name="T31" fmla="*/ 20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2" h="212">
                        <a:moveTo>
                          <a:pt x="346" y="212"/>
                        </a:moveTo>
                        <a:cubicBezTo>
                          <a:pt x="7" y="212"/>
                          <a:pt x="7" y="212"/>
                          <a:pt x="7" y="212"/>
                        </a:cubicBezTo>
                        <a:cubicBezTo>
                          <a:pt x="4" y="212"/>
                          <a:pt x="1" y="209"/>
                          <a:pt x="1" y="206"/>
                        </a:cubicBezTo>
                        <a:cubicBezTo>
                          <a:pt x="1" y="141"/>
                          <a:pt x="0" y="7"/>
                          <a:pt x="0" y="6"/>
                        </a:cubicBezTo>
                        <a:cubicBezTo>
                          <a:pt x="0" y="4"/>
                          <a:pt x="1" y="3"/>
                          <a:pt x="2" y="2"/>
                        </a:cubicBezTo>
                        <a:cubicBezTo>
                          <a:pt x="3" y="1"/>
                          <a:pt x="5" y="0"/>
                          <a:pt x="6" y="0"/>
                        </a:cubicBezTo>
                        <a:cubicBezTo>
                          <a:pt x="6" y="0"/>
                          <a:pt x="6" y="0"/>
                          <a:pt x="6" y="0"/>
                        </a:cubicBezTo>
                        <a:cubicBezTo>
                          <a:pt x="346" y="2"/>
                          <a:pt x="346" y="2"/>
                          <a:pt x="346" y="2"/>
                        </a:cubicBezTo>
                        <a:cubicBezTo>
                          <a:pt x="349" y="2"/>
                          <a:pt x="352" y="5"/>
                          <a:pt x="352" y="8"/>
                        </a:cubicBezTo>
                        <a:cubicBezTo>
                          <a:pt x="352" y="206"/>
                          <a:pt x="352" y="206"/>
                          <a:pt x="352" y="206"/>
                        </a:cubicBezTo>
                        <a:cubicBezTo>
                          <a:pt x="352" y="209"/>
                          <a:pt x="349" y="212"/>
                          <a:pt x="346" y="212"/>
                        </a:cubicBezTo>
                        <a:close/>
                        <a:moveTo>
                          <a:pt x="13" y="200"/>
                        </a:moveTo>
                        <a:cubicBezTo>
                          <a:pt x="340" y="200"/>
                          <a:pt x="340" y="200"/>
                          <a:pt x="340" y="200"/>
                        </a:cubicBezTo>
                        <a:cubicBezTo>
                          <a:pt x="340" y="14"/>
                          <a:pt x="340" y="14"/>
                          <a:pt x="340" y="14"/>
                        </a:cubicBezTo>
                        <a:cubicBezTo>
                          <a:pt x="12" y="12"/>
                          <a:pt x="12" y="12"/>
                          <a:pt x="12" y="12"/>
                        </a:cubicBezTo>
                        <a:cubicBezTo>
                          <a:pt x="12" y="38"/>
                          <a:pt x="13" y="142"/>
                          <a:pt x="13" y="200"/>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46" name="Freeform 254"/>
                  <p:cNvSpPr>
                    <a:spLocks noEditPoints="1"/>
                  </p:cNvSpPr>
                  <p:nvPr/>
                </p:nvSpPr>
                <p:spPr bwMode="auto">
                  <a:xfrm rot="5400000">
                    <a:off x="11895210" y="1352244"/>
                    <a:ext cx="209568" cy="188642"/>
                  </a:xfrm>
                  <a:custGeom>
                    <a:avLst/>
                    <a:gdLst>
                      <a:gd name="T0" fmla="*/ 157 w 192"/>
                      <a:gd name="T1" fmla="*/ 26 h 165"/>
                      <a:gd name="T2" fmla="*/ 139 w 192"/>
                      <a:gd name="T3" fmla="*/ 31 h 165"/>
                      <a:gd name="T4" fmla="*/ 90 w 192"/>
                      <a:gd name="T5" fmla="*/ 0 h 165"/>
                      <a:gd name="T6" fmla="*/ 38 w 192"/>
                      <a:gd name="T7" fmla="*/ 43 h 165"/>
                      <a:gd name="T8" fmla="*/ 27 w 192"/>
                      <a:gd name="T9" fmla="*/ 40 h 165"/>
                      <a:gd name="T10" fmla="*/ 0 w 192"/>
                      <a:gd name="T11" fmla="*/ 68 h 165"/>
                      <a:gd name="T12" fmla="*/ 27 w 192"/>
                      <a:gd name="T13" fmla="*/ 95 h 165"/>
                      <a:gd name="T14" fmla="*/ 157 w 192"/>
                      <a:gd name="T15" fmla="*/ 95 h 165"/>
                      <a:gd name="T16" fmla="*/ 192 w 192"/>
                      <a:gd name="T17" fmla="*/ 61 h 165"/>
                      <a:gd name="T18" fmla="*/ 157 w 192"/>
                      <a:gd name="T19" fmla="*/ 26 h 165"/>
                      <a:gd name="T20" fmla="*/ 125 w 192"/>
                      <a:gd name="T21" fmla="*/ 105 h 165"/>
                      <a:gd name="T22" fmla="*/ 115 w 192"/>
                      <a:gd name="T23" fmla="*/ 105 h 165"/>
                      <a:gd name="T24" fmla="*/ 115 w 192"/>
                      <a:gd name="T25" fmla="*/ 137 h 165"/>
                      <a:gd name="T26" fmla="*/ 96 w 192"/>
                      <a:gd name="T27" fmla="*/ 152 h 165"/>
                      <a:gd name="T28" fmla="*/ 77 w 192"/>
                      <a:gd name="T29" fmla="*/ 137 h 165"/>
                      <a:gd name="T30" fmla="*/ 77 w 192"/>
                      <a:gd name="T31" fmla="*/ 105 h 165"/>
                      <a:gd name="T32" fmla="*/ 67 w 192"/>
                      <a:gd name="T33" fmla="*/ 105 h 165"/>
                      <a:gd name="T34" fmla="*/ 67 w 192"/>
                      <a:gd name="T35" fmla="*/ 131 h 165"/>
                      <a:gd name="T36" fmla="*/ 52 w 192"/>
                      <a:gd name="T37" fmla="*/ 131 h 165"/>
                      <a:gd name="T38" fmla="*/ 96 w 192"/>
                      <a:gd name="T39" fmla="*/ 165 h 165"/>
                      <a:gd name="T40" fmla="*/ 139 w 192"/>
                      <a:gd name="T41" fmla="*/ 131 h 165"/>
                      <a:gd name="T42" fmla="*/ 125 w 192"/>
                      <a:gd name="T43" fmla="*/ 131 h 165"/>
                      <a:gd name="T44" fmla="*/ 125 w 192"/>
                      <a:gd name="T45" fmla="*/ 105 h 165"/>
                      <a:gd name="T46" fmla="*/ 125 w 192"/>
                      <a:gd name="T47" fmla="*/ 10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65">
                        <a:moveTo>
                          <a:pt x="157" y="26"/>
                        </a:moveTo>
                        <a:cubicBezTo>
                          <a:pt x="150" y="26"/>
                          <a:pt x="144" y="28"/>
                          <a:pt x="139" y="31"/>
                        </a:cubicBezTo>
                        <a:cubicBezTo>
                          <a:pt x="130" y="13"/>
                          <a:pt x="112" y="0"/>
                          <a:pt x="90" y="0"/>
                        </a:cubicBezTo>
                        <a:cubicBezTo>
                          <a:pt x="65" y="0"/>
                          <a:pt x="43" y="18"/>
                          <a:pt x="38" y="43"/>
                        </a:cubicBezTo>
                        <a:cubicBezTo>
                          <a:pt x="35" y="41"/>
                          <a:pt x="31" y="40"/>
                          <a:pt x="27" y="40"/>
                        </a:cubicBezTo>
                        <a:cubicBezTo>
                          <a:pt x="12" y="40"/>
                          <a:pt x="0" y="53"/>
                          <a:pt x="0" y="68"/>
                        </a:cubicBezTo>
                        <a:cubicBezTo>
                          <a:pt x="0" y="83"/>
                          <a:pt x="12" y="95"/>
                          <a:pt x="27" y="95"/>
                        </a:cubicBezTo>
                        <a:cubicBezTo>
                          <a:pt x="157" y="95"/>
                          <a:pt x="157" y="95"/>
                          <a:pt x="157" y="95"/>
                        </a:cubicBezTo>
                        <a:cubicBezTo>
                          <a:pt x="176" y="95"/>
                          <a:pt x="192" y="80"/>
                          <a:pt x="192" y="61"/>
                        </a:cubicBezTo>
                        <a:cubicBezTo>
                          <a:pt x="192" y="42"/>
                          <a:pt x="176" y="26"/>
                          <a:pt x="157" y="26"/>
                        </a:cubicBezTo>
                        <a:close/>
                        <a:moveTo>
                          <a:pt x="125" y="105"/>
                        </a:moveTo>
                        <a:cubicBezTo>
                          <a:pt x="115" y="105"/>
                          <a:pt x="115" y="105"/>
                          <a:pt x="115" y="105"/>
                        </a:cubicBezTo>
                        <a:cubicBezTo>
                          <a:pt x="115" y="137"/>
                          <a:pt x="115" y="137"/>
                          <a:pt x="115" y="137"/>
                        </a:cubicBezTo>
                        <a:cubicBezTo>
                          <a:pt x="96" y="152"/>
                          <a:pt x="96" y="152"/>
                          <a:pt x="96" y="152"/>
                        </a:cubicBezTo>
                        <a:cubicBezTo>
                          <a:pt x="77" y="137"/>
                          <a:pt x="77" y="137"/>
                          <a:pt x="77" y="137"/>
                        </a:cubicBezTo>
                        <a:cubicBezTo>
                          <a:pt x="77" y="105"/>
                          <a:pt x="77" y="105"/>
                          <a:pt x="77" y="105"/>
                        </a:cubicBezTo>
                        <a:cubicBezTo>
                          <a:pt x="67" y="105"/>
                          <a:pt x="67" y="105"/>
                          <a:pt x="67" y="105"/>
                        </a:cubicBezTo>
                        <a:cubicBezTo>
                          <a:pt x="67" y="131"/>
                          <a:pt x="67" y="131"/>
                          <a:pt x="67" y="131"/>
                        </a:cubicBezTo>
                        <a:cubicBezTo>
                          <a:pt x="52" y="131"/>
                          <a:pt x="52" y="131"/>
                          <a:pt x="52" y="131"/>
                        </a:cubicBezTo>
                        <a:cubicBezTo>
                          <a:pt x="96" y="165"/>
                          <a:pt x="96" y="165"/>
                          <a:pt x="96" y="165"/>
                        </a:cubicBezTo>
                        <a:cubicBezTo>
                          <a:pt x="139" y="131"/>
                          <a:pt x="139" y="131"/>
                          <a:pt x="139" y="131"/>
                        </a:cubicBezTo>
                        <a:cubicBezTo>
                          <a:pt x="125" y="131"/>
                          <a:pt x="125" y="131"/>
                          <a:pt x="125" y="131"/>
                        </a:cubicBezTo>
                        <a:cubicBezTo>
                          <a:pt x="125" y="105"/>
                          <a:pt x="125" y="105"/>
                          <a:pt x="125" y="105"/>
                        </a:cubicBezTo>
                        <a:cubicBezTo>
                          <a:pt x="125" y="105"/>
                          <a:pt x="125" y="105"/>
                          <a:pt x="125" y="105"/>
                        </a:cubicBezTo>
                        <a:close/>
                      </a:path>
                    </a:pathLst>
                  </a:custGeom>
                  <a:solidFill>
                    <a:srgbClr val="DA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47" name="Freeform 255"/>
                  <p:cNvSpPr>
                    <a:spLocks noEditPoints="1"/>
                  </p:cNvSpPr>
                  <p:nvPr/>
                </p:nvSpPr>
                <p:spPr bwMode="auto">
                  <a:xfrm rot="5400000">
                    <a:off x="11896345" y="1249129"/>
                    <a:ext cx="107695" cy="95075"/>
                  </a:xfrm>
                  <a:custGeom>
                    <a:avLst/>
                    <a:gdLst>
                      <a:gd name="T0" fmla="*/ 95 w 98"/>
                      <a:gd name="T1" fmla="*/ 0 h 83"/>
                      <a:gd name="T2" fmla="*/ 3 w 98"/>
                      <a:gd name="T3" fmla="*/ 0 h 83"/>
                      <a:gd name="T4" fmla="*/ 0 w 98"/>
                      <a:gd name="T5" fmla="*/ 3 h 83"/>
                      <a:gd name="T6" fmla="*/ 0 w 98"/>
                      <a:gd name="T7" fmla="*/ 69 h 83"/>
                      <a:gd name="T8" fmla="*/ 3 w 98"/>
                      <a:gd name="T9" fmla="*/ 72 h 83"/>
                      <a:gd name="T10" fmla="*/ 33 w 98"/>
                      <a:gd name="T11" fmla="*/ 72 h 83"/>
                      <a:gd name="T12" fmla="*/ 33 w 98"/>
                      <a:gd name="T13" fmla="*/ 77 h 83"/>
                      <a:gd name="T14" fmla="*/ 27 w 98"/>
                      <a:gd name="T15" fmla="*/ 83 h 83"/>
                      <a:gd name="T16" fmla="*/ 73 w 98"/>
                      <a:gd name="T17" fmla="*/ 83 h 83"/>
                      <a:gd name="T18" fmla="*/ 67 w 98"/>
                      <a:gd name="T19" fmla="*/ 77 h 83"/>
                      <a:gd name="T20" fmla="*/ 67 w 98"/>
                      <a:gd name="T21" fmla="*/ 72 h 83"/>
                      <a:gd name="T22" fmla="*/ 95 w 98"/>
                      <a:gd name="T23" fmla="*/ 72 h 83"/>
                      <a:gd name="T24" fmla="*/ 98 w 98"/>
                      <a:gd name="T25" fmla="*/ 69 h 83"/>
                      <a:gd name="T26" fmla="*/ 98 w 98"/>
                      <a:gd name="T27" fmla="*/ 3 h 83"/>
                      <a:gd name="T28" fmla="*/ 95 w 98"/>
                      <a:gd name="T29" fmla="*/ 0 h 83"/>
                      <a:gd name="T30" fmla="*/ 93 w 98"/>
                      <a:gd name="T31" fmla="*/ 64 h 83"/>
                      <a:gd name="T32" fmla="*/ 90 w 98"/>
                      <a:gd name="T33" fmla="*/ 67 h 83"/>
                      <a:gd name="T34" fmla="*/ 8 w 98"/>
                      <a:gd name="T35" fmla="*/ 67 h 83"/>
                      <a:gd name="T36" fmla="*/ 6 w 98"/>
                      <a:gd name="T37" fmla="*/ 64 h 83"/>
                      <a:gd name="T38" fmla="*/ 6 w 98"/>
                      <a:gd name="T39" fmla="*/ 8 h 83"/>
                      <a:gd name="T40" fmla="*/ 8 w 98"/>
                      <a:gd name="T41" fmla="*/ 5 h 83"/>
                      <a:gd name="T42" fmla="*/ 90 w 98"/>
                      <a:gd name="T43" fmla="*/ 5 h 83"/>
                      <a:gd name="T44" fmla="*/ 93 w 98"/>
                      <a:gd name="T45" fmla="*/ 8 h 83"/>
                      <a:gd name="T46" fmla="*/ 93 w 98"/>
                      <a:gd name="T47" fmla="*/ 64 h 83"/>
                      <a:gd name="T48" fmla="*/ 93 w 98"/>
                      <a:gd name="T49" fmla="*/ 64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8" h="83">
                        <a:moveTo>
                          <a:pt x="95" y="0"/>
                        </a:moveTo>
                        <a:cubicBezTo>
                          <a:pt x="3" y="0"/>
                          <a:pt x="3" y="0"/>
                          <a:pt x="3" y="0"/>
                        </a:cubicBezTo>
                        <a:cubicBezTo>
                          <a:pt x="1" y="0"/>
                          <a:pt x="0" y="1"/>
                          <a:pt x="0" y="3"/>
                        </a:cubicBezTo>
                        <a:cubicBezTo>
                          <a:pt x="0" y="69"/>
                          <a:pt x="0" y="69"/>
                          <a:pt x="0" y="69"/>
                        </a:cubicBezTo>
                        <a:cubicBezTo>
                          <a:pt x="0" y="71"/>
                          <a:pt x="1" y="72"/>
                          <a:pt x="3" y="72"/>
                        </a:cubicBezTo>
                        <a:cubicBezTo>
                          <a:pt x="33" y="72"/>
                          <a:pt x="33" y="72"/>
                          <a:pt x="33" y="72"/>
                        </a:cubicBezTo>
                        <a:cubicBezTo>
                          <a:pt x="33" y="77"/>
                          <a:pt x="33" y="77"/>
                          <a:pt x="33" y="77"/>
                        </a:cubicBezTo>
                        <a:cubicBezTo>
                          <a:pt x="27" y="83"/>
                          <a:pt x="27" y="83"/>
                          <a:pt x="27" y="83"/>
                        </a:cubicBezTo>
                        <a:cubicBezTo>
                          <a:pt x="73" y="83"/>
                          <a:pt x="73" y="83"/>
                          <a:pt x="73" y="83"/>
                        </a:cubicBezTo>
                        <a:cubicBezTo>
                          <a:pt x="67" y="77"/>
                          <a:pt x="67" y="77"/>
                          <a:pt x="67" y="77"/>
                        </a:cubicBezTo>
                        <a:cubicBezTo>
                          <a:pt x="67" y="72"/>
                          <a:pt x="67" y="72"/>
                          <a:pt x="67" y="72"/>
                        </a:cubicBezTo>
                        <a:cubicBezTo>
                          <a:pt x="95" y="72"/>
                          <a:pt x="95" y="72"/>
                          <a:pt x="95" y="72"/>
                        </a:cubicBezTo>
                        <a:cubicBezTo>
                          <a:pt x="97" y="72"/>
                          <a:pt x="98" y="71"/>
                          <a:pt x="98" y="69"/>
                        </a:cubicBezTo>
                        <a:cubicBezTo>
                          <a:pt x="98" y="3"/>
                          <a:pt x="98" y="3"/>
                          <a:pt x="98" y="3"/>
                        </a:cubicBezTo>
                        <a:cubicBezTo>
                          <a:pt x="98" y="1"/>
                          <a:pt x="97" y="0"/>
                          <a:pt x="95" y="0"/>
                        </a:cubicBezTo>
                        <a:close/>
                        <a:moveTo>
                          <a:pt x="93" y="64"/>
                        </a:moveTo>
                        <a:cubicBezTo>
                          <a:pt x="93" y="66"/>
                          <a:pt x="91" y="67"/>
                          <a:pt x="90" y="67"/>
                        </a:cubicBezTo>
                        <a:cubicBezTo>
                          <a:pt x="8" y="67"/>
                          <a:pt x="8" y="67"/>
                          <a:pt x="8" y="67"/>
                        </a:cubicBezTo>
                        <a:cubicBezTo>
                          <a:pt x="7" y="67"/>
                          <a:pt x="6" y="66"/>
                          <a:pt x="6" y="64"/>
                        </a:cubicBezTo>
                        <a:cubicBezTo>
                          <a:pt x="6" y="8"/>
                          <a:pt x="6" y="8"/>
                          <a:pt x="6" y="8"/>
                        </a:cubicBezTo>
                        <a:cubicBezTo>
                          <a:pt x="6" y="6"/>
                          <a:pt x="7" y="5"/>
                          <a:pt x="8" y="5"/>
                        </a:cubicBezTo>
                        <a:cubicBezTo>
                          <a:pt x="90" y="5"/>
                          <a:pt x="90" y="5"/>
                          <a:pt x="90" y="5"/>
                        </a:cubicBezTo>
                        <a:cubicBezTo>
                          <a:pt x="91" y="5"/>
                          <a:pt x="93" y="6"/>
                          <a:pt x="93" y="8"/>
                        </a:cubicBezTo>
                        <a:cubicBezTo>
                          <a:pt x="93" y="64"/>
                          <a:pt x="93" y="64"/>
                          <a:pt x="93" y="64"/>
                        </a:cubicBezTo>
                        <a:cubicBezTo>
                          <a:pt x="93" y="64"/>
                          <a:pt x="93" y="64"/>
                          <a:pt x="93" y="64"/>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grpSp>
            <p:sp>
              <p:nvSpPr>
                <p:cNvPr id="640" name="Freeform 256"/>
                <p:cNvSpPr>
                  <a:spLocks/>
                </p:cNvSpPr>
                <p:nvPr/>
              </p:nvSpPr>
              <p:spPr bwMode="auto">
                <a:xfrm rot="5400000">
                  <a:off x="11859127" y="1846436"/>
                  <a:ext cx="135346" cy="141859"/>
                </a:xfrm>
                <a:custGeom>
                  <a:avLst/>
                  <a:gdLst>
                    <a:gd name="T0" fmla="*/ 93 w 93"/>
                    <a:gd name="T1" fmla="*/ 23 h 94"/>
                    <a:gd name="T2" fmla="*/ 46 w 93"/>
                    <a:gd name="T3" fmla="*/ 23 h 94"/>
                    <a:gd name="T4" fmla="*/ 46 w 93"/>
                    <a:gd name="T5" fmla="*/ 0 h 94"/>
                    <a:gd name="T6" fmla="*/ 0 w 93"/>
                    <a:gd name="T7" fmla="*/ 47 h 94"/>
                    <a:gd name="T8" fmla="*/ 46 w 93"/>
                    <a:gd name="T9" fmla="*/ 94 h 94"/>
                    <a:gd name="T10" fmla="*/ 46 w 93"/>
                    <a:gd name="T11" fmla="*/ 70 h 94"/>
                    <a:gd name="T12" fmla="*/ 93 w 93"/>
                    <a:gd name="T13" fmla="*/ 70 h 94"/>
                    <a:gd name="T14" fmla="*/ 93 w 93"/>
                    <a:gd name="T15" fmla="*/ 23 h 94"/>
                    <a:gd name="T16" fmla="*/ 93 w 93"/>
                    <a:gd name="T17" fmla="*/ 2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94">
                      <a:moveTo>
                        <a:pt x="93" y="23"/>
                      </a:moveTo>
                      <a:lnTo>
                        <a:pt x="46" y="23"/>
                      </a:lnTo>
                      <a:lnTo>
                        <a:pt x="46" y="0"/>
                      </a:lnTo>
                      <a:lnTo>
                        <a:pt x="0" y="47"/>
                      </a:lnTo>
                      <a:lnTo>
                        <a:pt x="46" y="94"/>
                      </a:lnTo>
                      <a:lnTo>
                        <a:pt x="46" y="70"/>
                      </a:lnTo>
                      <a:lnTo>
                        <a:pt x="93" y="70"/>
                      </a:lnTo>
                      <a:lnTo>
                        <a:pt x="93" y="23"/>
                      </a:lnTo>
                      <a:lnTo>
                        <a:pt x="93" y="23"/>
                      </a:ln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grpSp>
              <p:nvGrpSpPr>
                <p:cNvPr id="641" name="Group 640"/>
                <p:cNvGrpSpPr/>
                <p:nvPr/>
              </p:nvGrpSpPr>
              <p:grpSpPr>
                <a:xfrm rot="16200000">
                  <a:off x="10847771" y="1945572"/>
                  <a:ext cx="239952" cy="64035"/>
                  <a:chOff x="10769293" y="1881709"/>
                  <a:chExt cx="239952" cy="64035"/>
                </a:xfrm>
              </p:grpSpPr>
              <p:sp>
                <p:nvSpPr>
                  <p:cNvPr id="643" name="Freeform 257"/>
                  <p:cNvSpPr>
                    <a:spLocks noEditPoints="1"/>
                  </p:cNvSpPr>
                  <p:nvPr/>
                </p:nvSpPr>
                <p:spPr bwMode="auto">
                  <a:xfrm rot="5400000">
                    <a:off x="10857251" y="1793751"/>
                    <a:ext cx="64035" cy="239952"/>
                  </a:xfrm>
                  <a:custGeom>
                    <a:avLst/>
                    <a:gdLst>
                      <a:gd name="T0" fmla="*/ 49 w 58"/>
                      <a:gd name="T1" fmla="*/ 0 h 211"/>
                      <a:gd name="T2" fmla="*/ 9 w 58"/>
                      <a:gd name="T3" fmla="*/ 0 h 211"/>
                      <a:gd name="T4" fmla="*/ 0 w 58"/>
                      <a:gd name="T5" fmla="*/ 9 h 211"/>
                      <a:gd name="T6" fmla="*/ 0 w 58"/>
                      <a:gd name="T7" fmla="*/ 202 h 211"/>
                      <a:gd name="T8" fmla="*/ 9 w 58"/>
                      <a:gd name="T9" fmla="*/ 211 h 211"/>
                      <a:gd name="T10" fmla="*/ 49 w 58"/>
                      <a:gd name="T11" fmla="*/ 211 h 211"/>
                      <a:gd name="T12" fmla="*/ 58 w 58"/>
                      <a:gd name="T13" fmla="*/ 202 h 211"/>
                      <a:gd name="T14" fmla="*/ 58 w 58"/>
                      <a:gd name="T15" fmla="*/ 9 h 211"/>
                      <a:gd name="T16" fmla="*/ 49 w 58"/>
                      <a:gd name="T17" fmla="*/ 0 h 211"/>
                      <a:gd name="T18" fmla="*/ 13 w 58"/>
                      <a:gd name="T19" fmla="*/ 19 h 211"/>
                      <a:gd name="T20" fmla="*/ 19 w 58"/>
                      <a:gd name="T21" fmla="*/ 14 h 211"/>
                      <a:gd name="T22" fmla="*/ 39 w 58"/>
                      <a:gd name="T23" fmla="*/ 14 h 211"/>
                      <a:gd name="T24" fmla="*/ 44 w 58"/>
                      <a:gd name="T25" fmla="*/ 19 h 211"/>
                      <a:gd name="T26" fmla="*/ 44 w 58"/>
                      <a:gd name="T27" fmla="*/ 142 h 211"/>
                      <a:gd name="T28" fmla="*/ 39 w 58"/>
                      <a:gd name="T29" fmla="*/ 147 h 211"/>
                      <a:gd name="T30" fmla="*/ 19 w 58"/>
                      <a:gd name="T31" fmla="*/ 147 h 211"/>
                      <a:gd name="T32" fmla="*/ 13 w 58"/>
                      <a:gd name="T33" fmla="*/ 142 h 211"/>
                      <a:gd name="T34" fmla="*/ 13 w 58"/>
                      <a:gd name="T35" fmla="*/ 19 h 211"/>
                      <a:gd name="T36" fmla="*/ 13 w 58"/>
                      <a:gd name="T37" fmla="*/ 19 h 211"/>
                      <a:gd name="T38" fmla="*/ 29 w 58"/>
                      <a:gd name="T39" fmla="*/ 199 h 211"/>
                      <a:gd name="T40" fmla="*/ 13 w 58"/>
                      <a:gd name="T41" fmla="*/ 184 h 211"/>
                      <a:gd name="T42" fmla="*/ 29 w 58"/>
                      <a:gd name="T43" fmla="*/ 168 h 211"/>
                      <a:gd name="T44" fmla="*/ 44 w 58"/>
                      <a:gd name="T45" fmla="*/ 184 h 211"/>
                      <a:gd name="T46" fmla="*/ 29 w 58"/>
                      <a:gd name="T47" fmla="*/ 199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211">
                        <a:moveTo>
                          <a:pt x="49" y="0"/>
                        </a:moveTo>
                        <a:cubicBezTo>
                          <a:pt x="9" y="0"/>
                          <a:pt x="9" y="0"/>
                          <a:pt x="9" y="0"/>
                        </a:cubicBezTo>
                        <a:cubicBezTo>
                          <a:pt x="4" y="0"/>
                          <a:pt x="0" y="4"/>
                          <a:pt x="0" y="9"/>
                        </a:cubicBezTo>
                        <a:cubicBezTo>
                          <a:pt x="0" y="202"/>
                          <a:pt x="0" y="202"/>
                          <a:pt x="0" y="202"/>
                        </a:cubicBezTo>
                        <a:cubicBezTo>
                          <a:pt x="0" y="207"/>
                          <a:pt x="4" y="211"/>
                          <a:pt x="9" y="211"/>
                        </a:cubicBezTo>
                        <a:cubicBezTo>
                          <a:pt x="49" y="211"/>
                          <a:pt x="49" y="211"/>
                          <a:pt x="49" y="211"/>
                        </a:cubicBezTo>
                        <a:cubicBezTo>
                          <a:pt x="54" y="211"/>
                          <a:pt x="58" y="207"/>
                          <a:pt x="58" y="202"/>
                        </a:cubicBezTo>
                        <a:cubicBezTo>
                          <a:pt x="58" y="9"/>
                          <a:pt x="58" y="9"/>
                          <a:pt x="58" y="9"/>
                        </a:cubicBezTo>
                        <a:cubicBezTo>
                          <a:pt x="58" y="4"/>
                          <a:pt x="54" y="0"/>
                          <a:pt x="49" y="0"/>
                        </a:cubicBezTo>
                        <a:close/>
                        <a:moveTo>
                          <a:pt x="13" y="19"/>
                        </a:moveTo>
                        <a:cubicBezTo>
                          <a:pt x="13" y="17"/>
                          <a:pt x="16" y="14"/>
                          <a:pt x="19" y="14"/>
                        </a:cubicBezTo>
                        <a:cubicBezTo>
                          <a:pt x="39" y="14"/>
                          <a:pt x="39" y="14"/>
                          <a:pt x="39" y="14"/>
                        </a:cubicBezTo>
                        <a:cubicBezTo>
                          <a:pt x="42" y="14"/>
                          <a:pt x="44" y="17"/>
                          <a:pt x="44" y="19"/>
                        </a:cubicBezTo>
                        <a:cubicBezTo>
                          <a:pt x="44" y="142"/>
                          <a:pt x="44" y="142"/>
                          <a:pt x="44" y="142"/>
                        </a:cubicBezTo>
                        <a:cubicBezTo>
                          <a:pt x="44" y="145"/>
                          <a:pt x="42" y="147"/>
                          <a:pt x="39" y="147"/>
                        </a:cubicBezTo>
                        <a:cubicBezTo>
                          <a:pt x="19" y="147"/>
                          <a:pt x="19" y="147"/>
                          <a:pt x="19" y="147"/>
                        </a:cubicBezTo>
                        <a:cubicBezTo>
                          <a:pt x="16" y="147"/>
                          <a:pt x="13" y="145"/>
                          <a:pt x="13" y="142"/>
                        </a:cubicBezTo>
                        <a:cubicBezTo>
                          <a:pt x="13" y="19"/>
                          <a:pt x="13" y="19"/>
                          <a:pt x="13" y="19"/>
                        </a:cubicBezTo>
                        <a:cubicBezTo>
                          <a:pt x="13" y="19"/>
                          <a:pt x="13" y="19"/>
                          <a:pt x="13" y="19"/>
                        </a:cubicBezTo>
                        <a:close/>
                        <a:moveTo>
                          <a:pt x="29" y="199"/>
                        </a:moveTo>
                        <a:cubicBezTo>
                          <a:pt x="20" y="199"/>
                          <a:pt x="13" y="192"/>
                          <a:pt x="13" y="184"/>
                        </a:cubicBezTo>
                        <a:cubicBezTo>
                          <a:pt x="13" y="175"/>
                          <a:pt x="20" y="168"/>
                          <a:pt x="29" y="168"/>
                        </a:cubicBezTo>
                        <a:cubicBezTo>
                          <a:pt x="37" y="168"/>
                          <a:pt x="44" y="175"/>
                          <a:pt x="44" y="184"/>
                        </a:cubicBezTo>
                        <a:cubicBezTo>
                          <a:pt x="44" y="192"/>
                          <a:pt x="37" y="199"/>
                          <a:pt x="29" y="199"/>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644" name="Oval 258"/>
                  <p:cNvSpPr>
                    <a:spLocks noChangeArrowheads="1"/>
                  </p:cNvSpPr>
                  <p:nvPr/>
                </p:nvSpPr>
                <p:spPr bwMode="auto">
                  <a:xfrm rot="5400000">
                    <a:off x="10792251" y="1904672"/>
                    <a:ext cx="17464" cy="18110"/>
                  </a:xfrm>
                  <a:prstGeom prst="ellipse">
                    <a:avLst/>
                  </a:pr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grpSp>
            <p:sp>
              <p:nvSpPr>
                <p:cNvPr id="642" name="Freeform 259"/>
                <p:cNvSpPr>
                  <a:spLocks/>
                </p:cNvSpPr>
                <p:nvPr/>
              </p:nvSpPr>
              <p:spPr bwMode="auto">
                <a:xfrm>
                  <a:off x="10332565" y="1583717"/>
                  <a:ext cx="116985" cy="105399"/>
                </a:xfrm>
                <a:custGeom>
                  <a:avLst/>
                  <a:gdLst>
                    <a:gd name="T0" fmla="*/ 66 w 80"/>
                    <a:gd name="T1" fmla="*/ 0 h 70"/>
                    <a:gd name="T2" fmla="*/ 80 w 80"/>
                    <a:gd name="T3" fmla="*/ 14 h 70"/>
                    <a:gd name="T4" fmla="*/ 66 w 80"/>
                    <a:gd name="T5" fmla="*/ 28 h 70"/>
                    <a:gd name="T6" fmla="*/ 53 w 80"/>
                    <a:gd name="T7" fmla="*/ 19 h 70"/>
                    <a:gd name="T8" fmla="*/ 53 w 80"/>
                    <a:gd name="T9" fmla="*/ 18 h 70"/>
                    <a:gd name="T10" fmla="*/ 28 w 80"/>
                    <a:gd name="T11" fmla="*/ 28 h 70"/>
                    <a:gd name="T12" fmla="*/ 28 w 80"/>
                    <a:gd name="T13" fmla="*/ 29 h 70"/>
                    <a:gd name="T14" fmla="*/ 26 w 80"/>
                    <a:gd name="T15" fmla="*/ 34 h 70"/>
                    <a:gd name="T16" fmla="*/ 51 w 80"/>
                    <a:gd name="T17" fmla="*/ 49 h 70"/>
                    <a:gd name="T18" fmla="*/ 53 w 80"/>
                    <a:gd name="T19" fmla="*/ 46 h 70"/>
                    <a:gd name="T20" fmla="*/ 63 w 80"/>
                    <a:gd name="T21" fmla="*/ 42 h 70"/>
                    <a:gd name="T22" fmla="*/ 77 w 80"/>
                    <a:gd name="T23" fmla="*/ 56 h 70"/>
                    <a:gd name="T24" fmla="*/ 63 w 80"/>
                    <a:gd name="T25" fmla="*/ 70 h 70"/>
                    <a:gd name="T26" fmla="*/ 49 w 80"/>
                    <a:gd name="T27" fmla="*/ 56 h 70"/>
                    <a:gd name="T28" fmla="*/ 49 w 80"/>
                    <a:gd name="T29" fmla="*/ 55 h 70"/>
                    <a:gd name="T30" fmla="*/ 23 w 80"/>
                    <a:gd name="T31" fmla="*/ 40 h 70"/>
                    <a:gd name="T32" fmla="*/ 20 w 80"/>
                    <a:gd name="T33" fmla="*/ 42 h 70"/>
                    <a:gd name="T34" fmla="*/ 14 w 80"/>
                    <a:gd name="T35" fmla="*/ 43 h 70"/>
                    <a:gd name="T36" fmla="*/ 0 w 80"/>
                    <a:gd name="T37" fmla="*/ 29 h 70"/>
                    <a:gd name="T38" fmla="*/ 14 w 80"/>
                    <a:gd name="T39" fmla="*/ 15 h 70"/>
                    <a:gd name="T40" fmla="*/ 24 w 80"/>
                    <a:gd name="T41" fmla="*/ 19 h 70"/>
                    <a:gd name="T42" fmla="*/ 26 w 80"/>
                    <a:gd name="T43" fmla="*/ 21 h 70"/>
                    <a:gd name="T44" fmla="*/ 52 w 80"/>
                    <a:gd name="T45" fmla="*/ 12 h 70"/>
                    <a:gd name="T46" fmla="*/ 53 w 80"/>
                    <a:gd name="T47" fmla="*/ 8 h 70"/>
                    <a:gd name="T48" fmla="*/ 66 w 80"/>
                    <a:gd name="T4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0" h="70">
                      <a:moveTo>
                        <a:pt x="66" y="0"/>
                      </a:moveTo>
                      <a:cubicBezTo>
                        <a:pt x="73" y="0"/>
                        <a:pt x="80" y="6"/>
                        <a:pt x="80" y="14"/>
                      </a:cubicBezTo>
                      <a:cubicBezTo>
                        <a:pt x="80" y="22"/>
                        <a:pt x="73" y="28"/>
                        <a:pt x="66" y="28"/>
                      </a:cubicBezTo>
                      <a:cubicBezTo>
                        <a:pt x="60" y="28"/>
                        <a:pt x="55" y="24"/>
                        <a:pt x="53" y="19"/>
                      </a:cubicBezTo>
                      <a:cubicBezTo>
                        <a:pt x="53" y="18"/>
                        <a:pt x="53" y="18"/>
                        <a:pt x="53" y="18"/>
                      </a:cubicBezTo>
                      <a:cubicBezTo>
                        <a:pt x="28" y="28"/>
                        <a:pt x="28" y="28"/>
                        <a:pt x="28" y="28"/>
                      </a:cubicBezTo>
                      <a:cubicBezTo>
                        <a:pt x="28" y="29"/>
                        <a:pt x="28" y="29"/>
                        <a:pt x="28" y="29"/>
                      </a:cubicBezTo>
                      <a:cubicBezTo>
                        <a:pt x="26" y="34"/>
                        <a:pt x="26" y="34"/>
                        <a:pt x="26" y="34"/>
                      </a:cubicBezTo>
                      <a:cubicBezTo>
                        <a:pt x="51" y="49"/>
                        <a:pt x="51" y="49"/>
                        <a:pt x="51" y="49"/>
                      </a:cubicBezTo>
                      <a:cubicBezTo>
                        <a:pt x="53" y="46"/>
                        <a:pt x="53" y="46"/>
                        <a:pt x="53" y="46"/>
                      </a:cubicBezTo>
                      <a:cubicBezTo>
                        <a:pt x="55" y="44"/>
                        <a:pt x="59" y="42"/>
                        <a:pt x="63" y="42"/>
                      </a:cubicBezTo>
                      <a:cubicBezTo>
                        <a:pt x="70" y="42"/>
                        <a:pt x="77" y="48"/>
                        <a:pt x="77" y="56"/>
                      </a:cubicBezTo>
                      <a:cubicBezTo>
                        <a:pt x="77" y="64"/>
                        <a:pt x="70" y="70"/>
                        <a:pt x="63" y="70"/>
                      </a:cubicBezTo>
                      <a:cubicBezTo>
                        <a:pt x="55" y="70"/>
                        <a:pt x="49" y="64"/>
                        <a:pt x="49" y="56"/>
                      </a:cubicBezTo>
                      <a:cubicBezTo>
                        <a:pt x="49" y="55"/>
                        <a:pt x="49" y="55"/>
                        <a:pt x="49" y="55"/>
                      </a:cubicBezTo>
                      <a:cubicBezTo>
                        <a:pt x="23" y="40"/>
                        <a:pt x="23" y="40"/>
                        <a:pt x="23" y="40"/>
                      </a:cubicBezTo>
                      <a:cubicBezTo>
                        <a:pt x="20" y="42"/>
                        <a:pt x="20" y="42"/>
                        <a:pt x="20" y="42"/>
                      </a:cubicBezTo>
                      <a:cubicBezTo>
                        <a:pt x="18" y="43"/>
                        <a:pt x="16" y="43"/>
                        <a:pt x="14" y="43"/>
                      </a:cubicBezTo>
                      <a:cubicBezTo>
                        <a:pt x="6" y="43"/>
                        <a:pt x="0" y="37"/>
                        <a:pt x="0" y="29"/>
                      </a:cubicBezTo>
                      <a:cubicBezTo>
                        <a:pt x="0" y="21"/>
                        <a:pt x="6" y="15"/>
                        <a:pt x="14" y="15"/>
                      </a:cubicBezTo>
                      <a:cubicBezTo>
                        <a:pt x="18" y="15"/>
                        <a:pt x="22" y="17"/>
                        <a:pt x="24" y="19"/>
                      </a:cubicBezTo>
                      <a:cubicBezTo>
                        <a:pt x="26" y="21"/>
                        <a:pt x="26" y="21"/>
                        <a:pt x="26" y="21"/>
                      </a:cubicBezTo>
                      <a:cubicBezTo>
                        <a:pt x="52" y="12"/>
                        <a:pt x="52" y="12"/>
                        <a:pt x="52" y="12"/>
                      </a:cubicBezTo>
                      <a:cubicBezTo>
                        <a:pt x="53" y="8"/>
                        <a:pt x="53" y="8"/>
                        <a:pt x="53" y="8"/>
                      </a:cubicBezTo>
                      <a:cubicBezTo>
                        <a:pt x="55" y="3"/>
                        <a:pt x="60" y="0"/>
                        <a:pt x="66" y="0"/>
                      </a:cubicBezTo>
                      <a:close/>
                    </a:path>
                  </a:pathLst>
                </a:custGeom>
                <a:solidFill>
                  <a:srgbClr val="DA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grpSp>
        </p:grpSp>
        <p:grpSp>
          <p:nvGrpSpPr>
            <p:cNvPr id="483" name="Group 482"/>
            <p:cNvGrpSpPr/>
            <p:nvPr/>
          </p:nvGrpSpPr>
          <p:grpSpPr>
            <a:xfrm>
              <a:off x="10017033" y="6992917"/>
              <a:ext cx="1025875" cy="1000728"/>
              <a:chOff x="10273510" y="1738684"/>
              <a:chExt cx="841531" cy="820902"/>
            </a:xfrm>
          </p:grpSpPr>
          <p:sp>
            <p:nvSpPr>
              <p:cNvPr id="568" name="Rectangle 567"/>
              <p:cNvSpPr/>
              <p:nvPr/>
            </p:nvSpPr>
            <p:spPr>
              <a:xfrm>
                <a:off x="10273510" y="1738684"/>
                <a:ext cx="841531" cy="8209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1088105"/>
                <a:endParaRPr lang="en-US" sz="1200" dirty="0">
                  <a:solidFill>
                    <a:prstClr val="white"/>
                  </a:solidFill>
                </a:endParaRPr>
              </a:p>
            </p:txBody>
          </p:sp>
          <p:grpSp>
            <p:nvGrpSpPr>
              <p:cNvPr id="569" name="Group 568"/>
              <p:cNvGrpSpPr/>
              <p:nvPr/>
            </p:nvGrpSpPr>
            <p:grpSpPr>
              <a:xfrm>
                <a:off x="10473163" y="1834016"/>
                <a:ext cx="411479" cy="660682"/>
                <a:chOff x="10938474" y="2288230"/>
                <a:chExt cx="582611" cy="911640"/>
              </a:xfrm>
            </p:grpSpPr>
            <p:grpSp>
              <p:nvGrpSpPr>
                <p:cNvPr id="570" name="Group 569"/>
                <p:cNvGrpSpPr/>
                <p:nvPr/>
              </p:nvGrpSpPr>
              <p:grpSpPr>
                <a:xfrm>
                  <a:off x="10938474" y="2401502"/>
                  <a:ext cx="466188" cy="798368"/>
                  <a:chOff x="10366130" y="4006415"/>
                  <a:chExt cx="466188" cy="798368"/>
                </a:xfrm>
              </p:grpSpPr>
              <p:sp>
                <p:nvSpPr>
                  <p:cNvPr id="586" name="Freeform 161"/>
                  <p:cNvSpPr>
                    <a:spLocks/>
                  </p:cNvSpPr>
                  <p:nvPr/>
                </p:nvSpPr>
                <p:spPr bwMode="auto">
                  <a:xfrm>
                    <a:off x="10366130" y="4006415"/>
                    <a:ext cx="466188" cy="798368"/>
                  </a:xfrm>
                  <a:custGeom>
                    <a:avLst/>
                    <a:gdLst>
                      <a:gd name="T0" fmla="*/ 243 w 243"/>
                      <a:gd name="T1" fmla="*/ 400 h 416"/>
                      <a:gd name="T2" fmla="*/ 227 w 243"/>
                      <a:gd name="T3" fmla="*/ 416 h 416"/>
                      <a:gd name="T4" fmla="*/ 15 w 243"/>
                      <a:gd name="T5" fmla="*/ 416 h 416"/>
                      <a:gd name="T6" fmla="*/ 0 w 243"/>
                      <a:gd name="T7" fmla="*/ 400 h 416"/>
                      <a:gd name="T8" fmla="*/ 0 w 243"/>
                      <a:gd name="T9" fmla="*/ 15 h 416"/>
                      <a:gd name="T10" fmla="*/ 15 w 243"/>
                      <a:gd name="T11" fmla="*/ 0 h 416"/>
                      <a:gd name="T12" fmla="*/ 227 w 243"/>
                      <a:gd name="T13" fmla="*/ 0 h 416"/>
                      <a:gd name="T14" fmla="*/ 243 w 243"/>
                      <a:gd name="T15" fmla="*/ 15 h 416"/>
                      <a:gd name="T16" fmla="*/ 243 w 243"/>
                      <a:gd name="T17" fmla="*/ 40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416">
                        <a:moveTo>
                          <a:pt x="243" y="400"/>
                        </a:moveTo>
                        <a:cubicBezTo>
                          <a:pt x="243" y="409"/>
                          <a:pt x="236" y="416"/>
                          <a:pt x="227" y="416"/>
                        </a:cubicBezTo>
                        <a:cubicBezTo>
                          <a:pt x="15" y="416"/>
                          <a:pt x="15" y="416"/>
                          <a:pt x="15" y="416"/>
                        </a:cubicBezTo>
                        <a:cubicBezTo>
                          <a:pt x="7" y="416"/>
                          <a:pt x="0" y="409"/>
                          <a:pt x="0" y="400"/>
                        </a:cubicBezTo>
                        <a:cubicBezTo>
                          <a:pt x="0" y="15"/>
                          <a:pt x="0" y="15"/>
                          <a:pt x="0" y="15"/>
                        </a:cubicBezTo>
                        <a:cubicBezTo>
                          <a:pt x="0" y="7"/>
                          <a:pt x="7" y="0"/>
                          <a:pt x="15" y="0"/>
                        </a:cubicBezTo>
                        <a:cubicBezTo>
                          <a:pt x="227" y="0"/>
                          <a:pt x="227" y="0"/>
                          <a:pt x="227" y="0"/>
                        </a:cubicBezTo>
                        <a:cubicBezTo>
                          <a:pt x="236" y="0"/>
                          <a:pt x="243" y="7"/>
                          <a:pt x="243" y="15"/>
                        </a:cubicBezTo>
                        <a:lnTo>
                          <a:pt x="243" y="40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b="1" dirty="0">
                      <a:solidFill>
                        <a:srgbClr val="505050"/>
                      </a:solidFill>
                    </a:endParaRPr>
                  </a:p>
                </p:txBody>
              </p:sp>
              <p:sp>
                <p:nvSpPr>
                  <p:cNvPr id="587" name="Rectangle 162"/>
                  <p:cNvSpPr>
                    <a:spLocks noChangeArrowheads="1"/>
                  </p:cNvSpPr>
                  <p:nvPr/>
                </p:nvSpPr>
                <p:spPr bwMode="auto">
                  <a:xfrm>
                    <a:off x="10410800" y="4051085"/>
                    <a:ext cx="376037" cy="62862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b="1" dirty="0">
                      <a:solidFill>
                        <a:srgbClr val="505050"/>
                      </a:solidFill>
                    </a:endParaRPr>
                  </a:p>
                </p:txBody>
              </p:sp>
              <p:sp>
                <p:nvSpPr>
                  <p:cNvPr id="588" name="Rectangle 163"/>
                  <p:cNvSpPr>
                    <a:spLocks noChangeArrowheads="1"/>
                  </p:cNvSpPr>
                  <p:nvPr/>
                </p:nvSpPr>
                <p:spPr bwMode="auto">
                  <a:xfrm>
                    <a:off x="10448972" y="4125805"/>
                    <a:ext cx="301317" cy="30131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b="1" dirty="0">
                      <a:solidFill>
                        <a:srgbClr val="505050"/>
                      </a:solidFill>
                    </a:endParaRPr>
                  </a:p>
                </p:txBody>
              </p:sp>
              <p:sp>
                <p:nvSpPr>
                  <p:cNvPr id="589" name="Rectangle 164"/>
                  <p:cNvSpPr>
                    <a:spLocks noChangeArrowheads="1"/>
                  </p:cNvSpPr>
                  <p:nvPr/>
                </p:nvSpPr>
                <p:spPr bwMode="auto">
                  <a:xfrm>
                    <a:off x="10448972" y="4447426"/>
                    <a:ext cx="86091" cy="8690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b="1" dirty="0">
                      <a:solidFill>
                        <a:srgbClr val="505050"/>
                      </a:solidFill>
                    </a:endParaRPr>
                  </a:p>
                </p:txBody>
              </p:sp>
              <p:sp>
                <p:nvSpPr>
                  <p:cNvPr id="590" name="Rectangle 165"/>
                  <p:cNvSpPr>
                    <a:spLocks noChangeArrowheads="1"/>
                  </p:cNvSpPr>
                  <p:nvPr/>
                </p:nvSpPr>
                <p:spPr bwMode="auto">
                  <a:xfrm>
                    <a:off x="10556179" y="4447426"/>
                    <a:ext cx="86091" cy="8690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b="1" dirty="0">
                      <a:solidFill>
                        <a:srgbClr val="505050"/>
                      </a:solidFill>
                    </a:endParaRPr>
                  </a:p>
                </p:txBody>
              </p:sp>
              <p:sp>
                <p:nvSpPr>
                  <p:cNvPr id="591" name="Rectangle 166"/>
                  <p:cNvSpPr>
                    <a:spLocks noChangeArrowheads="1"/>
                  </p:cNvSpPr>
                  <p:nvPr/>
                </p:nvSpPr>
                <p:spPr bwMode="auto">
                  <a:xfrm>
                    <a:off x="10663386" y="4447426"/>
                    <a:ext cx="86903" cy="8690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b="1" dirty="0">
                      <a:solidFill>
                        <a:srgbClr val="505050"/>
                      </a:solidFill>
                    </a:endParaRPr>
                  </a:p>
                </p:txBody>
              </p:sp>
              <p:sp>
                <p:nvSpPr>
                  <p:cNvPr id="592" name="Rectangle 167"/>
                  <p:cNvSpPr>
                    <a:spLocks noChangeArrowheads="1"/>
                  </p:cNvSpPr>
                  <p:nvPr/>
                </p:nvSpPr>
                <p:spPr bwMode="auto">
                  <a:xfrm>
                    <a:off x="10448972" y="4555445"/>
                    <a:ext cx="301317" cy="8609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b="1" dirty="0">
                      <a:solidFill>
                        <a:srgbClr val="505050"/>
                      </a:solidFill>
                    </a:endParaRPr>
                  </a:p>
                </p:txBody>
              </p:sp>
            </p:grpSp>
            <p:grpSp>
              <p:nvGrpSpPr>
                <p:cNvPr id="571" name="Group 570"/>
                <p:cNvGrpSpPr/>
                <p:nvPr/>
              </p:nvGrpSpPr>
              <p:grpSpPr>
                <a:xfrm>
                  <a:off x="11037277" y="2288230"/>
                  <a:ext cx="483808" cy="828670"/>
                  <a:chOff x="10375876" y="3286828"/>
                  <a:chExt cx="393093" cy="673293"/>
                </a:xfrm>
              </p:grpSpPr>
              <p:sp>
                <p:nvSpPr>
                  <p:cNvPr id="572" name="Freeform 148"/>
                  <p:cNvSpPr>
                    <a:spLocks/>
                  </p:cNvSpPr>
                  <p:nvPr/>
                </p:nvSpPr>
                <p:spPr bwMode="auto">
                  <a:xfrm>
                    <a:off x="10375876" y="3286828"/>
                    <a:ext cx="393093" cy="673293"/>
                  </a:xfrm>
                  <a:custGeom>
                    <a:avLst/>
                    <a:gdLst>
                      <a:gd name="T0" fmla="*/ 205 w 205"/>
                      <a:gd name="T1" fmla="*/ 116 h 351"/>
                      <a:gd name="T2" fmla="*/ 205 w 205"/>
                      <a:gd name="T3" fmla="*/ 13 h 351"/>
                      <a:gd name="T4" fmla="*/ 191 w 205"/>
                      <a:gd name="T5" fmla="*/ 0 h 351"/>
                      <a:gd name="T6" fmla="*/ 13 w 205"/>
                      <a:gd name="T7" fmla="*/ 0 h 351"/>
                      <a:gd name="T8" fmla="*/ 0 w 205"/>
                      <a:gd name="T9" fmla="*/ 13 h 351"/>
                      <a:gd name="T10" fmla="*/ 0 w 205"/>
                      <a:gd name="T11" fmla="*/ 338 h 351"/>
                      <a:gd name="T12" fmla="*/ 13 w 205"/>
                      <a:gd name="T13" fmla="*/ 351 h 351"/>
                      <a:gd name="T14" fmla="*/ 191 w 205"/>
                      <a:gd name="T15" fmla="*/ 351 h 351"/>
                      <a:gd name="T16" fmla="*/ 205 w 205"/>
                      <a:gd name="T17" fmla="*/ 338 h 351"/>
                      <a:gd name="T18" fmla="*/ 205 w 205"/>
                      <a:gd name="T19" fmla="*/ 187 h 351"/>
                      <a:gd name="T20" fmla="*/ 205 w 205"/>
                      <a:gd name="T21" fmla="*/ 116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5" h="351">
                        <a:moveTo>
                          <a:pt x="205" y="116"/>
                        </a:moveTo>
                        <a:cubicBezTo>
                          <a:pt x="205" y="13"/>
                          <a:pt x="205" y="13"/>
                          <a:pt x="205" y="13"/>
                        </a:cubicBezTo>
                        <a:cubicBezTo>
                          <a:pt x="205" y="6"/>
                          <a:pt x="199" y="0"/>
                          <a:pt x="191" y="0"/>
                        </a:cubicBezTo>
                        <a:cubicBezTo>
                          <a:pt x="13" y="0"/>
                          <a:pt x="13" y="0"/>
                          <a:pt x="13" y="0"/>
                        </a:cubicBezTo>
                        <a:cubicBezTo>
                          <a:pt x="6" y="0"/>
                          <a:pt x="0" y="6"/>
                          <a:pt x="0" y="13"/>
                        </a:cubicBezTo>
                        <a:cubicBezTo>
                          <a:pt x="0" y="338"/>
                          <a:pt x="0" y="338"/>
                          <a:pt x="0" y="338"/>
                        </a:cubicBezTo>
                        <a:cubicBezTo>
                          <a:pt x="0" y="345"/>
                          <a:pt x="6" y="351"/>
                          <a:pt x="13" y="351"/>
                        </a:cubicBezTo>
                        <a:cubicBezTo>
                          <a:pt x="191" y="351"/>
                          <a:pt x="191" y="351"/>
                          <a:pt x="191" y="351"/>
                        </a:cubicBezTo>
                        <a:cubicBezTo>
                          <a:pt x="199" y="351"/>
                          <a:pt x="205" y="345"/>
                          <a:pt x="205" y="338"/>
                        </a:cubicBezTo>
                        <a:cubicBezTo>
                          <a:pt x="205" y="187"/>
                          <a:pt x="205" y="187"/>
                          <a:pt x="205" y="187"/>
                        </a:cubicBezTo>
                        <a:lnTo>
                          <a:pt x="205" y="11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73" name="Rectangle 168"/>
                  <p:cNvSpPr>
                    <a:spLocks noChangeArrowheads="1"/>
                  </p:cNvSpPr>
                  <p:nvPr/>
                </p:nvSpPr>
                <p:spPr bwMode="auto">
                  <a:xfrm>
                    <a:off x="10412424" y="3325813"/>
                    <a:ext cx="318373" cy="52953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74" name="Rectangle 169"/>
                  <p:cNvSpPr>
                    <a:spLocks noChangeArrowheads="1"/>
                  </p:cNvSpPr>
                  <p:nvPr/>
                </p:nvSpPr>
                <p:spPr bwMode="auto">
                  <a:xfrm>
                    <a:off x="10444911" y="3389162"/>
                    <a:ext cx="163247" cy="16243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75" name="Rectangle 170"/>
                  <p:cNvSpPr>
                    <a:spLocks noChangeArrowheads="1"/>
                  </p:cNvSpPr>
                  <p:nvPr/>
                </p:nvSpPr>
                <p:spPr bwMode="auto">
                  <a:xfrm>
                    <a:off x="10625214" y="3479314"/>
                    <a:ext cx="73096" cy="7228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76" name="Rectangle 171"/>
                  <p:cNvSpPr>
                    <a:spLocks noChangeArrowheads="1"/>
                  </p:cNvSpPr>
                  <p:nvPr/>
                </p:nvSpPr>
                <p:spPr bwMode="auto">
                  <a:xfrm>
                    <a:off x="10625214" y="3389162"/>
                    <a:ext cx="73096" cy="7228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77" name="Rectangle 172"/>
                  <p:cNvSpPr>
                    <a:spLocks noChangeArrowheads="1"/>
                  </p:cNvSpPr>
                  <p:nvPr/>
                </p:nvSpPr>
                <p:spPr bwMode="auto">
                  <a:xfrm>
                    <a:off x="10625214" y="3659617"/>
                    <a:ext cx="73096" cy="7472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78" name="Rectangle 173"/>
                  <p:cNvSpPr>
                    <a:spLocks noChangeArrowheads="1"/>
                  </p:cNvSpPr>
                  <p:nvPr/>
                </p:nvSpPr>
                <p:spPr bwMode="auto">
                  <a:xfrm>
                    <a:off x="10535062" y="3659617"/>
                    <a:ext cx="73096" cy="7472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79" name="Rectangle 174"/>
                  <p:cNvSpPr>
                    <a:spLocks noChangeArrowheads="1"/>
                  </p:cNvSpPr>
                  <p:nvPr/>
                </p:nvSpPr>
                <p:spPr bwMode="auto">
                  <a:xfrm>
                    <a:off x="10444911" y="3659617"/>
                    <a:ext cx="73096" cy="7472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80" name="Rectangle 175"/>
                  <p:cNvSpPr>
                    <a:spLocks noChangeArrowheads="1"/>
                  </p:cNvSpPr>
                  <p:nvPr/>
                </p:nvSpPr>
                <p:spPr bwMode="auto">
                  <a:xfrm>
                    <a:off x="10444911" y="3569465"/>
                    <a:ext cx="73096" cy="7228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81" name="Rectangle 176"/>
                  <p:cNvSpPr>
                    <a:spLocks noChangeArrowheads="1"/>
                  </p:cNvSpPr>
                  <p:nvPr/>
                </p:nvSpPr>
                <p:spPr bwMode="auto">
                  <a:xfrm>
                    <a:off x="10535062" y="3569465"/>
                    <a:ext cx="73096" cy="7228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82" name="Rectangle 177"/>
                  <p:cNvSpPr>
                    <a:spLocks noChangeArrowheads="1"/>
                  </p:cNvSpPr>
                  <p:nvPr/>
                </p:nvSpPr>
                <p:spPr bwMode="auto">
                  <a:xfrm>
                    <a:off x="10625214" y="3569465"/>
                    <a:ext cx="73096" cy="72284"/>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83" name="Rectangle 178"/>
                  <p:cNvSpPr>
                    <a:spLocks noChangeArrowheads="1"/>
                  </p:cNvSpPr>
                  <p:nvPr/>
                </p:nvSpPr>
                <p:spPr bwMode="auto">
                  <a:xfrm>
                    <a:off x="10625214" y="3751392"/>
                    <a:ext cx="73096" cy="73096"/>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84" name="Rectangle 179"/>
                  <p:cNvSpPr>
                    <a:spLocks noChangeArrowheads="1"/>
                  </p:cNvSpPr>
                  <p:nvPr/>
                </p:nvSpPr>
                <p:spPr bwMode="auto">
                  <a:xfrm>
                    <a:off x="10535062" y="3751392"/>
                    <a:ext cx="73096" cy="73096"/>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85" name="Rectangle 180"/>
                  <p:cNvSpPr>
                    <a:spLocks noChangeArrowheads="1"/>
                  </p:cNvSpPr>
                  <p:nvPr/>
                </p:nvSpPr>
                <p:spPr bwMode="auto">
                  <a:xfrm>
                    <a:off x="10444911" y="3751392"/>
                    <a:ext cx="73096" cy="73096"/>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grpSp>
          </p:grpSp>
        </p:grpSp>
        <p:grpSp>
          <p:nvGrpSpPr>
            <p:cNvPr id="484" name="Group 483"/>
            <p:cNvGrpSpPr/>
            <p:nvPr/>
          </p:nvGrpSpPr>
          <p:grpSpPr>
            <a:xfrm>
              <a:off x="11062069" y="6992916"/>
              <a:ext cx="1018140" cy="1001688"/>
              <a:chOff x="11146629" y="1737897"/>
              <a:chExt cx="835186" cy="821690"/>
            </a:xfrm>
          </p:grpSpPr>
          <p:sp>
            <p:nvSpPr>
              <p:cNvPr id="564" name="Rectangle 563"/>
              <p:cNvSpPr/>
              <p:nvPr/>
            </p:nvSpPr>
            <p:spPr>
              <a:xfrm>
                <a:off x="11146629" y="1737897"/>
                <a:ext cx="835186" cy="82169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1088105"/>
                <a:endParaRPr lang="en-US" sz="1200" dirty="0">
                  <a:solidFill>
                    <a:prstClr val="white"/>
                  </a:solidFill>
                </a:endParaRPr>
              </a:p>
            </p:txBody>
          </p:sp>
          <p:grpSp>
            <p:nvGrpSpPr>
              <p:cNvPr id="565" name="Group 564"/>
              <p:cNvGrpSpPr/>
              <p:nvPr/>
            </p:nvGrpSpPr>
            <p:grpSpPr>
              <a:xfrm>
                <a:off x="11328302" y="1917902"/>
                <a:ext cx="498726" cy="465946"/>
                <a:chOff x="10131652" y="3979813"/>
                <a:chExt cx="796500" cy="725203"/>
              </a:xfrm>
            </p:grpSpPr>
            <p:sp>
              <p:nvSpPr>
                <p:cNvPr id="566" name="Freeform 19"/>
                <p:cNvSpPr>
                  <a:spLocks/>
                </p:cNvSpPr>
                <p:nvPr/>
              </p:nvSpPr>
              <p:spPr bwMode="auto">
                <a:xfrm>
                  <a:off x="10131652" y="3979813"/>
                  <a:ext cx="562235" cy="368713"/>
                </a:xfrm>
                <a:custGeom>
                  <a:avLst/>
                  <a:gdLst>
                    <a:gd name="T0" fmla="*/ 165 w 197"/>
                    <a:gd name="T1" fmla="*/ 56 h 129"/>
                    <a:gd name="T2" fmla="*/ 165 w 197"/>
                    <a:gd name="T3" fmla="*/ 54 h 129"/>
                    <a:gd name="T4" fmla="*/ 111 w 197"/>
                    <a:gd name="T5" fmla="*/ 0 h 129"/>
                    <a:gd name="T6" fmla="*/ 66 w 197"/>
                    <a:gd name="T7" fmla="*/ 24 h 129"/>
                    <a:gd name="T8" fmla="*/ 51 w 197"/>
                    <a:gd name="T9" fmla="*/ 20 h 129"/>
                    <a:gd name="T10" fmla="*/ 34 w 197"/>
                    <a:gd name="T11" fmla="*/ 25 h 129"/>
                    <a:gd name="T12" fmla="*/ 20 w 197"/>
                    <a:gd name="T13" fmla="*/ 50 h 129"/>
                    <a:gd name="T14" fmla="*/ 0 w 197"/>
                    <a:gd name="T15" fmla="*/ 86 h 129"/>
                    <a:gd name="T16" fmla="*/ 38 w 197"/>
                    <a:gd name="T17" fmla="*/ 129 h 129"/>
                    <a:gd name="T18" fmla="*/ 43 w 197"/>
                    <a:gd name="T19" fmla="*/ 129 h 129"/>
                    <a:gd name="T20" fmla="*/ 47 w 197"/>
                    <a:gd name="T21" fmla="*/ 129 h 129"/>
                    <a:gd name="T22" fmla="*/ 136 w 197"/>
                    <a:gd name="T23" fmla="*/ 129 h 129"/>
                    <a:gd name="T24" fmla="*/ 138 w 197"/>
                    <a:gd name="T25" fmla="*/ 129 h 129"/>
                    <a:gd name="T26" fmla="*/ 140 w 197"/>
                    <a:gd name="T27" fmla="*/ 129 h 129"/>
                    <a:gd name="T28" fmla="*/ 146 w 197"/>
                    <a:gd name="T29" fmla="*/ 129 h 129"/>
                    <a:gd name="T30" fmla="*/ 160 w 197"/>
                    <a:gd name="T31" fmla="*/ 129 h 129"/>
                    <a:gd name="T32" fmla="*/ 197 w 197"/>
                    <a:gd name="T33" fmla="*/ 92 h 129"/>
                    <a:gd name="T34" fmla="*/ 165 w 197"/>
                    <a:gd name="T35" fmla="*/ 56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7" h="129">
                      <a:moveTo>
                        <a:pt x="165" y="56"/>
                      </a:moveTo>
                      <a:cubicBezTo>
                        <a:pt x="165" y="56"/>
                        <a:pt x="165" y="54"/>
                        <a:pt x="165" y="54"/>
                      </a:cubicBezTo>
                      <a:cubicBezTo>
                        <a:pt x="165" y="24"/>
                        <a:pt x="141" y="0"/>
                        <a:pt x="111" y="0"/>
                      </a:cubicBezTo>
                      <a:cubicBezTo>
                        <a:pt x="92" y="0"/>
                        <a:pt x="76" y="9"/>
                        <a:pt x="66" y="24"/>
                      </a:cubicBezTo>
                      <a:cubicBezTo>
                        <a:pt x="62" y="21"/>
                        <a:pt x="57" y="20"/>
                        <a:pt x="51" y="20"/>
                      </a:cubicBezTo>
                      <a:cubicBezTo>
                        <a:pt x="45" y="20"/>
                        <a:pt x="39" y="22"/>
                        <a:pt x="34" y="25"/>
                      </a:cubicBezTo>
                      <a:cubicBezTo>
                        <a:pt x="25" y="31"/>
                        <a:pt x="20" y="40"/>
                        <a:pt x="20" y="50"/>
                      </a:cubicBezTo>
                      <a:cubicBezTo>
                        <a:pt x="8" y="58"/>
                        <a:pt x="0" y="71"/>
                        <a:pt x="0" y="86"/>
                      </a:cubicBezTo>
                      <a:cubicBezTo>
                        <a:pt x="0" y="108"/>
                        <a:pt x="17" y="126"/>
                        <a:pt x="38" y="129"/>
                      </a:cubicBezTo>
                      <a:cubicBezTo>
                        <a:pt x="40" y="129"/>
                        <a:pt x="41" y="129"/>
                        <a:pt x="43" y="129"/>
                      </a:cubicBezTo>
                      <a:cubicBezTo>
                        <a:pt x="44" y="129"/>
                        <a:pt x="46" y="129"/>
                        <a:pt x="47" y="129"/>
                      </a:cubicBezTo>
                      <a:cubicBezTo>
                        <a:pt x="67" y="129"/>
                        <a:pt x="114" y="129"/>
                        <a:pt x="136" y="129"/>
                      </a:cubicBezTo>
                      <a:cubicBezTo>
                        <a:pt x="136" y="129"/>
                        <a:pt x="137" y="129"/>
                        <a:pt x="138" y="129"/>
                      </a:cubicBezTo>
                      <a:cubicBezTo>
                        <a:pt x="140" y="129"/>
                        <a:pt x="140" y="129"/>
                        <a:pt x="140" y="129"/>
                      </a:cubicBezTo>
                      <a:cubicBezTo>
                        <a:pt x="141" y="129"/>
                        <a:pt x="144" y="129"/>
                        <a:pt x="146" y="129"/>
                      </a:cubicBezTo>
                      <a:cubicBezTo>
                        <a:pt x="160" y="129"/>
                        <a:pt x="160" y="129"/>
                        <a:pt x="160" y="129"/>
                      </a:cubicBezTo>
                      <a:cubicBezTo>
                        <a:pt x="181" y="129"/>
                        <a:pt x="197" y="112"/>
                        <a:pt x="197" y="92"/>
                      </a:cubicBezTo>
                      <a:cubicBezTo>
                        <a:pt x="197" y="74"/>
                        <a:pt x="183" y="59"/>
                        <a:pt x="165" y="56"/>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67" name="Freeform 20"/>
                <p:cNvSpPr>
                  <a:spLocks/>
                </p:cNvSpPr>
                <p:nvPr/>
              </p:nvSpPr>
              <p:spPr bwMode="auto">
                <a:xfrm>
                  <a:off x="10170357" y="4205930"/>
                  <a:ext cx="757795" cy="499086"/>
                </a:xfrm>
                <a:custGeom>
                  <a:avLst/>
                  <a:gdLst>
                    <a:gd name="T0" fmla="*/ 223 w 266"/>
                    <a:gd name="T1" fmla="*/ 77 h 175"/>
                    <a:gd name="T2" fmla="*/ 223 w 266"/>
                    <a:gd name="T3" fmla="*/ 74 h 175"/>
                    <a:gd name="T4" fmla="*/ 150 w 266"/>
                    <a:gd name="T5" fmla="*/ 0 h 175"/>
                    <a:gd name="T6" fmla="*/ 89 w 266"/>
                    <a:gd name="T7" fmla="*/ 33 h 175"/>
                    <a:gd name="T8" fmla="*/ 69 w 266"/>
                    <a:gd name="T9" fmla="*/ 28 h 175"/>
                    <a:gd name="T10" fmla="*/ 45 w 266"/>
                    <a:gd name="T11" fmla="*/ 35 h 175"/>
                    <a:gd name="T12" fmla="*/ 26 w 266"/>
                    <a:gd name="T13" fmla="*/ 69 h 175"/>
                    <a:gd name="T14" fmla="*/ 0 w 266"/>
                    <a:gd name="T15" fmla="*/ 118 h 175"/>
                    <a:gd name="T16" fmla="*/ 51 w 266"/>
                    <a:gd name="T17" fmla="*/ 175 h 175"/>
                    <a:gd name="T18" fmla="*/ 57 w 266"/>
                    <a:gd name="T19" fmla="*/ 175 h 175"/>
                    <a:gd name="T20" fmla="*/ 63 w 266"/>
                    <a:gd name="T21" fmla="*/ 175 h 175"/>
                    <a:gd name="T22" fmla="*/ 183 w 266"/>
                    <a:gd name="T23" fmla="*/ 175 h 175"/>
                    <a:gd name="T24" fmla="*/ 185 w 266"/>
                    <a:gd name="T25" fmla="*/ 175 h 175"/>
                    <a:gd name="T26" fmla="*/ 188 w 266"/>
                    <a:gd name="T27" fmla="*/ 175 h 175"/>
                    <a:gd name="T28" fmla="*/ 197 w 266"/>
                    <a:gd name="T29" fmla="*/ 175 h 175"/>
                    <a:gd name="T30" fmla="*/ 216 w 266"/>
                    <a:gd name="T31" fmla="*/ 175 h 175"/>
                    <a:gd name="T32" fmla="*/ 266 w 266"/>
                    <a:gd name="T33" fmla="*/ 126 h 175"/>
                    <a:gd name="T34" fmla="*/ 223 w 266"/>
                    <a:gd name="T35" fmla="*/ 7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6" h="175">
                      <a:moveTo>
                        <a:pt x="223" y="77"/>
                      </a:moveTo>
                      <a:cubicBezTo>
                        <a:pt x="223" y="76"/>
                        <a:pt x="223" y="75"/>
                        <a:pt x="223" y="74"/>
                      </a:cubicBezTo>
                      <a:cubicBezTo>
                        <a:pt x="223" y="33"/>
                        <a:pt x="190" y="0"/>
                        <a:pt x="150" y="0"/>
                      </a:cubicBezTo>
                      <a:cubicBezTo>
                        <a:pt x="124" y="0"/>
                        <a:pt x="102" y="14"/>
                        <a:pt x="89" y="33"/>
                      </a:cubicBezTo>
                      <a:cubicBezTo>
                        <a:pt x="83" y="30"/>
                        <a:pt x="76" y="28"/>
                        <a:pt x="69" y="28"/>
                      </a:cubicBezTo>
                      <a:cubicBezTo>
                        <a:pt x="60" y="28"/>
                        <a:pt x="52" y="30"/>
                        <a:pt x="45" y="35"/>
                      </a:cubicBezTo>
                      <a:cubicBezTo>
                        <a:pt x="34" y="42"/>
                        <a:pt x="27" y="55"/>
                        <a:pt x="26" y="69"/>
                      </a:cubicBezTo>
                      <a:cubicBezTo>
                        <a:pt x="11" y="80"/>
                        <a:pt x="0" y="98"/>
                        <a:pt x="0" y="118"/>
                      </a:cubicBezTo>
                      <a:cubicBezTo>
                        <a:pt x="0" y="147"/>
                        <a:pt x="22" y="172"/>
                        <a:pt x="51" y="175"/>
                      </a:cubicBezTo>
                      <a:cubicBezTo>
                        <a:pt x="53" y="175"/>
                        <a:pt x="56" y="175"/>
                        <a:pt x="57" y="175"/>
                      </a:cubicBezTo>
                      <a:cubicBezTo>
                        <a:pt x="59" y="175"/>
                        <a:pt x="61" y="175"/>
                        <a:pt x="63" y="175"/>
                      </a:cubicBezTo>
                      <a:cubicBezTo>
                        <a:pt x="90" y="175"/>
                        <a:pt x="153" y="175"/>
                        <a:pt x="183" y="175"/>
                      </a:cubicBezTo>
                      <a:cubicBezTo>
                        <a:pt x="184" y="175"/>
                        <a:pt x="185" y="175"/>
                        <a:pt x="185" y="175"/>
                      </a:cubicBezTo>
                      <a:cubicBezTo>
                        <a:pt x="188" y="175"/>
                        <a:pt x="188" y="175"/>
                        <a:pt x="188" y="175"/>
                      </a:cubicBezTo>
                      <a:cubicBezTo>
                        <a:pt x="190" y="175"/>
                        <a:pt x="194" y="175"/>
                        <a:pt x="197" y="175"/>
                      </a:cubicBezTo>
                      <a:cubicBezTo>
                        <a:pt x="216" y="175"/>
                        <a:pt x="216" y="175"/>
                        <a:pt x="216" y="175"/>
                      </a:cubicBezTo>
                      <a:cubicBezTo>
                        <a:pt x="244" y="175"/>
                        <a:pt x="266" y="153"/>
                        <a:pt x="266" y="126"/>
                      </a:cubicBezTo>
                      <a:cubicBezTo>
                        <a:pt x="266" y="101"/>
                        <a:pt x="247" y="81"/>
                        <a:pt x="223" y="77"/>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grpSp>
        </p:grpSp>
        <p:grpSp>
          <p:nvGrpSpPr>
            <p:cNvPr id="485" name="Group 484"/>
            <p:cNvGrpSpPr/>
            <p:nvPr/>
          </p:nvGrpSpPr>
          <p:grpSpPr>
            <a:xfrm>
              <a:off x="10017034" y="8017582"/>
              <a:ext cx="1025875" cy="1001688"/>
              <a:chOff x="10279856" y="2776122"/>
              <a:chExt cx="841531" cy="821690"/>
            </a:xfrm>
          </p:grpSpPr>
          <p:sp>
            <p:nvSpPr>
              <p:cNvPr id="517" name="Rectangle 516"/>
              <p:cNvSpPr/>
              <p:nvPr/>
            </p:nvSpPr>
            <p:spPr>
              <a:xfrm>
                <a:off x="10279856" y="2776122"/>
                <a:ext cx="841531" cy="82169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1088105"/>
                <a:endParaRPr lang="en-US" sz="1200" dirty="0">
                  <a:solidFill>
                    <a:prstClr val="white"/>
                  </a:solidFill>
                </a:endParaRPr>
              </a:p>
            </p:txBody>
          </p:sp>
          <p:grpSp>
            <p:nvGrpSpPr>
              <p:cNvPr id="518" name="Group 517"/>
              <p:cNvGrpSpPr/>
              <p:nvPr/>
            </p:nvGrpSpPr>
            <p:grpSpPr>
              <a:xfrm>
                <a:off x="10408537" y="2871654"/>
                <a:ext cx="548040" cy="630626"/>
                <a:chOff x="7085032" y="5479932"/>
                <a:chExt cx="661604" cy="741921"/>
              </a:xfrm>
            </p:grpSpPr>
            <p:sp>
              <p:nvSpPr>
                <p:cNvPr id="519" name="Rectangle 696"/>
                <p:cNvSpPr>
                  <a:spLocks noChangeArrowheads="1"/>
                </p:cNvSpPr>
                <p:nvPr/>
              </p:nvSpPr>
              <p:spPr bwMode="auto">
                <a:xfrm>
                  <a:off x="7583494" y="5626007"/>
                  <a:ext cx="98889" cy="5923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20" name="Freeform 697"/>
                <p:cNvSpPr>
                  <a:spLocks/>
                </p:cNvSpPr>
                <p:nvPr/>
              </p:nvSpPr>
              <p:spPr bwMode="auto">
                <a:xfrm>
                  <a:off x="7572451" y="5567778"/>
                  <a:ext cx="119470" cy="26103"/>
                </a:xfrm>
                <a:custGeom>
                  <a:avLst/>
                  <a:gdLst>
                    <a:gd name="T0" fmla="*/ 97 w 97"/>
                    <a:gd name="T1" fmla="*/ 16 h 21"/>
                    <a:gd name="T2" fmla="*/ 92 w 97"/>
                    <a:gd name="T3" fmla="*/ 21 h 21"/>
                    <a:gd name="T4" fmla="*/ 5 w 97"/>
                    <a:gd name="T5" fmla="*/ 21 h 21"/>
                    <a:gd name="T6" fmla="*/ 0 w 97"/>
                    <a:gd name="T7" fmla="*/ 16 h 21"/>
                    <a:gd name="T8" fmla="*/ 0 w 97"/>
                    <a:gd name="T9" fmla="*/ 5 h 21"/>
                    <a:gd name="T10" fmla="*/ 5 w 97"/>
                    <a:gd name="T11" fmla="*/ 0 h 21"/>
                    <a:gd name="T12" fmla="*/ 92 w 97"/>
                    <a:gd name="T13" fmla="*/ 0 h 21"/>
                    <a:gd name="T14" fmla="*/ 97 w 97"/>
                    <a:gd name="T15" fmla="*/ 5 h 21"/>
                    <a:gd name="T16" fmla="*/ 97 w 97"/>
                    <a:gd name="T17" fmla="*/ 1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21">
                      <a:moveTo>
                        <a:pt x="97" y="16"/>
                      </a:moveTo>
                      <a:cubicBezTo>
                        <a:pt x="97" y="18"/>
                        <a:pt x="95" y="21"/>
                        <a:pt x="92" y="21"/>
                      </a:cubicBezTo>
                      <a:cubicBezTo>
                        <a:pt x="5" y="21"/>
                        <a:pt x="5" y="21"/>
                        <a:pt x="5" y="21"/>
                      </a:cubicBezTo>
                      <a:cubicBezTo>
                        <a:pt x="2" y="21"/>
                        <a:pt x="0" y="18"/>
                        <a:pt x="0" y="16"/>
                      </a:cubicBezTo>
                      <a:cubicBezTo>
                        <a:pt x="0" y="5"/>
                        <a:pt x="0" y="5"/>
                        <a:pt x="0" y="5"/>
                      </a:cubicBezTo>
                      <a:cubicBezTo>
                        <a:pt x="0" y="2"/>
                        <a:pt x="2" y="0"/>
                        <a:pt x="5" y="0"/>
                      </a:cubicBezTo>
                      <a:cubicBezTo>
                        <a:pt x="92" y="0"/>
                        <a:pt x="92" y="0"/>
                        <a:pt x="92" y="0"/>
                      </a:cubicBezTo>
                      <a:cubicBezTo>
                        <a:pt x="95" y="0"/>
                        <a:pt x="97" y="2"/>
                        <a:pt x="97" y="5"/>
                      </a:cubicBezTo>
                      <a:lnTo>
                        <a:pt x="97" y="16"/>
                      </a:lnTo>
                      <a:close/>
                    </a:path>
                  </a:pathLst>
                </a:custGeom>
                <a:solidFill>
                  <a:srgbClr val="C69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21" name="Rectangle 698"/>
                <p:cNvSpPr>
                  <a:spLocks noChangeArrowheads="1"/>
                </p:cNvSpPr>
                <p:nvPr/>
              </p:nvSpPr>
              <p:spPr bwMode="auto">
                <a:xfrm>
                  <a:off x="7570945" y="5661647"/>
                  <a:ext cx="120976" cy="53209"/>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22" name="Rectangle 699"/>
                <p:cNvSpPr>
                  <a:spLocks noChangeArrowheads="1"/>
                </p:cNvSpPr>
                <p:nvPr/>
              </p:nvSpPr>
              <p:spPr bwMode="auto">
                <a:xfrm>
                  <a:off x="7565925" y="5899082"/>
                  <a:ext cx="132522" cy="43672"/>
                </a:xfrm>
                <a:prstGeom prst="rect">
                  <a:avLst/>
                </a:prstGeom>
                <a:solidFill>
                  <a:srgbClr val="213C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23" name="Rectangle 700"/>
                <p:cNvSpPr>
                  <a:spLocks noChangeArrowheads="1"/>
                </p:cNvSpPr>
                <p:nvPr/>
              </p:nvSpPr>
              <p:spPr bwMode="auto">
                <a:xfrm>
                  <a:off x="7565925" y="5899082"/>
                  <a:ext cx="34637" cy="286127"/>
                </a:xfrm>
                <a:prstGeom prst="rect">
                  <a:avLst/>
                </a:prstGeom>
                <a:solidFill>
                  <a:srgbClr val="213C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24" name="Freeform 701"/>
                <p:cNvSpPr>
                  <a:spLocks/>
                </p:cNvSpPr>
                <p:nvPr/>
              </p:nvSpPr>
              <p:spPr bwMode="auto">
                <a:xfrm>
                  <a:off x="7521751" y="6181193"/>
                  <a:ext cx="78810" cy="40660"/>
                </a:xfrm>
                <a:custGeom>
                  <a:avLst/>
                  <a:gdLst>
                    <a:gd name="T0" fmla="*/ 36 w 64"/>
                    <a:gd name="T1" fmla="*/ 0 h 33"/>
                    <a:gd name="T2" fmla="*/ 0 w 64"/>
                    <a:gd name="T3" fmla="*/ 33 h 33"/>
                    <a:gd name="T4" fmla="*/ 36 w 64"/>
                    <a:gd name="T5" fmla="*/ 33 h 33"/>
                    <a:gd name="T6" fmla="*/ 64 w 64"/>
                    <a:gd name="T7" fmla="*/ 33 h 33"/>
                    <a:gd name="T8" fmla="*/ 64 w 64"/>
                    <a:gd name="T9" fmla="*/ 0 h 33"/>
                    <a:gd name="T10" fmla="*/ 36 w 64"/>
                    <a:gd name="T11" fmla="*/ 0 h 33"/>
                  </a:gdLst>
                  <a:ahLst/>
                  <a:cxnLst>
                    <a:cxn ang="0">
                      <a:pos x="T0" y="T1"/>
                    </a:cxn>
                    <a:cxn ang="0">
                      <a:pos x="T2" y="T3"/>
                    </a:cxn>
                    <a:cxn ang="0">
                      <a:pos x="T4" y="T5"/>
                    </a:cxn>
                    <a:cxn ang="0">
                      <a:pos x="T6" y="T7"/>
                    </a:cxn>
                    <a:cxn ang="0">
                      <a:pos x="T8" y="T9"/>
                    </a:cxn>
                    <a:cxn ang="0">
                      <a:pos x="T10" y="T11"/>
                    </a:cxn>
                  </a:cxnLst>
                  <a:rect l="0" t="0" r="r" b="b"/>
                  <a:pathLst>
                    <a:path w="64" h="33">
                      <a:moveTo>
                        <a:pt x="36" y="0"/>
                      </a:moveTo>
                      <a:cubicBezTo>
                        <a:pt x="17" y="0"/>
                        <a:pt x="1" y="14"/>
                        <a:pt x="0" y="33"/>
                      </a:cubicBezTo>
                      <a:cubicBezTo>
                        <a:pt x="36" y="33"/>
                        <a:pt x="36" y="33"/>
                        <a:pt x="36" y="33"/>
                      </a:cubicBezTo>
                      <a:cubicBezTo>
                        <a:pt x="64" y="33"/>
                        <a:pt x="64" y="33"/>
                        <a:pt x="64" y="33"/>
                      </a:cubicBezTo>
                      <a:cubicBezTo>
                        <a:pt x="64" y="0"/>
                        <a:pt x="64" y="0"/>
                        <a:pt x="64" y="0"/>
                      </a:cubicBezTo>
                      <a:lnTo>
                        <a:pt x="36" y="0"/>
                      </a:ln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25" name="Rectangle 702"/>
                <p:cNvSpPr>
                  <a:spLocks noChangeArrowheads="1"/>
                </p:cNvSpPr>
                <p:nvPr/>
              </p:nvSpPr>
              <p:spPr bwMode="auto">
                <a:xfrm>
                  <a:off x="7663810" y="5899082"/>
                  <a:ext cx="34637" cy="286127"/>
                </a:xfrm>
                <a:prstGeom prst="rect">
                  <a:avLst/>
                </a:prstGeom>
                <a:solidFill>
                  <a:srgbClr val="213C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26" name="Freeform 703"/>
                <p:cNvSpPr>
                  <a:spLocks/>
                </p:cNvSpPr>
                <p:nvPr/>
              </p:nvSpPr>
              <p:spPr bwMode="auto">
                <a:xfrm>
                  <a:off x="7619135" y="6181193"/>
                  <a:ext cx="79312" cy="40660"/>
                </a:xfrm>
                <a:custGeom>
                  <a:avLst/>
                  <a:gdLst>
                    <a:gd name="T0" fmla="*/ 36 w 64"/>
                    <a:gd name="T1" fmla="*/ 0 h 33"/>
                    <a:gd name="T2" fmla="*/ 0 w 64"/>
                    <a:gd name="T3" fmla="*/ 33 h 33"/>
                    <a:gd name="T4" fmla="*/ 36 w 64"/>
                    <a:gd name="T5" fmla="*/ 33 h 33"/>
                    <a:gd name="T6" fmla="*/ 64 w 64"/>
                    <a:gd name="T7" fmla="*/ 33 h 33"/>
                    <a:gd name="T8" fmla="*/ 64 w 64"/>
                    <a:gd name="T9" fmla="*/ 0 h 33"/>
                    <a:gd name="T10" fmla="*/ 36 w 64"/>
                    <a:gd name="T11" fmla="*/ 0 h 33"/>
                  </a:gdLst>
                  <a:ahLst/>
                  <a:cxnLst>
                    <a:cxn ang="0">
                      <a:pos x="T0" y="T1"/>
                    </a:cxn>
                    <a:cxn ang="0">
                      <a:pos x="T2" y="T3"/>
                    </a:cxn>
                    <a:cxn ang="0">
                      <a:pos x="T4" y="T5"/>
                    </a:cxn>
                    <a:cxn ang="0">
                      <a:pos x="T6" y="T7"/>
                    </a:cxn>
                    <a:cxn ang="0">
                      <a:pos x="T8" y="T9"/>
                    </a:cxn>
                    <a:cxn ang="0">
                      <a:pos x="T10" y="T11"/>
                    </a:cxn>
                  </a:cxnLst>
                  <a:rect l="0" t="0" r="r" b="b"/>
                  <a:pathLst>
                    <a:path w="64" h="33">
                      <a:moveTo>
                        <a:pt x="36" y="0"/>
                      </a:moveTo>
                      <a:cubicBezTo>
                        <a:pt x="17" y="0"/>
                        <a:pt x="2" y="14"/>
                        <a:pt x="0" y="33"/>
                      </a:cubicBezTo>
                      <a:cubicBezTo>
                        <a:pt x="36" y="33"/>
                        <a:pt x="36" y="33"/>
                        <a:pt x="36" y="33"/>
                      </a:cubicBezTo>
                      <a:cubicBezTo>
                        <a:pt x="64" y="33"/>
                        <a:pt x="64" y="33"/>
                        <a:pt x="64" y="33"/>
                      </a:cubicBezTo>
                      <a:cubicBezTo>
                        <a:pt x="64" y="0"/>
                        <a:pt x="64" y="0"/>
                        <a:pt x="64" y="0"/>
                      </a:cubicBezTo>
                      <a:lnTo>
                        <a:pt x="36" y="0"/>
                      </a:lnTo>
                      <a:close/>
                    </a:path>
                  </a:pathLst>
                </a:custGeom>
                <a:solidFill>
                  <a:srgbClr val="262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27" name="Rectangle 704"/>
                <p:cNvSpPr>
                  <a:spLocks noChangeArrowheads="1"/>
                </p:cNvSpPr>
                <p:nvPr/>
              </p:nvSpPr>
              <p:spPr bwMode="auto">
                <a:xfrm>
                  <a:off x="7704471" y="5750999"/>
                  <a:ext cx="36142" cy="211332"/>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28" name="Freeform 705"/>
                <p:cNvSpPr>
                  <a:spLocks/>
                </p:cNvSpPr>
                <p:nvPr/>
              </p:nvSpPr>
              <p:spPr bwMode="auto">
                <a:xfrm>
                  <a:off x="7704471" y="5926691"/>
                  <a:ext cx="36142" cy="71281"/>
                </a:xfrm>
                <a:custGeom>
                  <a:avLst/>
                  <a:gdLst>
                    <a:gd name="T0" fmla="*/ 0 w 29"/>
                    <a:gd name="T1" fmla="*/ 0 h 58"/>
                    <a:gd name="T2" fmla="*/ 0 w 29"/>
                    <a:gd name="T3" fmla="*/ 58 h 58"/>
                    <a:gd name="T4" fmla="*/ 29 w 29"/>
                    <a:gd name="T5" fmla="*/ 29 h 58"/>
                    <a:gd name="T6" fmla="*/ 0 w 29"/>
                    <a:gd name="T7" fmla="*/ 0 h 58"/>
                  </a:gdLst>
                  <a:ahLst/>
                  <a:cxnLst>
                    <a:cxn ang="0">
                      <a:pos x="T0" y="T1"/>
                    </a:cxn>
                    <a:cxn ang="0">
                      <a:pos x="T2" y="T3"/>
                    </a:cxn>
                    <a:cxn ang="0">
                      <a:pos x="T4" y="T5"/>
                    </a:cxn>
                    <a:cxn ang="0">
                      <a:pos x="T6" y="T7"/>
                    </a:cxn>
                  </a:cxnLst>
                  <a:rect l="0" t="0" r="r" b="b"/>
                  <a:pathLst>
                    <a:path w="29" h="58">
                      <a:moveTo>
                        <a:pt x="0" y="0"/>
                      </a:moveTo>
                      <a:cubicBezTo>
                        <a:pt x="0" y="58"/>
                        <a:pt x="0" y="58"/>
                        <a:pt x="0" y="58"/>
                      </a:cubicBezTo>
                      <a:cubicBezTo>
                        <a:pt x="16" y="58"/>
                        <a:pt x="29" y="45"/>
                        <a:pt x="29" y="29"/>
                      </a:cubicBezTo>
                      <a:cubicBezTo>
                        <a:pt x="29" y="13"/>
                        <a:pt x="16" y="0"/>
                        <a:pt x="0" y="0"/>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29" name="Rectangle 706"/>
                <p:cNvSpPr>
                  <a:spLocks noChangeArrowheads="1"/>
                </p:cNvSpPr>
                <p:nvPr/>
              </p:nvSpPr>
              <p:spPr bwMode="auto">
                <a:xfrm>
                  <a:off x="7523759" y="5750999"/>
                  <a:ext cx="36142" cy="211332"/>
                </a:xfrm>
                <a:prstGeom prst="rect">
                  <a:avLst/>
                </a:prstGeom>
                <a:solidFill>
                  <a:srgbClr val="E2BE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30" name="Freeform 707"/>
                <p:cNvSpPr>
                  <a:spLocks/>
                </p:cNvSpPr>
                <p:nvPr/>
              </p:nvSpPr>
              <p:spPr bwMode="auto">
                <a:xfrm>
                  <a:off x="7523759" y="5926691"/>
                  <a:ext cx="36142" cy="71281"/>
                </a:xfrm>
                <a:custGeom>
                  <a:avLst/>
                  <a:gdLst>
                    <a:gd name="T0" fmla="*/ 29 w 29"/>
                    <a:gd name="T1" fmla="*/ 0 h 58"/>
                    <a:gd name="T2" fmla="*/ 29 w 29"/>
                    <a:gd name="T3" fmla="*/ 58 h 58"/>
                    <a:gd name="T4" fmla="*/ 0 w 29"/>
                    <a:gd name="T5" fmla="*/ 29 h 58"/>
                    <a:gd name="T6" fmla="*/ 29 w 29"/>
                    <a:gd name="T7" fmla="*/ 0 h 58"/>
                  </a:gdLst>
                  <a:ahLst/>
                  <a:cxnLst>
                    <a:cxn ang="0">
                      <a:pos x="T0" y="T1"/>
                    </a:cxn>
                    <a:cxn ang="0">
                      <a:pos x="T2" y="T3"/>
                    </a:cxn>
                    <a:cxn ang="0">
                      <a:pos x="T4" y="T5"/>
                    </a:cxn>
                    <a:cxn ang="0">
                      <a:pos x="T6" y="T7"/>
                    </a:cxn>
                  </a:cxnLst>
                  <a:rect l="0" t="0" r="r" b="b"/>
                  <a:pathLst>
                    <a:path w="29" h="58">
                      <a:moveTo>
                        <a:pt x="29" y="0"/>
                      </a:moveTo>
                      <a:cubicBezTo>
                        <a:pt x="29" y="58"/>
                        <a:pt x="29" y="58"/>
                        <a:pt x="29" y="58"/>
                      </a:cubicBezTo>
                      <a:cubicBezTo>
                        <a:pt x="13" y="58"/>
                        <a:pt x="0" y="45"/>
                        <a:pt x="0" y="29"/>
                      </a:cubicBezTo>
                      <a:cubicBezTo>
                        <a:pt x="0" y="13"/>
                        <a:pt x="13" y="0"/>
                        <a:pt x="29" y="0"/>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31" name="Freeform 708"/>
                <p:cNvSpPr>
                  <a:spLocks/>
                </p:cNvSpPr>
                <p:nvPr/>
              </p:nvSpPr>
              <p:spPr bwMode="auto">
                <a:xfrm>
                  <a:off x="7610601" y="5613458"/>
                  <a:ext cx="42166" cy="69273"/>
                </a:xfrm>
                <a:custGeom>
                  <a:avLst/>
                  <a:gdLst>
                    <a:gd name="T0" fmla="*/ 42 w 84"/>
                    <a:gd name="T1" fmla="*/ 138 h 138"/>
                    <a:gd name="T2" fmla="*/ 0 w 84"/>
                    <a:gd name="T3" fmla="*/ 96 h 138"/>
                    <a:gd name="T4" fmla="*/ 0 w 84"/>
                    <a:gd name="T5" fmla="*/ 0 h 138"/>
                    <a:gd name="T6" fmla="*/ 84 w 84"/>
                    <a:gd name="T7" fmla="*/ 0 h 138"/>
                    <a:gd name="T8" fmla="*/ 84 w 84"/>
                    <a:gd name="T9" fmla="*/ 96 h 138"/>
                    <a:gd name="T10" fmla="*/ 42 w 84"/>
                    <a:gd name="T11" fmla="*/ 138 h 138"/>
                  </a:gdLst>
                  <a:ahLst/>
                  <a:cxnLst>
                    <a:cxn ang="0">
                      <a:pos x="T0" y="T1"/>
                    </a:cxn>
                    <a:cxn ang="0">
                      <a:pos x="T2" y="T3"/>
                    </a:cxn>
                    <a:cxn ang="0">
                      <a:pos x="T4" y="T5"/>
                    </a:cxn>
                    <a:cxn ang="0">
                      <a:pos x="T6" y="T7"/>
                    </a:cxn>
                    <a:cxn ang="0">
                      <a:pos x="T8" y="T9"/>
                    </a:cxn>
                    <a:cxn ang="0">
                      <a:pos x="T10" y="T11"/>
                    </a:cxn>
                  </a:cxnLst>
                  <a:rect l="0" t="0" r="r" b="b"/>
                  <a:pathLst>
                    <a:path w="84" h="138">
                      <a:moveTo>
                        <a:pt x="42" y="138"/>
                      </a:moveTo>
                      <a:lnTo>
                        <a:pt x="0" y="96"/>
                      </a:lnTo>
                      <a:lnTo>
                        <a:pt x="0" y="0"/>
                      </a:lnTo>
                      <a:lnTo>
                        <a:pt x="84" y="0"/>
                      </a:lnTo>
                      <a:lnTo>
                        <a:pt x="84" y="96"/>
                      </a:lnTo>
                      <a:lnTo>
                        <a:pt x="42" y="138"/>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32" name="Freeform 709"/>
                <p:cNvSpPr>
                  <a:spLocks/>
                </p:cNvSpPr>
                <p:nvPr/>
              </p:nvSpPr>
              <p:spPr bwMode="auto">
                <a:xfrm>
                  <a:off x="7610601" y="5613458"/>
                  <a:ext cx="42166" cy="36142"/>
                </a:xfrm>
                <a:custGeom>
                  <a:avLst/>
                  <a:gdLst>
                    <a:gd name="T0" fmla="*/ 0 w 34"/>
                    <a:gd name="T1" fmla="*/ 27 h 29"/>
                    <a:gd name="T2" fmla="*/ 17 w 34"/>
                    <a:gd name="T3" fmla="*/ 29 h 29"/>
                    <a:gd name="T4" fmla="*/ 34 w 34"/>
                    <a:gd name="T5" fmla="*/ 27 h 29"/>
                    <a:gd name="T6" fmla="*/ 34 w 34"/>
                    <a:gd name="T7" fmla="*/ 0 h 29"/>
                    <a:gd name="T8" fmla="*/ 0 w 34"/>
                    <a:gd name="T9" fmla="*/ 0 h 29"/>
                    <a:gd name="T10" fmla="*/ 0 w 34"/>
                    <a:gd name="T11" fmla="*/ 27 h 29"/>
                  </a:gdLst>
                  <a:ahLst/>
                  <a:cxnLst>
                    <a:cxn ang="0">
                      <a:pos x="T0" y="T1"/>
                    </a:cxn>
                    <a:cxn ang="0">
                      <a:pos x="T2" y="T3"/>
                    </a:cxn>
                    <a:cxn ang="0">
                      <a:pos x="T4" y="T5"/>
                    </a:cxn>
                    <a:cxn ang="0">
                      <a:pos x="T6" y="T7"/>
                    </a:cxn>
                    <a:cxn ang="0">
                      <a:pos x="T8" y="T9"/>
                    </a:cxn>
                    <a:cxn ang="0">
                      <a:pos x="T10" y="T11"/>
                    </a:cxn>
                  </a:cxnLst>
                  <a:rect l="0" t="0" r="r" b="b"/>
                  <a:pathLst>
                    <a:path w="34" h="29">
                      <a:moveTo>
                        <a:pt x="0" y="27"/>
                      </a:moveTo>
                      <a:cubicBezTo>
                        <a:pt x="6" y="28"/>
                        <a:pt x="11" y="29"/>
                        <a:pt x="17" y="29"/>
                      </a:cubicBezTo>
                      <a:cubicBezTo>
                        <a:pt x="23" y="29"/>
                        <a:pt x="29" y="28"/>
                        <a:pt x="34" y="27"/>
                      </a:cubicBezTo>
                      <a:cubicBezTo>
                        <a:pt x="34" y="0"/>
                        <a:pt x="34" y="0"/>
                        <a:pt x="34" y="0"/>
                      </a:cubicBezTo>
                      <a:cubicBezTo>
                        <a:pt x="0" y="0"/>
                        <a:pt x="0" y="0"/>
                        <a:pt x="0" y="0"/>
                      </a:cubicBezTo>
                      <a:lnTo>
                        <a:pt x="0" y="27"/>
                      </a:lnTo>
                      <a:close/>
                    </a:path>
                  </a:pathLst>
                </a:custGeom>
                <a:solidFill>
                  <a:srgbClr val="C69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33" name="Freeform 710"/>
                <p:cNvSpPr>
                  <a:spLocks/>
                </p:cNvSpPr>
                <p:nvPr/>
              </p:nvSpPr>
              <p:spPr bwMode="auto">
                <a:xfrm>
                  <a:off x="7581988" y="5501015"/>
                  <a:ext cx="100395" cy="67767"/>
                </a:xfrm>
                <a:custGeom>
                  <a:avLst/>
                  <a:gdLst>
                    <a:gd name="T0" fmla="*/ 40 w 81"/>
                    <a:gd name="T1" fmla="*/ 0 h 55"/>
                    <a:gd name="T2" fmla="*/ 0 w 81"/>
                    <a:gd name="T3" fmla="*/ 40 h 55"/>
                    <a:gd name="T4" fmla="*/ 0 w 81"/>
                    <a:gd name="T5" fmla="*/ 55 h 55"/>
                    <a:gd name="T6" fmla="*/ 81 w 81"/>
                    <a:gd name="T7" fmla="*/ 55 h 55"/>
                    <a:gd name="T8" fmla="*/ 81 w 81"/>
                    <a:gd name="T9" fmla="*/ 40 h 55"/>
                    <a:gd name="T10" fmla="*/ 40 w 81"/>
                    <a:gd name="T11" fmla="*/ 0 h 55"/>
                  </a:gdLst>
                  <a:ahLst/>
                  <a:cxnLst>
                    <a:cxn ang="0">
                      <a:pos x="T0" y="T1"/>
                    </a:cxn>
                    <a:cxn ang="0">
                      <a:pos x="T2" y="T3"/>
                    </a:cxn>
                    <a:cxn ang="0">
                      <a:pos x="T4" y="T5"/>
                    </a:cxn>
                    <a:cxn ang="0">
                      <a:pos x="T6" y="T7"/>
                    </a:cxn>
                    <a:cxn ang="0">
                      <a:pos x="T8" y="T9"/>
                    </a:cxn>
                    <a:cxn ang="0">
                      <a:pos x="T10" y="T11"/>
                    </a:cxn>
                  </a:cxnLst>
                  <a:rect l="0" t="0" r="r" b="b"/>
                  <a:pathLst>
                    <a:path w="81" h="55">
                      <a:moveTo>
                        <a:pt x="40" y="0"/>
                      </a:moveTo>
                      <a:cubicBezTo>
                        <a:pt x="18" y="0"/>
                        <a:pt x="0" y="18"/>
                        <a:pt x="0" y="40"/>
                      </a:cubicBezTo>
                      <a:cubicBezTo>
                        <a:pt x="0" y="55"/>
                        <a:pt x="0" y="55"/>
                        <a:pt x="0" y="55"/>
                      </a:cubicBezTo>
                      <a:cubicBezTo>
                        <a:pt x="81" y="55"/>
                        <a:pt x="81" y="55"/>
                        <a:pt x="81" y="55"/>
                      </a:cubicBezTo>
                      <a:cubicBezTo>
                        <a:pt x="81" y="40"/>
                        <a:pt x="81" y="40"/>
                        <a:pt x="81" y="40"/>
                      </a:cubicBezTo>
                      <a:cubicBezTo>
                        <a:pt x="81" y="18"/>
                        <a:pt x="63" y="0"/>
                        <a:pt x="40"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34" name="Freeform 711"/>
                <p:cNvSpPr>
                  <a:spLocks/>
                </p:cNvSpPr>
                <p:nvPr/>
              </p:nvSpPr>
              <p:spPr bwMode="auto">
                <a:xfrm>
                  <a:off x="7583494" y="5548201"/>
                  <a:ext cx="98889" cy="93870"/>
                </a:xfrm>
                <a:custGeom>
                  <a:avLst/>
                  <a:gdLst>
                    <a:gd name="T0" fmla="*/ 0 w 80"/>
                    <a:gd name="T1" fmla="*/ 0 h 76"/>
                    <a:gd name="T2" fmla="*/ 0 w 80"/>
                    <a:gd name="T3" fmla="*/ 63 h 76"/>
                    <a:gd name="T4" fmla="*/ 0 w 80"/>
                    <a:gd name="T5" fmla="*/ 63 h 76"/>
                    <a:gd name="T6" fmla="*/ 39 w 80"/>
                    <a:gd name="T7" fmla="*/ 76 h 76"/>
                    <a:gd name="T8" fmla="*/ 79 w 80"/>
                    <a:gd name="T9" fmla="*/ 63 h 76"/>
                    <a:gd name="T10" fmla="*/ 80 w 80"/>
                    <a:gd name="T11" fmla="*/ 63 h 76"/>
                    <a:gd name="T12" fmla="*/ 80 w 80"/>
                    <a:gd name="T13" fmla="*/ 0 h 76"/>
                    <a:gd name="T14" fmla="*/ 0 w 80"/>
                    <a:gd name="T15" fmla="*/ 0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76">
                      <a:moveTo>
                        <a:pt x="0" y="0"/>
                      </a:moveTo>
                      <a:cubicBezTo>
                        <a:pt x="0" y="63"/>
                        <a:pt x="0" y="63"/>
                        <a:pt x="0" y="63"/>
                      </a:cubicBezTo>
                      <a:cubicBezTo>
                        <a:pt x="0" y="63"/>
                        <a:pt x="0" y="63"/>
                        <a:pt x="0" y="63"/>
                      </a:cubicBezTo>
                      <a:cubicBezTo>
                        <a:pt x="11" y="71"/>
                        <a:pt x="24" y="76"/>
                        <a:pt x="39" y="76"/>
                      </a:cubicBezTo>
                      <a:cubicBezTo>
                        <a:pt x="54" y="76"/>
                        <a:pt x="68" y="71"/>
                        <a:pt x="79" y="63"/>
                      </a:cubicBezTo>
                      <a:cubicBezTo>
                        <a:pt x="80" y="63"/>
                        <a:pt x="80" y="63"/>
                        <a:pt x="80" y="63"/>
                      </a:cubicBezTo>
                      <a:cubicBezTo>
                        <a:pt x="80" y="0"/>
                        <a:pt x="80" y="0"/>
                        <a:pt x="80" y="0"/>
                      </a:cubicBezTo>
                      <a:lnTo>
                        <a:pt x="0" y="0"/>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35" name="Freeform 712"/>
                <p:cNvSpPr>
                  <a:spLocks/>
                </p:cNvSpPr>
                <p:nvPr/>
              </p:nvSpPr>
              <p:spPr bwMode="auto">
                <a:xfrm>
                  <a:off x="7583494" y="5501015"/>
                  <a:ext cx="69273" cy="74292"/>
                </a:xfrm>
                <a:custGeom>
                  <a:avLst/>
                  <a:gdLst>
                    <a:gd name="T0" fmla="*/ 56 w 56"/>
                    <a:gd name="T1" fmla="*/ 4 h 60"/>
                    <a:gd name="T2" fmla="*/ 40 w 56"/>
                    <a:gd name="T3" fmla="*/ 0 h 60"/>
                    <a:gd name="T4" fmla="*/ 0 w 56"/>
                    <a:gd name="T5" fmla="*/ 40 h 60"/>
                    <a:gd name="T6" fmla="*/ 0 w 56"/>
                    <a:gd name="T7" fmla="*/ 60 h 60"/>
                    <a:gd name="T8" fmla="*/ 56 w 56"/>
                    <a:gd name="T9" fmla="*/ 4 h 60"/>
                  </a:gdLst>
                  <a:ahLst/>
                  <a:cxnLst>
                    <a:cxn ang="0">
                      <a:pos x="T0" y="T1"/>
                    </a:cxn>
                    <a:cxn ang="0">
                      <a:pos x="T2" y="T3"/>
                    </a:cxn>
                    <a:cxn ang="0">
                      <a:pos x="T4" y="T5"/>
                    </a:cxn>
                    <a:cxn ang="0">
                      <a:pos x="T6" y="T7"/>
                    </a:cxn>
                    <a:cxn ang="0">
                      <a:pos x="T8" y="T9"/>
                    </a:cxn>
                  </a:cxnLst>
                  <a:rect l="0" t="0" r="r" b="b"/>
                  <a:pathLst>
                    <a:path w="56" h="60">
                      <a:moveTo>
                        <a:pt x="56" y="4"/>
                      </a:moveTo>
                      <a:cubicBezTo>
                        <a:pt x="51" y="2"/>
                        <a:pt x="46" y="0"/>
                        <a:pt x="40" y="0"/>
                      </a:cubicBezTo>
                      <a:cubicBezTo>
                        <a:pt x="18" y="0"/>
                        <a:pt x="0" y="18"/>
                        <a:pt x="0" y="40"/>
                      </a:cubicBezTo>
                      <a:cubicBezTo>
                        <a:pt x="0" y="60"/>
                        <a:pt x="0" y="60"/>
                        <a:pt x="0" y="60"/>
                      </a:cubicBezTo>
                      <a:cubicBezTo>
                        <a:pt x="29" y="57"/>
                        <a:pt x="53" y="33"/>
                        <a:pt x="56" y="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36" name="Freeform 713"/>
                <p:cNvSpPr>
                  <a:spLocks/>
                </p:cNvSpPr>
                <p:nvPr/>
              </p:nvSpPr>
              <p:spPr bwMode="auto">
                <a:xfrm>
                  <a:off x="7517735" y="5661647"/>
                  <a:ext cx="228901" cy="265043"/>
                </a:xfrm>
                <a:custGeom>
                  <a:avLst/>
                  <a:gdLst>
                    <a:gd name="T0" fmla="*/ 185 w 185"/>
                    <a:gd name="T1" fmla="*/ 72 h 214"/>
                    <a:gd name="T2" fmla="*/ 185 w 185"/>
                    <a:gd name="T3" fmla="*/ 39 h 214"/>
                    <a:gd name="T4" fmla="*/ 146 w 185"/>
                    <a:gd name="T5" fmla="*/ 0 h 214"/>
                    <a:gd name="T6" fmla="*/ 142 w 185"/>
                    <a:gd name="T7" fmla="*/ 0 h 214"/>
                    <a:gd name="T8" fmla="*/ 92 w 185"/>
                    <a:gd name="T9" fmla="*/ 34 h 214"/>
                    <a:gd name="T10" fmla="*/ 43 w 185"/>
                    <a:gd name="T11" fmla="*/ 0 h 214"/>
                    <a:gd name="T12" fmla="*/ 39 w 185"/>
                    <a:gd name="T13" fmla="*/ 0 h 214"/>
                    <a:gd name="T14" fmla="*/ 0 w 185"/>
                    <a:gd name="T15" fmla="*/ 39 h 214"/>
                    <a:gd name="T16" fmla="*/ 0 w 185"/>
                    <a:gd name="T17" fmla="*/ 72 h 214"/>
                    <a:gd name="T18" fmla="*/ 0 w 185"/>
                    <a:gd name="T19" fmla="*/ 214 h 214"/>
                    <a:gd name="T20" fmla="*/ 34 w 185"/>
                    <a:gd name="T21" fmla="*/ 214 h 214"/>
                    <a:gd name="T22" fmla="*/ 34 w 185"/>
                    <a:gd name="T23" fmla="*/ 72 h 214"/>
                    <a:gd name="T24" fmla="*/ 39 w 185"/>
                    <a:gd name="T25" fmla="*/ 72 h 214"/>
                    <a:gd name="T26" fmla="*/ 39 w 185"/>
                    <a:gd name="T27" fmla="*/ 192 h 214"/>
                    <a:gd name="T28" fmla="*/ 146 w 185"/>
                    <a:gd name="T29" fmla="*/ 192 h 214"/>
                    <a:gd name="T30" fmla="*/ 146 w 185"/>
                    <a:gd name="T31" fmla="*/ 72 h 214"/>
                    <a:gd name="T32" fmla="*/ 151 w 185"/>
                    <a:gd name="T33" fmla="*/ 72 h 214"/>
                    <a:gd name="T34" fmla="*/ 151 w 185"/>
                    <a:gd name="T35" fmla="*/ 214 h 214"/>
                    <a:gd name="T36" fmla="*/ 185 w 185"/>
                    <a:gd name="T37" fmla="*/ 214 h 214"/>
                    <a:gd name="T38" fmla="*/ 185 w 185"/>
                    <a:gd name="T39" fmla="*/ 72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5" h="214">
                      <a:moveTo>
                        <a:pt x="185" y="72"/>
                      </a:moveTo>
                      <a:cubicBezTo>
                        <a:pt x="185" y="39"/>
                        <a:pt x="185" y="39"/>
                        <a:pt x="185" y="39"/>
                      </a:cubicBezTo>
                      <a:cubicBezTo>
                        <a:pt x="185" y="18"/>
                        <a:pt x="167" y="0"/>
                        <a:pt x="146" y="0"/>
                      </a:cubicBezTo>
                      <a:cubicBezTo>
                        <a:pt x="142" y="0"/>
                        <a:pt x="142" y="0"/>
                        <a:pt x="142" y="0"/>
                      </a:cubicBezTo>
                      <a:cubicBezTo>
                        <a:pt x="134" y="20"/>
                        <a:pt x="115" y="34"/>
                        <a:pt x="92" y="34"/>
                      </a:cubicBezTo>
                      <a:cubicBezTo>
                        <a:pt x="70" y="34"/>
                        <a:pt x="51" y="20"/>
                        <a:pt x="43" y="0"/>
                      </a:cubicBezTo>
                      <a:cubicBezTo>
                        <a:pt x="39" y="0"/>
                        <a:pt x="39" y="0"/>
                        <a:pt x="39" y="0"/>
                      </a:cubicBezTo>
                      <a:cubicBezTo>
                        <a:pt x="17" y="0"/>
                        <a:pt x="0" y="18"/>
                        <a:pt x="0" y="39"/>
                      </a:cubicBezTo>
                      <a:cubicBezTo>
                        <a:pt x="0" y="72"/>
                        <a:pt x="0" y="72"/>
                        <a:pt x="0" y="72"/>
                      </a:cubicBezTo>
                      <a:cubicBezTo>
                        <a:pt x="0" y="214"/>
                        <a:pt x="0" y="214"/>
                        <a:pt x="0" y="214"/>
                      </a:cubicBezTo>
                      <a:cubicBezTo>
                        <a:pt x="34" y="214"/>
                        <a:pt x="34" y="214"/>
                        <a:pt x="34" y="214"/>
                      </a:cubicBezTo>
                      <a:cubicBezTo>
                        <a:pt x="34" y="72"/>
                        <a:pt x="34" y="72"/>
                        <a:pt x="34" y="72"/>
                      </a:cubicBezTo>
                      <a:cubicBezTo>
                        <a:pt x="39" y="72"/>
                        <a:pt x="39" y="72"/>
                        <a:pt x="39" y="72"/>
                      </a:cubicBezTo>
                      <a:cubicBezTo>
                        <a:pt x="39" y="192"/>
                        <a:pt x="39" y="192"/>
                        <a:pt x="39" y="192"/>
                      </a:cubicBezTo>
                      <a:cubicBezTo>
                        <a:pt x="146" y="192"/>
                        <a:pt x="146" y="192"/>
                        <a:pt x="146" y="192"/>
                      </a:cubicBezTo>
                      <a:cubicBezTo>
                        <a:pt x="146" y="72"/>
                        <a:pt x="146" y="72"/>
                        <a:pt x="146" y="72"/>
                      </a:cubicBezTo>
                      <a:cubicBezTo>
                        <a:pt x="151" y="72"/>
                        <a:pt x="151" y="72"/>
                        <a:pt x="151" y="72"/>
                      </a:cubicBezTo>
                      <a:cubicBezTo>
                        <a:pt x="151" y="214"/>
                        <a:pt x="151" y="214"/>
                        <a:pt x="151" y="214"/>
                      </a:cubicBezTo>
                      <a:cubicBezTo>
                        <a:pt x="185" y="214"/>
                        <a:pt x="185" y="214"/>
                        <a:pt x="185" y="214"/>
                      </a:cubicBezTo>
                      <a:cubicBezTo>
                        <a:pt x="185" y="72"/>
                        <a:pt x="185" y="72"/>
                        <a:pt x="185" y="7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37" name="Freeform 726"/>
                <p:cNvSpPr>
                  <a:spLocks/>
                </p:cNvSpPr>
                <p:nvPr/>
              </p:nvSpPr>
              <p:spPr bwMode="auto">
                <a:xfrm>
                  <a:off x="7569941" y="5594884"/>
                  <a:ext cx="17067" cy="16063"/>
                </a:xfrm>
                <a:custGeom>
                  <a:avLst/>
                  <a:gdLst>
                    <a:gd name="T0" fmla="*/ 17 w 34"/>
                    <a:gd name="T1" fmla="*/ 0 h 32"/>
                    <a:gd name="T2" fmla="*/ 22 w 34"/>
                    <a:gd name="T3" fmla="*/ 10 h 32"/>
                    <a:gd name="T4" fmla="*/ 34 w 34"/>
                    <a:gd name="T5" fmla="*/ 12 h 32"/>
                    <a:gd name="T6" fmla="*/ 27 w 34"/>
                    <a:gd name="T7" fmla="*/ 22 h 32"/>
                    <a:gd name="T8" fmla="*/ 27 w 34"/>
                    <a:gd name="T9" fmla="*/ 32 h 32"/>
                    <a:gd name="T10" fmla="*/ 17 w 34"/>
                    <a:gd name="T11" fmla="*/ 27 h 32"/>
                    <a:gd name="T12" fmla="*/ 7 w 34"/>
                    <a:gd name="T13" fmla="*/ 32 h 32"/>
                    <a:gd name="T14" fmla="*/ 7 w 34"/>
                    <a:gd name="T15" fmla="*/ 22 h 32"/>
                    <a:gd name="T16" fmla="*/ 0 w 34"/>
                    <a:gd name="T17" fmla="*/ 12 h 32"/>
                    <a:gd name="T18" fmla="*/ 12 w 34"/>
                    <a:gd name="T19" fmla="*/ 10 h 32"/>
                    <a:gd name="T20" fmla="*/ 17 w 34"/>
                    <a:gd name="T2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2">
                      <a:moveTo>
                        <a:pt x="17" y="0"/>
                      </a:moveTo>
                      <a:lnTo>
                        <a:pt x="22" y="10"/>
                      </a:lnTo>
                      <a:lnTo>
                        <a:pt x="34" y="12"/>
                      </a:lnTo>
                      <a:lnTo>
                        <a:pt x="27" y="22"/>
                      </a:lnTo>
                      <a:lnTo>
                        <a:pt x="27" y="32"/>
                      </a:lnTo>
                      <a:lnTo>
                        <a:pt x="17" y="27"/>
                      </a:lnTo>
                      <a:lnTo>
                        <a:pt x="7" y="32"/>
                      </a:lnTo>
                      <a:lnTo>
                        <a:pt x="7" y="22"/>
                      </a:lnTo>
                      <a:lnTo>
                        <a:pt x="0" y="12"/>
                      </a:lnTo>
                      <a:lnTo>
                        <a:pt x="12" y="10"/>
                      </a:lnTo>
                      <a:lnTo>
                        <a:pt x="1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38" name="Oval 727"/>
                <p:cNvSpPr>
                  <a:spLocks noChangeArrowheads="1"/>
                </p:cNvSpPr>
                <p:nvPr/>
              </p:nvSpPr>
              <p:spPr bwMode="auto">
                <a:xfrm>
                  <a:off x="7595542" y="5581331"/>
                  <a:ext cx="9036" cy="853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39" name="Oval 728"/>
                <p:cNvSpPr>
                  <a:spLocks noChangeArrowheads="1"/>
                </p:cNvSpPr>
                <p:nvPr/>
              </p:nvSpPr>
              <p:spPr bwMode="auto">
                <a:xfrm>
                  <a:off x="7659795" y="5581331"/>
                  <a:ext cx="9036" cy="853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40" name="Freeform 729"/>
                <p:cNvSpPr>
                  <a:spLocks/>
                </p:cNvSpPr>
                <p:nvPr/>
              </p:nvSpPr>
              <p:spPr bwMode="auto">
                <a:xfrm>
                  <a:off x="7624154" y="5602414"/>
                  <a:ext cx="15059" cy="5020"/>
                </a:xfrm>
                <a:custGeom>
                  <a:avLst/>
                  <a:gdLst>
                    <a:gd name="T0" fmla="*/ 0 w 12"/>
                    <a:gd name="T1" fmla="*/ 0 h 4"/>
                    <a:gd name="T2" fmla="*/ 6 w 12"/>
                    <a:gd name="T3" fmla="*/ 4 h 4"/>
                    <a:gd name="T4" fmla="*/ 12 w 12"/>
                    <a:gd name="T5" fmla="*/ 0 h 4"/>
                    <a:gd name="T6" fmla="*/ 0 w 12"/>
                    <a:gd name="T7" fmla="*/ 0 h 4"/>
                  </a:gdLst>
                  <a:ahLst/>
                  <a:cxnLst>
                    <a:cxn ang="0">
                      <a:pos x="T0" y="T1"/>
                    </a:cxn>
                    <a:cxn ang="0">
                      <a:pos x="T2" y="T3"/>
                    </a:cxn>
                    <a:cxn ang="0">
                      <a:pos x="T4" y="T5"/>
                    </a:cxn>
                    <a:cxn ang="0">
                      <a:pos x="T6" y="T7"/>
                    </a:cxn>
                  </a:cxnLst>
                  <a:rect l="0" t="0" r="r" b="b"/>
                  <a:pathLst>
                    <a:path w="12" h="4">
                      <a:moveTo>
                        <a:pt x="0" y="0"/>
                      </a:moveTo>
                      <a:cubicBezTo>
                        <a:pt x="1" y="3"/>
                        <a:pt x="3" y="4"/>
                        <a:pt x="6" y="4"/>
                      </a:cubicBezTo>
                      <a:cubicBezTo>
                        <a:pt x="9" y="4"/>
                        <a:pt x="11" y="3"/>
                        <a:pt x="12" y="0"/>
                      </a:cubicBezTo>
                      <a:lnTo>
                        <a:pt x="0" y="0"/>
                      </a:lnTo>
                      <a:close/>
                    </a:path>
                  </a:pathLst>
                </a:custGeom>
                <a:solidFill>
                  <a:srgbClr val="C69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41" name="Freeform 730"/>
                <p:cNvSpPr>
                  <a:spLocks/>
                </p:cNvSpPr>
                <p:nvPr/>
              </p:nvSpPr>
              <p:spPr bwMode="auto">
                <a:xfrm>
                  <a:off x="7616625" y="5615967"/>
                  <a:ext cx="29617" cy="6024"/>
                </a:xfrm>
                <a:custGeom>
                  <a:avLst/>
                  <a:gdLst>
                    <a:gd name="T0" fmla="*/ 0 w 24"/>
                    <a:gd name="T1" fmla="*/ 0 h 5"/>
                    <a:gd name="T2" fmla="*/ 12 w 24"/>
                    <a:gd name="T3" fmla="*/ 5 h 5"/>
                    <a:gd name="T4" fmla="*/ 24 w 24"/>
                    <a:gd name="T5" fmla="*/ 0 h 5"/>
                  </a:gdLst>
                  <a:ahLst/>
                  <a:cxnLst>
                    <a:cxn ang="0">
                      <a:pos x="T0" y="T1"/>
                    </a:cxn>
                    <a:cxn ang="0">
                      <a:pos x="T2" y="T3"/>
                    </a:cxn>
                    <a:cxn ang="0">
                      <a:pos x="T4" y="T5"/>
                    </a:cxn>
                  </a:cxnLst>
                  <a:rect l="0" t="0" r="r" b="b"/>
                  <a:pathLst>
                    <a:path w="24" h="5">
                      <a:moveTo>
                        <a:pt x="0" y="0"/>
                      </a:moveTo>
                      <a:cubicBezTo>
                        <a:pt x="3" y="3"/>
                        <a:pt x="7" y="5"/>
                        <a:pt x="12" y="5"/>
                      </a:cubicBezTo>
                      <a:cubicBezTo>
                        <a:pt x="17" y="5"/>
                        <a:pt x="21" y="3"/>
                        <a:pt x="24" y="0"/>
                      </a:cubicBezTo>
                    </a:path>
                  </a:pathLst>
                </a:custGeom>
                <a:noFill/>
                <a:ln w="14288" cap="rnd">
                  <a:solidFill>
                    <a:srgbClr val="DD59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42" name="Freeform 731"/>
                <p:cNvSpPr>
                  <a:spLocks/>
                </p:cNvSpPr>
                <p:nvPr/>
              </p:nvSpPr>
              <p:spPr bwMode="auto">
                <a:xfrm>
                  <a:off x="7139245" y="5551714"/>
                  <a:ext cx="121478" cy="24597"/>
                </a:xfrm>
                <a:custGeom>
                  <a:avLst/>
                  <a:gdLst>
                    <a:gd name="T0" fmla="*/ 0 w 98"/>
                    <a:gd name="T1" fmla="*/ 15 h 20"/>
                    <a:gd name="T2" fmla="*/ 5 w 98"/>
                    <a:gd name="T3" fmla="*/ 20 h 20"/>
                    <a:gd name="T4" fmla="*/ 93 w 98"/>
                    <a:gd name="T5" fmla="*/ 20 h 20"/>
                    <a:gd name="T6" fmla="*/ 98 w 98"/>
                    <a:gd name="T7" fmla="*/ 15 h 20"/>
                    <a:gd name="T8" fmla="*/ 98 w 98"/>
                    <a:gd name="T9" fmla="*/ 4 h 20"/>
                    <a:gd name="T10" fmla="*/ 93 w 98"/>
                    <a:gd name="T11" fmla="*/ 0 h 20"/>
                    <a:gd name="T12" fmla="*/ 5 w 98"/>
                    <a:gd name="T13" fmla="*/ 0 h 20"/>
                    <a:gd name="T14" fmla="*/ 0 w 98"/>
                    <a:gd name="T15" fmla="*/ 4 h 20"/>
                    <a:gd name="T16" fmla="*/ 0 w 98"/>
                    <a:gd name="T17" fmla="*/ 15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20">
                      <a:moveTo>
                        <a:pt x="0" y="15"/>
                      </a:moveTo>
                      <a:cubicBezTo>
                        <a:pt x="0" y="18"/>
                        <a:pt x="2" y="20"/>
                        <a:pt x="5" y="20"/>
                      </a:cubicBezTo>
                      <a:cubicBezTo>
                        <a:pt x="93" y="20"/>
                        <a:pt x="93" y="20"/>
                        <a:pt x="93" y="20"/>
                      </a:cubicBezTo>
                      <a:cubicBezTo>
                        <a:pt x="96" y="20"/>
                        <a:pt x="98" y="18"/>
                        <a:pt x="98" y="15"/>
                      </a:cubicBezTo>
                      <a:cubicBezTo>
                        <a:pt x="98" y="4"/>
                        <a:pt x="98" y="4"/>
                        <a:pt x="98" y="4"/>
                      </a:cubicBezTo>
                      <a:cubicBezTo>
                        <a:pt x="98" y="2"/>
                        <a:pt x="96" y="0"/>
                        <a:pt x="93" y="0"/>
                      </a:cubicBezTo>
                      <a:cubicBezTo>
                        <a:pt x="5" y="0"/>
                        <a:pt x="5" y="0"/>
                        <a:pt x="5" y="0"/>
                      </a:cubicBezTo>
                      <a:cubicBezTo>
                        <a:pt x="2" y="0"/>
                        <a:pt x="0" y="2"/>
                        <a:pt x="0" y="4"/>
                      </a:cubicBezTo>
                      <a:lnTo>
                        <a:pt x="0" y="15"/>
                      </a:lnTo>
                      <a:close/>
                    </a:path>
                  </a:pathLst>
                </a:custGeom>
                <a:solidFill>
                  <a:srgbClr val="4937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43" name="Freeform 732"/>
                <p:cNvSpPr>
                  <a:spLocks/>
                </p:cNvSpPr>
                <p:nvPr/>
              </p:nvSpPr>
              <p:spPr bwMode="auto">
                <a:xfrm>
                  <a:off x="7232111" y="6168644"/>
                  <a:ext cx="79312" cy="41162"/>
                </a:xfrm>
                <a:custGeom>
                  <a:avLst/>
                  <a:gdLst>
                    <a:gd name="T0" fmla="*/ 28 w 64"/>
                    <a:gd name="T1" fmla="*/ 0 h 33"/>
                    <a:gd name="T2" fmla="*/ 64 w 64"/>
                    <a:gd name="T3" fmla="*/ 33 h 33"/>
                    <a:gd name="T4" fmla="*/ 28 w 64"/>
                    <a:gd name="T5" fmla="*/ 33 h 33"/>
                    <a:gd name="T6" fmla="*/ 0 w 64"/>
                    <a:gd name="T7" fmla="*/ 33 h 33"/>
                    <a:gd name="T8" fmla="*/ 0 w 64"/>
                    <a:gd name="T9" fmla="*/ 0 h 33"/>
                    <a:gd name="T10" fmla="*/ 28 w 64"/>
                    <a:gd name="T11" fmla="*/ 0 h 33"/>
                  </a:gdLst>
                  <a:ahLst/>
                  <a:cxnLst>
                    <a:cxn ang="0">
                      <a:pos x="T0" y="T1"/>
                    </a:cxn>
                    <a:cxn ang="0">
                      <a:pos x="T2" y="T3"/>
                    </a:cxn>
                    <a:cxn ang="0">
                      <a:pos x="T4" y="T5"/>
                    </a:cxn>
                    <a:cxn ang="0">
                      <a:pos x="T6" y="T7"/>
                    </a:cxn>
                    <a:cxn ang="0">
                      <a:pos x="T8" y="T9"/>
                    </a:cxn>
                    <a:cxn ang="0">
                      <a:pos x="T10" y="T11"/>
                    </a:cxn>
                  </a:cxnLst>
                  <a:rect l="0" t="0" r="r" b="b"/>
                  <a:pathLst>
                    <a:path w="64" h="33">
                      <a:moveTo>
                        <a:pt x="28" y="0"/>
                      </a:moveTo>
                      <a:cubicBezTo>
                        <a:pt x="47" y="0"/>
                        <a:pt x="63" y="14"/>
                        <a:pt x="64" y="33"/>
                      </a:cubicBezTo>
                      <a:cubicBezTo>
                        <a:pt x="28" y="33"/>
                        <a:pt x="28" y="33"/>
                        <a:pt x="28" y="33"/>
                      </a:cubicBezTo>
                      <a:cubicBezTo>
                        <a:pt x="0" y="33"/>
                        <a:pt x="0" y="33"/>
                        <a:pt x="0" y="33"/>
                      </a:cubicBezTo>
                      <a:cubicBezTo>
                        <a:pt x="0" y="0"/>
                        <a:pt x="0" y="0"/>
                        <a:pt x="0" y="0"/>
                      </a:cubicBezTo>
                      <a:lnTo>
                        <a:pt x="28" y="0"/>
                      </a:lnTo>
                      <a:close/>
                    </a:path>
                  </a:pathLst>
                </a:custGeom>
                <a:solidFill>
                  <a:srgbClr val="563F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44" name="Freeform 733"/>
                <p:cNvSpPr>
                  <a:spLocks/>
                </p:cNvSpPr>
                <p:nvPr/>
              </p:nvSpPr>
              <p:spPr bwMode="auto">
                <a:xfrm>
                  <a:off x="7133222" y="5884525"/>
                  <a:ext cx="133526" cy="288134"/>
                </a:xfrm>
                <a:custGeom>
                  <a:avLst/>
                  <a:gdLst>
                    <a:gd name="T0" fmla="*/ 0 w 266"/>
                    <a:gd name="T1" fmla="*/ 0 h 574"/>
                    <a:gd name="T2" fmla="*/ 0 w 266"/>
                    <a:gd name="T3" fmla="*/ 0 h 574"/>
                    <a:gd name="T4" fmla="*/ 69 w 266"/>
                    <a:gd name="T5" fmla="*/ 0 h 574"/>
                    <a:gd name="T6" fmla="*/ 197 w 266"/>
                    <a:gd name="T7" fmla="*/ 0 h 574"/>
                    <a:gd name="T8" fmla="*/ 266 w 266"/>
                    <a:gd name="T9" fmla="*/ 0 h 574"/>
                    <a:gd name="T10" fmla="*/ 266 w 266"/>
                    <a:gd name="T11" fmla="*/ 86 h 574"/>
                    <a:gd name="T12" fmla="*/ 266 w 266"/>
                    <a:gd name="T13" fmla="*/ 574 h 574"/>
                    <a:gd name="T14" fmla="*/ 197 w 266"/>
                    <a:gd name="T15" fmla="*/ 574 h 574"/>
                    <a:gd name="T16" fmla="*/ 197 w 266"/>
                    <a:gd name="T17" fmla="*/ 86 h 574"/>
                    <a:gd name="T18" fmla="*/ 69 w 266"/>
                    <a:gd name="T19" fmla="*/ 86 h 574"/>
                    <a:gd name="T20" fmla="*/ 69 w 266"/>
                    <a:gd name="T21" fmla="*/ 574 h 574"/>
                    <a:gd name="T22" fmla="*/ 0 w 266"/>
                    <a:gd name="T23" fmla="*/ 574 h 574"/>
                    <a:gd name="T24" fmla="*/ 0 w 266"/>
                    <a:gd name="T25" fmla="*/ 86 h 574"/>
                    <a:gd name="T26" fmla="*/ 0 w 266"/>
                    <a:gd name="T27" fmla="*/ 86 h 574"/>
                    <a:gd name="T28" fmla="*/ 0 w 266"/>
                    <a:gd name="T29" fmla="*/ 0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6" h="574">
                      <a:moveTo>
                        <a:pt x="0" y="0"/>
                      </a:moveTo>
                      <a:lnTo>
                        <a:pt x="0" y="0"/>
                      </a:lnTo>
                      <a:lnTo>
                        <a:pt x="69" y="0"/>
                      </a:lnTo>
                      <a:lnTo>
                        <a:pt x="197" y="0"/>
                      </a:lnTo>
                      <a:lnTo>
                        <a:pt x="266" y="0"/>
                      </a:lnTo>
                      <a:lnTo>
                        <a:pt x="266" y="86"/>
                      </a:lnTo>
                      <a:lnTo>
                        <a:pt x="266" y="574"/>
                      </a:lnTo>
                      <a:lnTo>
                        <a:pt x="197" y="574"/>
                      </a:lnTo>
                      <a:lnTo>
                        <a:pt x="197" y="86"/>
                      </a:lnTo>
                      <a:lnTo>
                        <a:pt x="69" y="86"/>
                      </a:lnTo>
                      <a:lnTo>
                        <a:pt x="69" y="574"/>
                      </a:lnTo>
                      <a:lnTo>
                        <a:pt x="0" y="574"/>
                      </a:lnTo>
                      <a:lnTo>
                        <a:pt x="0" y="86"/>
                      </a:lnTo>
                      <a:lnTo>
                        <a:pt x="0" y="86"/>
                      </a:lnTo>
                      <a:lnTo>
                        <a:pt x="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45" name="Freeform 734"/>
                <p:cNvSpPr>
                  <a:spLocks/>
                </p:cNvSpPr>
                <p:nvPr/>
              </p:nvSpPr>
              <p:spPr bwMode="auto">
                <a:xfrm>
                  <a:off x="7133222" y="6168644"/>
                  <a:ext cx="79312" cy="41162"/>
                </a:xfrm>
                <a:custGeom>
                  <a:avLst/>
                  <a:gdLst>
                    <a:gd name="T0" fmla="*/ 28 w 64"/>
                    <a:gd name="T1" fmla="*/ 0 h 33"/>
                    <a:gd name="T2" fmla="*/ 64 w 64"/>
                    <a:gd name="T3" fmla="*/ 33 h 33"/>
                    <a:gd name="T4" fmla="*/ 28 w 64"/>
                    <a:gd name="T5" fmla="*/ 33 h 33"/>
                    <a:gd name="T6" fmla="*/ 0 w 64"/>
                    <a:gd name="T7" fmla="*/ 33 h 33"/>
                    <a:gd name="T8" fmla="*/ 0 w 64"/>
                    <a:gd name="T9" fmla="*/ 0 h 33"/>
                    <a:gd name="T10" fmla="*/ 28 w 64"/>
                    <a:gd name="T11" fmla="*/ 0 h 33"/>
                  </a:gdLst>
                  <a:ahLst/>
                  <a:cxnLst>
                    <a:cxn ang="0">
                      <a:pos x="T0" y="T1"/>
                    </a:cxn>
                    <a:cxn ang="0">
                      <a:pos x="T2" y="T3"/>
                    </a:cxn>
                    <a:cxn ang="0">
                      <a:pos x="T4" y="T5"/>
                    </a:cxn>
                    <a:cxn ang="0">
                      <a:pos x="T6" y="T7"/>
                    </a:cxn>
                    <a:cxn ang="0">
                      <a:pos x="T8" y="T9"/>
                    </a:cxn>
                    <a:cxn ang="0">
                      <a:pos x="T10" y="T11"/>
                    </a:cxn>
                  </a:cxnLst>
                  <a:rect l="0" t="0" r="r" b="b"/>
                  <a:pathLst>
                    <a:path w="64" h="33">
                      <a:moveTo>
                        <a:pt x="28" y="0"/>
                      </a:moveTo>
                      <a:cubicBezTo>
                        <a:pt x="47" y="0"/>
                        <a:pt x="63" y="14"/>
                        <a:pt x="64" y="33"/>
                      </a:cubicBezTo>
                      <a:cubicBezTo>
                        <a:pt x="28" y="33"/>
                        <a:pt x="28" y="33"/>
                        <a:pt x="28" y="33"/>
                      </a:cubicBezTo>
                      <a:cubicBezTo>
                        <a:pt x="0" y="33"/>
                        <a:pt x="0" y="33"/>
                        <a:pt x="0" y="33"/>
                      </a:cubicBezTo>
                      <a:cubicBezTo>
                        <a:pt x="0" y="0"/>
                        <a:pt x="0" y="0"/>
                        <a:pt x="0" y="0"/>
                      </a:cubicBezTo>
                      <a:lnTo>
                        <a:pt x="28" y="0"/>
                      </a:lnTo>
                      <a:close/>
                    </a:path>
                  </a:pathLst>
                </a:custGeom>
                <a:solidFill>
                  <a:srgbClr val="563F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46" name="Freeform 735"/>
                <p:cNvSpPr>
                  <a:spLocks/>
                </p:cNvSpPr>
                <p:nvPr/>
              </p:nvSpPr>
              <p:spPr bwMode="auto">
                <a:xfrm>
                  <a:off x="7085032" y="5645584"/>
                  <a:ext cx="229905" cy="238941"/>
                </a:xfrm>
                <a:custGeom>
                  <a:avLst/>
                  <a:gdLst>
                    <a:gd name="T0" fmla="*/ 39 w 186"/>
                    <a:gd name="T1" fmla="*/ 0 h 193"/>
                    <a:gd name="T2" fmla="*/ 147 w 186"/>
                    <a:gd name="T3" fmla="*/ 0 h 193"/>
                    <a:gd name="T4" fmla="*/ 186 w 186"/>
                    <a:gd name="T5" fmla="*/ 39 h 193"/>
                    <a:gd name="T6" fmla="*/ 186 w 186"/>
                    <a:gd name="T7" fmla="*/ 73 h 193"/>
                    <a:gd name="T8" fmla="*/ 147 w 186"/>
                    <a:gd name="T9" fmla="*/ 73 h 193"/>
                    <a:gd name="T10" fmla="*/ 147 w 186"/>
                    <a:gd name="T11" fmla="*/ 193 h 193"/>
                    <a:gd name="T12" fmla="*/ 39 w 186"/>
                    <a:gd name="T13" fmla="*/ 193 h 193"/>
                    <a:gd name="T14" fmla="*/ 39 w 186"/>
                    <a:gd name="T15" fmla="*/ 73 h 193"/>
                    <a:gd name="T16" fmla="*/ 0 w 186"/>
                    <a:gd name="T17" fmla="*/ 73 h 193"/>
                    <a:gd name="T18" fmla="*/ 0 w 186"/>
                    <a:gd name="T19" fmla="*/ 39 h 193"/>
                    <a:gd name="T20" fmla="*/ 39 w 186"/>
                    <a:gd name="T21"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6" h="193">
                      <a:moveTo>
                        <a:pt x="39" y="0"/>
                      </a:moveTo>
                      <a:cubicBezTo>
                        <a:pt x="147" y="0"/>
                        <a:pt x="147" y="0"/>
                        <a:pt x="147" y="0"/>
                      </a:cubicBezTo>
                      <a:cubicBezTo>
                        <a:pt x="169" y="0"/>
                        <a:pt x="186" y="17"/>
                        <a:pt x="186" y="39"/>
                      </a:cubicBezTo>
                      <a:cubicBezTo>
                        <a:pt x="186" y="73"/>
                        <a:pt x="186" y="73"/>
                        <a:pt x="186" y="73"/>
                      </a:cubicBezTo>
                      <a:cubicBezTo>
                        <a:pt x="147" y="73"/>
                        <a:pt x="147" y="73"/>
                        <a:pt x="147" y="73"/>
                      </a:cubicBezTo>
                      <a:cubicBezTo>
                        <a:pt x="147" y="193"/>
                        <a:pt x="147" y="193"/>
                        <a:pt x="147" y="193"/>
                      </a:cubicBezTo>
                      <a:cubicBezTo>
                        <a:pt x="39" y="193"/>
                        <a:pt x="39" y="193"/>
                        <a:pt x="39" y="193"/>
                      </a:cubicBezTo>
                      <a:cubicBezTo>
                        <a:pt x="39" y="73"/>
                        <a:pt x="39" y="73"/>
                        <a:pt x="39" y="73"/>
                      </a:cubicBezTo>
                      <a:cubicBezTo>
                        <a:pt x="0" y="73"/>
                        <a:pt x="0" y="73"/>
                        <a:pt x="0" y="73"/>
                      </a:cubicBezTo>
                      <a:cubicBezTo>
                        <a:pt x="0" y="39"/>
                        <a:pt x="0" y="39"/>
                        <a:pt x="0" y="39"/>
                      </a:cubicBezTo>
                      <a:cubicBezTo>
                        <a:pt x="0" y="17"/>
                        <a:pt x="17" y="0"/>
                        <a:pt x="39"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47" name="Freeform 736"/>
                <p:cNvSpPr>
                  <a:spLocks/>
                </p:cNvSpPr>
                <p:nvPr/>
              </p:nvSpPr>
              <p:spPr bwMode="auto">
                <a:xfrm>
                  <a:off x="7272771" y="5735940"/>
                  <a:ext cx="81822" cy="122482"/>
                </a:xfrm>
                <a:custGeom>
                  <a:avLst/>
                  <a:gdLst>
                    <a:gd name="T0" fmla="*/ 25 w 66"/>
                    <a:gd name="T1" fmla="*/ 99 h 99"/>
                    <a:gd name="T2" fmla="*/ 66 w 66"/>
                    <a:gd name="T3" fmla="*/ 99 h 99"/>
                    <a:gd name="T4" fmla="*/ 66 w 66"/>
                    <a:gd name="T5" fmla="*/ 70 h 99"/>
                    <a:gd name="T6" fmla="*/ 29 w 66"/>
                    <a:gd name="T7" fmla="*/ 70 h 99"/>
                    <a:gd name="T8" fmla="*/ 29 w 66"/>
                    <a:gd name="T9" fmla="*/ 0 h 99"/>
                    <a:gd name="T10" fmla="*/ 0 w 66"/>
                    <a:gd name="T11" fmla="*/ 0 h 99"/>
                    <a:gd name="T12" fmla="*/ 0 w 66"/>
                    <a:gd name="T13" fmla="*/ 74 h 99"/>
                    <a:gd name="T14" fmla="*/ 25 w 66"/>
                    <a:gd name="T15" fmla="*/ 99 h 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99">
                      <a:moveTo>
                        <a:pt x="25" y="99"/>
                      </a:moveTo>
                      <a:cubicBezTo>
                        <a:pt x="66" y="99"/>
                        <a:pt x="66" y="99"/>
                        <a:pt x="66" y="99"/>
                      </a:cubicBezTo>
                      <a:cubicBezTo>
                        <a:pt x="66" y="70"/>
                        <a:pt x="66" y="70"/>
                        <a:pt x="66" y="70"/>
                      </a:cubicBezTo>
                      <a:cubicBezTo>
                        <a:pt x="29" y="70"/>
                        <a:pt x="29" y="70"/>
                        <a:pt x="29" y="70"/>
                      </a:cubicBezTo>
                      <a:cubicBezTo>
                        <a:pt x="29" y="0"/>
                        <a:pt x="29" y="0"/>
                        <a:pt x="29" y="0"/>
                      </a:cubicBezTo>
                      <a:cubicBezTo>
                        <a:pt x="0" y="0"/>
                        <a:pt x="0" y="0"/>
                        <a:pt x="0" y="0"/>
                      </a:cubicBezTo>
                      <a:cubicBezTo>
                        <a:pt x="0" y="74"/>
                        <a:pt x="0" y="74"/>
                        <a:pt x="0" y="74"/>
                      </a:cubicBezTo>
                      <a:cubicBezTo>
                        <a:pt x="0" y="88"/>
                        <a:pt x="11" y="99"/>
                        <a:pt x="25" y="99"/>
                      </a:cubicBezTo>
                      <a:close/>
                    </a:path>
                  </a:pathLst>
                </a:custGeom>
                <a:solidFill>
                  <a:srgbClr val="6D56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48" name="Rectangle 737"/>
                <p:cNvSpPr>
                  <a:spLocks noChangeArrowheads="1"/>
                </p:cNvSpPr>
                <p:nvPr/>
              </p:nvSpPr>
              <p:spPr bwMode="auto">
                <a:xfrm>
                  <a:off x="7091056" y="5735940"/>
                  <a:ext cx="36142" cy="212838"/>
                </a:xfrm>
                <a:prstGeom prst="rect">
                  <a:avLst/>
                </a:prstGeom>
                <a:solidFill>
                  <a:srgbClr val="6D56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49" name="Freeform 738"/>
                <p:cNvSpPr>
                  <a:spLocks/>
                </p:cNvSpPr>
                <p:nvPr/>
              </p:nvSpPr>
              <p:spPr bwMode="auto">
                <a:xfrm>
                  <a:off x="7090052" y="5912636"/>
                  <a:ext cx="37146" cy="71783"/>
                </a:xfrm>
                <a:custGeom>
                  <a:avLst/>
                  <a:gdLst>
                    <a:gd name="T0" fmla="*/ 30 w 30"/>
                    <a:gd name="T1" fmla="*/ 0 h 58"/>
                    <a:gd name="T2" fmla="*/ 30 w 30"/>
                    <a:gd name="T3" fmla="*/ 58 h 58"/>
                    <a:gd name="T4" fmla="*/ 0 w 30"/>
                    <a:gd name="T5" fmla="*/ 29 h 58"/>
                    <a:gd name="T6" fmla="*/ 30 w 30"/>
                    <a:gd name="T7" fmla="*/ 0 h 58"/>
                  </a:gdLst>
                  <a:ahLst/>
                  <a:cxnLst>
                    <a:cxn ang="0">
                      <a:pos x="T0" y="T1"/>
                    </a:cxn>
                    <a:cxn ang="0">
                      <a:pos x="T2" y="T3"/>
                    </a:cxn>
                    <a:cxn ang="0">
                      <a:pos x="T4" y="T5"/>
                    </a:cxn>
                    <a:cxn ang="0">
                      <a:pos x="T6" y="T7"/>
                    </a:cxn>
                  </a:cxnLst>
                  <a:rect l="0" t="0" r="r" b="b"/>
                  <a:pathLst>
                    <a:path w="30" h="58">
                      <a:moveTo>
                        <a:pt x="30" y="0"/>
                      </a:moveTo>
                      <a:cubicBezTo>
                        <a:pt x="30" y="58"/>
                        <a:pt x="30" y="58"/>
                        <a:pt x="30" y="58"/>
                      </a:cubicBezTo>
                      <a:cubicBezTo>
                        <a:pt x="14" y="58"/>
                        <a:pt x="0" y="45"/>
                        <a:pt x="0" y="29"/>
                      </a:cubicBezTo>
                      <a:cubicBezTo>
                        <a:pt x="0" y="13"/>
                        <a:pt x="14" y="0"/>
                        <a:pt x="30" y="0"/>
                      </a:cubicBezTo>
                      <a:close/>
                    </a:path>
                  </a:pathLst>
                </a:custGeom>
                <a:solidFill>
                  <a:srgbClr val="6D56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50" name="Freeform 739"/>
                <p:cNvSpPr>
                  <a:spLocks/>
                </p:cNvSpPr>
                <p:nvPr/>
              </p:nvSpPr>
              <p:spPr bwMode="auto">
                <a:xfrm>
                  <a:off x="7318451" y="5822782"/>
                  <a:ext cx="73289" cy="35640"/>
                </a:xfrm>
                <a:custGeom>
                  <a:avLst/>
                  <a:gdLst>
                    <a:gd name="T0" fmla="*/ 0 w 59"/>
                    <a:gd name="T1" fmla="*/ 0 h 29"/>
                    <a:gd name="T2" fmla="*/ 59 w 59"/>
                    <a:gd name="T3" fmla="*/ 0 h 29"/>
                    <a:gd name="T4" fmla="*/ 29 w 59"/>
                    <a:gd name="T5" fmla="*/ 29 h 29"/>
                    <a:gd name="T6" fmla="*/ 0 w 59"/>
                    <a:gd name="T7" fmla="*/ 0 h 29"/>
                  </a:gdLst>
                  <a:ahLst/>
                  <a:cxnLst>
                    <a:cxn ang="0">
                      <a:pos x="T0" y="T1"/>
                    </a:cxn>
                    <a:cxn ang="0">
                      <a:pos x="T2" y="T3"/>
                    </a:cxn>
                    <a:cxn ang="0">
                      <a:pos x="T4" y="T5"/>
                    </a:cxn>
                    <a:cxn ang="0">
                      <a:pos x="T6" y="T7"/>
                    </a:cxn>
                  </a:cxnLst>
                  <a:rect l="0" t="0" r="r" b="b"/>
                  <a:pathLst>
                    <a:path w="59" h="29">
                      <a:moveTo>
                        <a:pt x="0" y="0"/>
                      </a:moveTo>
                      <a:cubicBezTo>
                        <a:pt x="59" y="0"/>
                        <a:pt x="59" y="0"/>
                        <a:pt x="59" y="0"/>
                      </a:cubicBezTo>
                      <a:cubicBezTo>
                        <a:pt x="59" y="16"/>
                        <a:pt x="45" y="29"/>
                        <a:pt x="29" y="29"/>
                      </a:cubicBezTo>
                      <a:cubicBezTo>
                        <a:pt x="13" y="29"/>
                        <a:pt x="0" y="16"/>
                        <a:pt x="0" y="0"/>
                      </a:cubicBezTo>
                      <a:close/>
                    </a:path>
                  </a:pathLst>
                </a:custGeom>
                <a:solidFill>
                  <a:srgbClr val="6D56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51" name="Rectangle 740"/>
                <p:cNvSpPr>
                  <a:spLocks noChangeArrowheads="1"/>
                </p:cNvSpPr>
                <p:nvPr/>
              </p:nvSpPr>
              <p:spPr bwMode="auto">
                <a:xfrm>
                  <a:off x="7288834" y="5805213"/>
                  <a:ext cx="158624" cy="1756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52" name="Freeform 741"/>
                <p:cNvSpPr>
                  <a:spLocks/>
                </p:cNvSpPr>
                <p:nvPr/>
              </p:nvSpPr>
              <p:spPr bwMode="auto">
                <a:xfrm>
                  <a:off x="7324977" y="5724896"/>
                  <a:ext cx="165652" cy="80316"/>
                </a:xfrm>
                <a:custGeom>
                  <a:avLst/>
                  <a:gdLst>
                    <a:gd name="T0" fmla="*/ 86 w 330"/>
                    <a:gd name="T1" fmla="*/ 0 h 160"/>
                    <a:gd name="T2" fmla="*/ 330 w 330"/>
                    <a:gd name="T3" fmla="*/ 0 h 160"/>
                    <a:gd name="T4" fmla="*/ 244 w 330"/>
                    <a:gd name="T5" fmla="*/ 160 h 160"/>
                    <a:gd name="T6" fmla="*/ 0 w 330"/>
                    <a:gd name="T7" fmla="*/ 160 h 160"/>
                    <a:gd name="T8" fmla="*/ 86 w 330"/>
                    <a:gd name="T9" fmla="*/ 0 h 160"/>
                  </a:gdLst>
                  <a:ahLst/>
                  <a:cxnLst>
                    <a:cxn ang="0">
                      <a:pos x="T0" y="T1"/>
                    </a:cxn>
                    <a:cxn ang="0">
                      <a:pos x="T2" y="T3"/>
                    </a:cxn>
                    <a:cxn ang="0">
                      <a:pos x="T4" y="T5"/>
                    </a:cxn>
                    <a:cxn ang="0">
                      <a:pos x="T6" y="T7"/>
                    </a:cxn>
                    <a:cxn ang="0">
                      <a:pos x="T8" y="T9"/>
                    </a:cxn>
                  </a:cxnLst>
                  <a:rect l="0" t="0" r="r" b="b"/>
                  <a:pathLst>
                    <a:path w="330" h="160">
                      <a:moveTo>
                        <a:pt x="86" y="0"/>
                      </a:moveTo>
                      <a:lnTo>
                        <a:pt x="330" y="0"/>
                      </a:lnTo>
                      <a:lnTo>
                        <a:pt x="244" y="160"/>
                      </a:lnTo>
                      <a:lnTo>
                        <a:pt x="0" y="160"/>
                      </a:lnTo>
                      <a:lnTo>
                        <a:pt x="8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53" name="Rectangle 742"/>
                <p:cNvSpPr>
                  <a:spLocks noChangeArrowheads="1"/>
                </p:cNvSpPr>
                <p:nvPr/>
              </p:nvSpPr>
              <p:spPr bwMode="auto">
                <a:xfrm>
                  <a:off x="7288834" y="5805213"/>
                  <a:ext cx="36142" cy="1756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54" name="Freeform 743"/>
                <p:cNvSpPr>
                  <a:spLocks/>
                </p:cNvSpPr>
                <p:nvPr/>
              </p:nvSpPr>
              <p:spPr bwMode="auto">
                <a:xfrm>
                  <a:off x="7178901" y="5596391"/>
                  <a:ext cx="42166" cy="70277"/>
                </a:xfrm>
                <a:custGeom>
                  <a:avLst/>
                  <a:gdLst>
                    <a:gd name="T0" fmla="*/ 42 w 84"/>
                    <a:gd name="T1" fmla="*/ 140 h 140"/>
                    <a:gd name="T2" fmla="*/ 84 w 84"/>
                    <a:gd name="T3" fmla="*/ 98 h 140"/>
                    <a:gd name="T4" fmla="*/ 84 w 84"/>
                    <a:gd name="T5" fmla="*/ 0 h 140"/>
                    <a:gd name="T6" fmla="*/ 0 w 84"/>
                    <a:gd name="T7" fmla="*/ 0 h 140"/>
                    <a:gd name="T8" fmla="*/ 0 w 84"/>
                    <a:gd name="T9" fmla="*/ 98 h 140"/>
                    <a:gd name="T10" fmla="*/ 42 w 84"/>
                    <a:gd name="T11" fmla="*/ 140 h 140"/>
                  </a:gdLst>
                  <a:ahLst/>
                  <a:cxnLst>
                    <a:cxn ang="0">
                      <a:pos x="T0" y="T1"/>
                    </a:cxn>
                    <a:cxn ang="0">
                      <a:pos x="T2" y="T3"/>
                    </a:cxn>
                    <a:cxn ang="0">
                      <a:pos x="T4" y="T5"/>
                    </a:cxn>
                    <a:cxn ang="0">
                      <a:pos x="T6" y="T7"/>
                    </a:cxn>
                    <a:cxn ang="0">
                      <a:pos x="T8" y="T9"/>
                    </a:cxn>
                    <a:cxn ang="0">
                      <a:pos x="T10" y="T11"/>
                    </a:cxn>
                  </a:cxnLst>
                  <a:rect l="0" t="0" r="r" b="b"/>
                  <a:pathLst>
                    <a:path w="84" h="140">
                      <a:moveTo>
                        <a:pt x="42" y="140"/>
                      </a:moveTo>
                      <a:lnTo>
                        <a:pt x="84" y="98"/>
                      </a:lnTo>
                      <a:lnTo>
                        <a:pt x="84" y="0"/>
                      </a:lnTo>
                      <a:lnTo>
                        <a:pt x="0" y="0"/>
                      </a:lnTo>
                      <a:lnTo>
                        <a:pt x="0" y="98"/>
                      </a:lnTo>
                      <a:lnTo>
                        <a:pt x="42" y="140"/>
                      </a:lnTo>
                      <a:close/>
                    </a:path>
                  </a:pathLst>
                </a:custGeom>
                <a:solidFill>
                  <a:srgbClr val="6D56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55" name="Freeform 744"/>
                <p:cNvSpPr>
                  <a:spLocks/>
                </p:cNvSpPr>
                <p:nvPr/>
              </p:nvSpPr>
              <p:spPr bwMode="auto">
                <a:xfrm>
                  <a:off x="7178901" y="5596391"/>
                  <a:ext cx="42166" cy="37146"/>
                </a:xfrm>
                <a:custGeom>
                  <a:avLst/>
                  <a:gdLst>
                    <a:gd name="T0" fmla="*/ 34 w 34"/>
                    <a:gd name="T1" fmla="*/ 28 h 30"/>
                    <a:gd name="T2" fmla="*/ 17 w 34"/>
                    <a:gd name="T3" fmla="*/ 30 h 30"/>
                    <a:gd name="T4" fmla="*/ 0 w 34"/>
                    <a:gd name="T5" fmla="*/ 28 h 30"/>
                    <a:gd name="T6" fmla="*/ 0 w 34"/>
                    <a:gd name="T7" fmla="*/ 0 h 30"/>
                    <a:gd name="T8" fmla="*/ 34 w 34"/>
                    <a:gd name="T9" fmla="*/ 0 h 30"/>
                    <a:gd name="T10" fmla="*/ 34 w 34"/>
                    <a:gd name="T11" fmla="*/ 28 h 30"/>
                  </a:gdLst>
                  <a:ahLst/>
                  <a:cxnLst>
                    <a:cxn ang="0">
                      <a:pos x="T0" y="T1"/>
                    </a:cxn>
                    <a:cxn ang="0">
                      <a:pos x="T2" y="T3"/>
                    </a:cxn>
                    <a:cxn ang="0">
                      <a:pos x="T4" y="T5"/>
                    </a:cxn>
                    <a:cxn ang="0">
                      <a:pos x="T6" y="T7"/>
                    </a:cxn>
                    <a:cxn ang="0">
                      <a:pos x="T8" y="T9"/>
                    </a:cxn>
                    <a:cxn ang="0">
                      <a:pos x="T10" y="T11"/>
                    </a:cxn>
                  </a:cxnLst>
                  <a:rect l="0" t="0" r="r" b="b"/>
                  <a:pathLst>
                    <a:path w="34" h="30">
                      <a:moveTo>
                        <a:pt x="34" y="28"/>
                      </a:moveTo>
                      <a:cubicBezTo>
                        <a:pt x="29" y="29"/>
                        <a:pt x="23" y="30"/>
                        <a:pt x="17" y="30"/>
                      </a:cubicBezTo>
                      <a:cubicBezTo>
                        <a:pt x="11" y="30"/>
                        <a:pt x="5" y="29"/>
                        <a:pt x="0" y="28"/>
                      </a:cubicBezTo>
                      <a:cubicBezTo>
                        <a:pt x="0" y="0"/>
                        <a:pt x="0" y="0"/>
                        <a:pt x="0" y="0"/>
                      </a:cubicBezTo>
                      <a:cubicBezTo>
                        <a:pt x="34" y="0"/>
                        <a:pt x="34" y="0"/>
                        <a:pt x="34" y="0"/>
                      </a:cubicBezTo>
                      <a:lnTo>
                        <a:pt x="34" y="28"/>
                      </a:lnTo>
                      <a:close/>
                    </a:path>
                  </a:pathLst>
                </a:custGeom>
                <a:solidFill>
                  <a:srgbClr val="4937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56" name="Freeform 745"/>
                <p:cNvSpPr>
                  <a:spLocks/>
                </p:cNvSpPr>
                <p:nvPr/>
              </p:nvSpPr>
              <p:spPr bwMode="auto">
                <a:xfrm>
                  <a:off x="7150289" y="5479932"/>
                  <a:ext cx="99391" cy="68269"/>
                </a:xfrm>
                <a:custGeom>
                  <a:avLst/>
                  <a:gdLst>
                    <a:gd name="T0" fmla="*/ 40 w 80"/>
                    <a:gd name="T1" fmla="*/ 0 h 55"/>
                    <a:gd name="T2" fmla="*/ 80 w 80"/>
                    <a:gd name="T3" fmla="*/ 40 h 55"/>
                    <a:gd name="T4" fmla="*/ 80 w 80"/>
                    <a:gd name="T5" fmla="*/ 55 h 55"/>
                    <a:gd name="T6" fmla="*/ 0 w 80"/>
                    <a:gd name="T7" fmla="*/ 55 h 55"/>
                    <a:gd name="T8" fmla="*/ 0 w 80"/>
                    <a:gd name="T9" fmla="*/ 40 h 55"/>
                    <a:gd name="T10" fmla="*/ 40 w 80"/>
                    <a:gd name="T11" fmla="*/ 0 h 55"/>
                  </a:gdLst>
                  <a:ahLst/>
                  <a:cxnLst>
                    <a:cxn ang="0">
                      <a:pos x="T0" y="T1"/>
                    </a:cxn>
                    <a:cxn ang="0">
                      <a:pos x="T2" y="T3"/>
                    </a:cxn>
                    <a:cxn ang="0">
                      <a:pos x="T4" y="T5"/>
                    </a:cxn>
                    <a:cxn ang="0">
                      <a:pos x="T6" y="T7"/>
                    </a:cxn>
                    <a:cxn ang="0">
                      <a:pos x="T8" y="T9"/>
                    </a:cxn>
                    <a:cxn ang="0">
                      <a:pos x="T10" y="T11"/>
                    </a:cxn>
                  </a:cxnLst>
                  <a:rect l="0" t="0" r="r" b="b"/>
                  <a:pathLst>
                    <a:path w="80" h="55">
                      <a:moveTo>
                        <a:pt x="40" y="0"/>
                      </a:moveTo>
                      <a:cubicBezTo>
                        <a:pt x="62" y="0"/>
                        <a:pt x="80" y="18"/>
                        <a:pt x="80" y="40"/>
                      </a:cubicBezTo>
                      <a:cubicBezTo>
                        <a:pt x="80" y="55"/>
                        <a:pt x="80" y="55"/>
                        <a:pt x="80" y="55"/>
                      </a:cubicBezTo>
                      <a:cubicBezTo>
                        <a:pt x="0" y="55"/>
                        <a:pt x="0" y="55"/>
                        <a:pt x="0" y="55"/>
                      </a:cubicBezTo>
                      <a:cubicBezTo>
                        <a:pt x="0" y="40"/>
                        <a:pt x="0" y="40"/>
                        <a:pt x="0" y="40"/>
                      </a:cubicBezTo>
                      <a:cubicBezTo>
                        <a:pt x="0" y="18"/>
                        <a:pt x="18" y="0"/>
                        <a:pt x="40"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57" name="Freeform 746"/>
                <p:cNvSpPr>
                  <a:spLocks/>
                </p:cNvSpPr>
                <p:nvPr/>
              </p:nvSpPr>
              <p:spPr bwMode="auto">
                <a:xfrm>
                  <a:off x="7150289" y="5530631"/>
                  <a:ext cx="99391" cy="93870"/>
                </a:xfrm>
                <a:custGeom>
                  <a:avLst/>
                  <a:gdLst>
                    <a:gd name="T0" fmla="*/ 80 w 80"/>
                    <a:gd name="T1" fmla="*/ 0 h 76"/>
                    <a:gd name="T2" fmla="*/ 80 w 80"/>
                    <a:gd name="T3" fmla="*/ 63 h 76"/>
                    <a:gd name="T4" fmla="*/ 80 w 80"/>
                    <a:gd name="T5" fmla="*/ 63 h 76"/>
                    <a:gd name="T6" fmla="*/ 40 w 80"/>
                    <a:gd name="T7" fmla="*/ 76 h 76"/>
                    <a:gd name="T8" fmla="*/ 0 w 80"/>
                    <a:gd name="T9" fmla="*/ 63 h 76"/>
                    <a:gd name="T10" fmla="*/ 0 w 80"/>
                    <a:gd name="T11" fmla="*/ 63 h 76"/>
                    <a:gd name="T12" fmla="*/ 0 w 80"/>
                    <a:gd name="T13" fmla="*/ 0 h 76"/>
                    <a:gd name="T14" fmla="*/ 80 w 80"/>
                    <a:gd name="T15" fmla="*/ 0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76">
                      <a:moveTo>
                        <a:pt x="80" y="0"/>
                      </a:moveTo>
                      <a:cubicBezTo>
                        <a:pt x="80" y="63"/>
                        <a:pt x="80" y="63"/>
                        <a:pt x="80" y="63"/>
                      </a:cubicBezTo>
                      <a:cubicBezTo>
                        <a:pt x="80" y="63"/>
                        <a:pt x="80" y="63"/>
                        <a:pt x="80" y="63"/>
                      </a:cubicBezTo>
                      <a:cubicBezTo>
                        <a:pt x="69" y="71"/>
                        <a:pt x="55" y="76"/>
                        <a:pt x="40" y="76"/>
                      </a:cubicBezTo>
                      <a:cubicBezTo>
                        <a:pt x="25" y="76"/>
                        <a:pt x="11" y="71"/>
                        <a:pt x="0" y="63"/>
                      </a:cubicBezTo>
                      <a:cubicBezTo>
                        <a:pt x="0" y="63"/>
                        <a:pt x="0" y="63"/>
                        <a:pt x="0" y="63"/>
                      </a:cubicBezTo>
                      <a:cubicBezTo>
                        <a:pt x="0" y="0"/>
                        <a:pt x="0" y="0"/>
                        <a:pt x="0" y="0"/>
                      </a:cubicBezTo>
                      <a:lnTo>
                        <a:pt x="80" y="0"/>
                      </a:lnTo>
                      <a:close/>
                    </a:path>
                  </a:pathLst>
                </a:custGeom>
                <a:solidFill>
                  <a:srgbClr val="6D56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58" name="Rectangle 747"/>
                <p:cNvSpPr>
                  <a:spLocks noChangeArrowheads="1"/>
                </p:cNvSpPr>
                <p:nvPr/>
              </p:nvSpPr>
              <p:spPr bwMode="auto">
                <a:xfrm>
                  <a:off x="7091056" y="5735940"/>
                  <a:ext cx="36142" cy="10040"/>
                </a:xfrm>
                <a:prstGeom prst="rect">
                  <a:avLst/>
                </a:prstGeom>
                <a:solidFill>
                  <a:srgbClr val="4937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59" name="Rectangle 748"/>
                <p:cNvSpPr>
                  <a:spLocks noChangeArrowheads="1"/>
                </p:cNvSpPr>
                <p:nvPr/>
              </p:nvSpPr>
              <p:spPr bwMode="auto">
                <a:xfrm>
                  <a:off x="7272771" y="5735940"/>
                  <a:ext cx="36142" cy="10040"/>
                </a:xfrm>
                <a:prstGeom prst="rect">
                  <a:avLst/>
                </a:prstGeom>
                <a:solidFill>
                  <a:srgbClr val="4937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60" name="Oval 749"/>
                <p:cNvSpPr>
                  <a:spLocks noChangeArrowheads="1"/>
                </p:cNvSpPr>
                <p:nvPr/>
              </p:nvSpPr>
              <p:spPr bwMode="auto">
                <a:xfrm>
                  <a:off x="7164344" y="5561754"/>
                  <a:ext cx="8534" cy="853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61" name="Oval 750"/>
                <p:cNvSpPr>
                  <a:spLocks noChangeArrowheads="1"/>
                </p:cNvSpPr>
                <p:nvPr/>
              </p:nvSpPr>
              <p:spPr bwMode="auto">
                <a:xfrm>
                  <a:off x="7228597" y="5561754"/>
                  <a:ext cx="8534" cy="853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62" name="Freeform 751"/>
                <p:cNvSpPr>
                  <a:spLocks/>
                </p:cNvSpPr>
                <p:nvPr/>
              </p:nvSpPr>
              <p:spPr bwMode="auto">
                <a:xfrm>
                  <a:off x="7178901" y="5596391"/>
                  <a:ext cx="42166" cy="16063"/>
                </a:xfrm>
                <a:custGeom>
                  <a:avLst/>
                  <a:gdLst>
                    <a:gd name="T0" fmla="*/ 0 w 34"/>
                    <a:gd name="T1" fmla="*/ 0 h 13"/>
                    <a:gd name="T2" fmla="*/ 17 w 34"/>
                    <a:gd name="T3" fmla="*/ 13 h 13"/>
                    <a:gd name="T4" fmla="*/ 34 w 34"/>
                    <a:gd name="T5" fmla="*/ 0 h 13"/>
                    <a:gd name="T6" fmla="*/ 0 w 34"/>
                    <a:gd name="T7" fmla="*/ 0 h 13"/>
                  </a:gdLst>
                  <a:ahLst/>
                  <a:cxnLst>
                    <a:cxn ang="0">
                      <a:pos x="T0" y="T1"/>
                    </a:cxn>
                    <a:cxn ang="0">
                      <a:pos x="T2" y="T3"/>
                    </a:cxn>
                    <a:cxn ang="0">
                      <a:pos x="T4" y="T5"/>
                    </a:cxn>
                    <a:cxn ang="0">
                      <a:pos x="T6" y="T7"/>
                    </a:cxn>
                  </a:cxnLst>
                  <a:rect l="0" t="0" r="r" b="b"/>
                  <a:pathLst>
                    <a:path w="34" h="13">
                      <a:moveTo>
                        <a:pt x="0" y="0"/>
                      </a:moveTo>
                      <a:cubicBezTo>
                        <a:pt x="2" y="7"/>
                        <a:pt x="9" y="13"/>
                        <a:pt x="17" y="13"/>
                      </a:cubicBezTo>
                      <a:cubicBezTo>
                        <a:pt x="25" y="13"/>
                        <a:pt x="31" y="7"/>
                        <a:pt x="34"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63" name="Freeform 752"/>
                <p:cNvSpPr>
                  <a:spLocks/>
                </p:cNvSpPr>
                <p:nvPr/>
              </p:nvSpPr>
              <p:spPr bwMode="auto">
                <a:xfrm>
                  <a:off x="7192455" y="5582837"/>
                  <a:ext cx="15059" cy="4518"/>
                </a:xfrm>
                <a:custGeom>
                  <a:avLst/>
                  <a:gdLst>
                    <a:gd name="T0" fmla="*/ 0 w 12"/>
                    <a:gd name="T1" fmla="*/ 0 h 4"/>
                    <a:gd name="T2" fmla="*/ 6 w 12"/>
                    <a:gd name="T3" fmla="*/ 4 h 4"/>
                    <a:gd name="T4" fmla="*/ 12 w 12"/>
                    <a:gd name="T5" fmla="*/ 0 h 4"/>
                    <a:gd name="T6" fmla="*/ 0 w 12"/>
                    <a:gd name="T7" fmla="*/ 0 h 4"/>
                  </a:gdLst>
                  <a:ahLst/>
                  <a:cxnLst>
                    <a:cxn ang="0">
                      <a:pos x="T0" y="T1"/>
                    </a:cxn>
                    <a:cxn ang="0">
                      <a:pos x="T2" y="T3"/>
                    </a:cxn>
                    <a:cxn ang="0">
                      <a:pos x="T4" y="T5"/>
                    </a:cxn>
                    <a:cxn ang="0">
                      <a:pos x="T6" y="T7"/>
                    </a:cxn>
                  </a:cxnLst>
                  <a:rect l="0" t="0" r="r" b="b"/>
                  <a:pathLst>
                    <a:path w="12" h="4">
                      <a:moveTo>
                        <a:pt x="0" y="0"/>
                      </a:moveTo>
                      <a:cubicBezTo>
                        <a:pt x="1" y="3"/>
                        <a:pt x="3" y="4"/>
                        <a:pt x="6" y="4"/>
                      </a:cubicBezTo>
                      <a:cubicBezTo>
                        <a:pt x="9" y="4"/>
                        <a:pt x="11" y="3"/>
                        <a:pt x="12" y="0"/>
                      </a:cubicBezTo>
                      <a:lnTo>
                        <a:pt x="0" y="0"/>
                      </a:lnTo>
                      <a:close/>
                    </a:path>
                  </a:pathLst>
                </a:custGeom>
                <a:solidFill>
                  <a:srgbClr val="4937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grpSp>
        </p:grpSp>
        <p:grpSp>
          <p:nvGrpSpPr>
            <p:cNvPr id="486" name="Group 485"/>
            <p:cNvGrpSpPr/>
            <p:nvPr/>
          </p:nvGrpSpPr>
          <p:grpSpPr>
            <a:xfrm>
              <a:off x="11062064" y="8017581"/>
              <a:ext cx="1018143" cy="997902"/>
              <a:chOff x="11137107" y="2776123"/>
              <a:chExt cx="835189" cy="827511"/>
            </a:xfrm>
          </p:grpSpPr>
          <p:sp>
            <p:nvSpPr>
              <p:cNvPr id="487" name="Rectangle 486"/>
              <p:cNvSpPr/>
              <p:nvPr/>
            </p:nvSpPr>
            <p:spPr>
              <a:xfrm>
                <a:off x="11137110" y="2776123"/>
                <a:ext cx="835186" cy="82169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1088105"/>
                <a:endParaRPr lang="en-US" sz="1200" dirty="0">
                  <a:solidFill>
                    <a:prstClr val="white"/>
                  </a:solidFill>
                </a:endParaRPr>
              </a:p>
            </p:txBody>
          </p:sp>
          <p:grpSp>
            <p:nvGrpSpPr>
              <p:cNvPr id="488" name="Group 487"/>
              <p:cNvGrpSpPr/>
              <p:nvPr/>
            </p:nvGrpSpPr>
            <p:grpSpPr>
              <a:xfrm>
                <a:off x="11137107" y="3264427"/>
                <a:ext cx="824193" cy="339207"/>
                <a:chOff x="10027990" y="4738729"/>
                <a:chExt cx="2162197" cy="867217"/>
              </a:xfrm>
            </p:grpSpPr>
            <p:sp>
              <p:nvSpPr>
                <p:cNvPr id="489" name="Freeform 5"/>
                <p:cNvSpPr>
                  <a:spLocks/>
                </p:cNvSpPr>
                <p:nvPr/>
              </p:nvSpPr>
              <p:spPr bwMode="auto">
                <a:xfrm>
                  <a:off x="10428779" y="5276639"/>
                  <a:ext cx="30471" cy="119535"/>
                </a:xfrm>
                <a:custGeom>
                  <a:avLst/>
                  <a:gdLst>
                    <a:gd name="T0" fmla="*/ 26 w 26"/>
                    <a:gd name="T1" fmla="*/ 102 h 102"/>
                    <a:gd name="T2" fmla="*/ 26 w 26"/>
                    <a:gd name="T3" fmla="*/ 102 h 102"/>
                    <a:gd name="T4" fmla="*/ 0 w 26"/>
                    <a:gd name="T5" fmla="*/ 102 h 102"/>
                    <a:gd name="T6" fmla="*/ 0 w 26"/>
                    <a:gd name="T7" fmla="*/ 0 h 102"/>
                    <a:gd name="T8" fmla="*/ 26 w 26"/>
                    <a:gd name="T9" fmla="*/ 0 h 102"/>
                    <a:gd name="T10" fmla="*/ 26 w 26"/>
                    <a:gd name="T11" fmla="*/ 102 h 102"/>
                    <a:gd name="T12" fmla="*/ 26 w 26"/>
                    <a:gd name="T13" fmla="*/ 102 h 102"/>
                    <a:gd name="T14" fmla="*/ 26 w 26"/>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02">
                      <a:moveTo>
                        <a:pt x="26" y="102"/>
                      </a:moveTo>
                      <a:lnTo>
                        <a:pt x="26" y="102"/>
                      </a:lnTo>
                      <a:lnTo>
                        <a:pt x="0" y="102"/>
                      </a:lnTo>
                      <a:lnTo>
                        <a:pt x="0" y="0"/>
                      </a:lnTo>
                      <a:lnTo>
                        <a:pt x="26" y="0"/>
                      </a:lnTo>
                      <a:lnTo>
                        <a:pt x="26" y="102"/>
                      </a:lnTo>
                      <a:lnTo>
                        <a:pt x="26" y="102"/>
                      </a:lnTo>
                      <a:lnTo>
                        <a:pt x="26" y="10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490" name="Freeform 6"/>
                <p:cNvSpPr>
                  <a:spLocks/>
                </p:cNvSpPr>
                <p:nvPr/>
              </p:nvSpPr>
              <p:spPr bwMode="auto">
                <a:xfrm>
                  <a:off x="10363152" y="5171166"/>
                  <a:ext cx="158209" cy="159380"/>
                </a:xfrm>
                <a:custGeom>
                  <a:avLst/>
                  <a:gdLst>
                    <a:gd name="T0" fmla="*/ 97 w 97"/>
                    <a:gd name="T1" fmla="*/ 49 h 97"/>
                    <a:gd name="T2" fmla="*/ 97 w 97"/>
                    <a:gd name="T3" fmla="*/ 49 h 97"/>
                    <a:gd name="T4" fmla="*/ 49 w 97"/>
                    <a:gd name="T5" fmla="*/ 97 h 97"/>
                    <a:gd name="T6" fmla="*/ 0 w 97"/>
                    <a:gd name="T7" fmla="*/ 49 h 97"/>
                    <a:gd name="T8" fmla="*/ 49 w 97"/>
                    <a:gd name="T9" fmla="*/ 0 h 97"/>
                    <a:gd name="T10" fmla="*/ 97 w 97"/>
                    <a:gd name="T11" fmla="*/ 49 h 97"/>
                  </a:gdLst>
                  <a:ahLst/>
                  <a:cxnLst>
                    <a:cxn ang="0">
                      <a:pos x="T0" y="T1"/>
                    </a:cxn>
                    <a:cxn ang="0">
                      <a:pos x="T2" y="T3"/>
                    </a:cxn>
                    <a:cxn ang="0">
                      <a:pos x="T4" y="T5"/>
                    </a:cxn>
                    <a:cxn ang="0">
                      <a:pos x="T6" y="T7"/>
                    </a:cxn>
                    <a:cxn ang="0">
                      <a:pos x="T8" y="T9"/>
                    </a:cxn>
                    <a:cxn ang="0">
                      <a:pos x="T10" y="T11"/>
                    </a:cxn>
                  </a:cxnLst>
                  <a:rect l="0" t="0" r="r" b="b"/>
                  <a:pathLst>
                    <a:path w="97" h="97">
                      <a:moveTo>
                        <a:pt x="97" y="49"/>
                      </a:moveTo>
                      <a:cubicBezTo>
                        <a:pt x="97" y="49"/>
                        <a:pt x="97" y="49"/>
                        <a:pt x="97" y="49"/>
                      </a:cubicBezTo>
                      <a:cubicBezTo>
                        <a:pt x="97" y="75"/>
                        <a:pt x="75" y="97"/>
                        <a:pt x="49" y="97"/>
                      </a:cubicBezTo>
                      <a:cubicBezTo>
                        <a:pt x="22" y="97"/>
                        <a:pt x="0" y="75"/>
                        <a:pt x="0" y="49"/>
                      </a:cubicBezTo>
                      <a:cubicBezTo>
                        <a:pt x="0" y="22"/>
                        <a:pt x="22" y="0"/>
                        <a:pt x="49" y="0"/>
                      </a:cubicBezTo>
                      <a:cubicBezTo>
                        <a:pt x="75" y="0"/>
                        <a:pt x="97" y="22"/>
                        <a:pt x="97" y="49"/>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491" name="Freeform 7"/>
                <p:cNvSpPr>
                  <a:spLocks/>
                </p:cNvSpPr>
                <p:nvPr/>
              </p:nvSpPr>
              <p:spPr bwMode="auto">
                <a:xfrm>
                  <a:off x="10384248" y="5089132"/>
                  <a:ext cx="116018" cy="117191"/>
                </a:xfrm>
                <a:custGeom>
                  <a:avLst/>
                  <a:gdLst>
                    <a:gd name="T0" fmla="*/ 71 w 71"/>
                    <a:gd name="T1" fmla="*/ 36 h 71"/>
                    <a:gd name="T2" fmla="*/ 71 w 71"/>
                    <a:gd name="T3" fmla="*/ 36 h 71"/>
                    <a:gd name="T4" fmla="*/ 36 w 71"/>
                    <a:gd name="T5" fmla="*/ 71 h 71"/>
                    <a:gd name="T6" fmla="*/ 0 w 71"/>
                    <a:gd name="T7" fmla="*/ 36 h 71"/>
                    <a:gd name="T8" fmla="*/ 36 w 71"/>
                    <a:gd name="T9" fmla="*/ 0 h 71"/>
                    <a:gd name="T10" fmla="*/ 71 w 71"/>
                    <a:gd name="T11" fmla="*/ 36 h 71"/>
                  </a:gdLst>
                  <a:ahLst/>
                  <a:cxnLst>
                    <a:cxn ang="0">
                      <a:pos x="T0" y="T1"/>
                    </a:cxn>
                    <a:cxn ang="0">
                      <a:pos x="T2" y="T3"/>
                    </a:cxn>
                    <a:cxn ang="0">
                      <a:pos x="T4" y="T5"/>
                    </a:cxn>
                    <a:cxn ang="0">
                      <a:pos x="T6" y="T7"/>
                    </a:cxn>
                    <a:cxn ang="0">
                      <a:pos x="T8" y="T9"/>
                    </a:cxn>
                    <a:cxn ang="0">
                      <a:pos x="T10" y="T11"/>
                    </a:cxn>
                  </a:cxnLst>
                  <a:rect l="0" t="0" r="r" b="b"/>
                  <a:pathLst>
                    <a:path w="71" h="71">
                      <a:moveTo>
                        <a:pt x="71" y="36"/>
                      </a:moveTo>
                      <a:cubicBezTo>
                        <a:pt x="71" y="36"/>
                        <a:pt x="71" y="36"/>
                        <a:pt x="71" y="36"/>
                      </a:cubicBezTo>
                      <a:cubicBezTo>
                        <a:pt x="71" y="55"/>
                        <a:pt x="55" y="71"/>
                        <a:pt x="36" y="71"/>
                      </a:cubicBezTo>
                      <a:cubicBezTo>
                        <a:pt x="16" y="71"/>
                        <a:pt x="0" y="55"/>
                        <a:pt x="0" y="36"/>
                      </a:cubicBezTo>
                      <a:cubicBezTo>
                        <a:pt x="0" y="16"/>
                        <a:pt x="16" y="0"/>
                        <a:pt x="36" y="0"/>
                      </a:cubicBezTo>
                      <a:cubicBezTo>
                        <a:pt x="55" y="0"/>
                        <a:pt x="71" y="16"/>
                        <a:pt x="71" y="3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492" name="Freeform 8"/>
                <p:cNvSpPr>
                  <a:spLocks/>
                </p:cNvSpPr>
                <p:nvPr/>
              </p:nvSpPr>
              <p:spPr bwMode="auto">
                <a:xfrm>
                  <a:off x="10027990" y="5378595"/>
                  <a:ext cx="1093390" cy="227351"/>
                </a:xfrm>
                <a:custGeom>
                  <a:avLst/>
                  <a:gdLst>
                    <a:gd name="T0" fmla="*/ 413 w 667"/>
                    <a:gd name="T1" fmla="*/ 7 h 139"/>
                    <a:gd name="T2" fmla="*/ 413 w 667"/>
                    <a:gd name="T3" fmla="*/ 7 h 139"/>
                    <a:gd name="T4" fmla="*/ 405 w 667"/>
                    <a:gd name="T5" fmla="*/ 6 h 139"/>
                    <a:gd name="T6" fmla="*/ 392 w 667"/>
                    <a:gd name="T7" fmla="*/ 22 h 139"/>
                    <a:gd name="T8" fmla="*/ 357 w 667"/>
                    <a:gd name="T9" fmla="*/ 38 h 139"/>
                    <a:gd name="T10" fmla="*/ 330 w 667"/>
                    <a:gd name="T11" fmla="*/ 23 h 139"/>
                    <a:gd name="T12" fmla="*/ 330 w 667"/>
                    <a:gd name="T13" fmla="*/ 0 h 139"/>
                    <a:gd name="T14" fmla="*/ 0 w 667"/>
                    <a:gd name="T15" fmla="*/ 139 h 139"/>
                    <a:gd name="T16" fmla="*/ 236 w 667"/>
                    <a:gd name="T17" fmla="*/ 139 h 139"/>
                    <a:gd name="T18" fmla="*/ 667 w 667"/>
                    <a:gd name="T19" fmla="*/ 139 h 139"/>
                    <a:gd name="T20" fmla="*/ 413 w 667"/>
                    <a:gd name="T21" fmla="*/ 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7" h="139">
                      <a:moveTo>
                        <a:pt x="413" y="7"/>
                      </a:moveTo>
                      <a:cubicBezTo>
                        <a:pt x="413" y="7"/>
                        <a:pt x="413" y="7"/>
                        <a:pt x="413" y="7"/>
                      </a:cubicBezTo>
                      <a:cubicBezTo>
                        <a:pt x="410" y="6"/>
                        <a:pt x="408" y="6"/>
                        <a:pt x="405" y="6"/>
                      </a:cubicBezTo>
                      <a:cubicBezTo>
                        <a:pt x="401" y="12"/>
                        <a:pt x="396" y="18"/>
                        <a:pt x="392" y="22"/>
                      </a:cubicBezTo>
                      <a:cubicBezTo>
                        <a:pt x="381" y="33"/>
                        <a:pt x="371" y="38"/>
                        <a:pt x="357" y="38"/>
                      </a:cubicBezTo>
                      <a:cubicBezTo>
                        <a:pt x="344" y="38"/>
                        <a:pt x="334" y="33"/>
                        <a:pt x="330" y="23"/>
                      </a:cubicBezTo>
                      <a:cubicBezTo>
                        <a:pt x="327" y="17"/>
                        <a:pt x="327" y="9"/>
                        <a:pt x="330" y="0"/>
                      </a:cubicBezTo>
                      <a:cubicBezTo>
                        <a:pt x="210" y="1"/>
                        <a:pt x="92" y="47"/>
                        <a:pt x="0" y="139"/>
                      </a:cubicBezTo>
                      <a:cubicBezTo>
                        <a:pt x="236" y="139"/>
                        <a:pt x="236" y="139"/>
                        <a:pt x="236" y="139"/>
                      </a:cubicBezTo>
                      <a:cubicBezTo>
                        <a:pt x="667" y="139"/>
                        <a:pt x="667" y="139"/>
                        <a:pt x="667" y="139"/>
                      </a:cubicBezTo>
                      <a:cubicBezTo>
                        <a:pt x="595" y="66"/>
                        <a:pt x="506" y="23"/>
                        <a:pt x="413" y="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493" name="Freeform 9"/>
                <p:cNvSpPr>
                  <a:spLocks/>
                </p:cNvSpPr>
                <p:nvPr/>
              </p:nvSpPr>
              <p:spPr bwMode="auto">
                <a:xfrm>
                  <a:off x="10594022" y="5379768"/>
                  <a:ext cx="69141" cy="36331"/>
                </a:xfrm>
                <a:custGeom>
                  <a:avLst/>
                  <a:gdLst>
                    <a:gd name="T0" fmla="*/ 16 w 42"/>
                    <a:gd name="T1" fmla="*/ 22 h 22"/>
                    <a:gd name="T2" fmla="*/ 16 w 42"/>
                    <a:gd name="T3" fmla="*/ 22 h 22"/>
                    <a:gd name="T4" fmla="*/ 42 w 42"/>
                    <a:gd name="T5" fmla="*/ 2 h 22"/>
                    <a:gd name="T6" fmla="*/ 5 w 42"/>
                    <a:gd name="T7" fmla="*/ 0 h 22"/>
                    <a:gd name="T8" fmla="*/ 16 w 42"/>
                    <a:gd name="T9" fmla="*/ 22 h 22"/>
                  </a:gdLst>
                  <a:ahLst/>
                  <a:cxnLst>
                    <a:cxn ang="0">
                      <a:pos x="T0" y="T1"/>
                    </a:cxn>
                    <a:cxn ang="0">
                      <a:pos x="T2" y="T3"/>
                    </a:cxn>
                    <a:cxn ang="0">
                      <a:pos x="T4" y="T5"/>
                    </a:cxn>
                    <a:cxn ang="0">
                      <a:pos x="T6" y="T7"/>
                    </a:cxn>
                    <a:cxn ang="0">
                      <a:pos x="T8" y="T9"/>
                    </a:cxn>
                  </a:cxnLst>
                  <a:rect l="0" t="0" r="r" b="b"/>
                  <a:pathLst>
                    <a:path w="42" h="22">
                      <a:moveTo>
                        <a:pt x="16" y="22"/>
                      </a:moveTo>
                      <a:cubicBezTo>
                        <a:pt x="16" y="22"/>
                        <a:pt x="16" y="22"/>
                        <a:pt x="16" y="22"/>
                      </a:cubicBezTo>
                      <a:cubicBezTo>
                        <a:pt x="26" y="22"/>
                        <a:pt x="32" y="15"/>
                        <a:pt x="42" y="2"/>
                      </a:cubicBezTo>
                      <a:cubicBezTo>
                        <a:pt x="30" y="1"/>
                        <a:pt x="18" y="0"/>
                        <a:pt x="5" y="0"/>
                      </a:cubicBezTo>
                      <a:cubicBezTo>
                        <a:pt x="0" y="14"/>
                        <a:pt x="7" y="22"/>
                        <a:pt x="16" y="2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494" name="Freeform 10"/>
                <p:cNvSpPr>
                  <a:spLocks/>
                </p:cNvSpPr>
                <p:nvPr/>
              </p:nvSpPr>
              <p:spPr bwMode="auto">
                <a:xfrm>
                  <a:off x="10564725" y="5378595"/>
                  <a:ext cx="127738" cy="62111"/>
                </a:xfrm>
                <a:custGeom>
                  <a:avLst/>
                  <a:gdLst>
                    <a:gd name="T0" fmla="*/ 3 w 78"/>
                    <a:gd name="T1" fmla="*/ 23 h 38"/>
                    <a:gd name="T2" fmla="*/ 3 w 78"/>
                    <a:gd name="T3" fmla="*/ 23 h 38"/>
                    <a:gd name="T4" fmla="*/ 30 w 78"/>
                    <a:gd name="T5" fmla="*/ 38 h 38"/>
                    <a:gd name="T6" fmla="*/ 65 w 78"/>
                    <a:gd name="T7" fmla="*/ 22 h 38"/>
                    <a:gd name="T8" fmla="*/ 78 w 78"/>
                    <a:gd name="T9" fmla="*/ 6 h 38"/>
                    <a:gd name="T10" fmla="*/ 60 w 78"/>
                    <a:gd name="T11" fmla="*/ 3 h 38"/>
                    <a:gd name="T12" fmla="*/ 34 w 78"/>
                    <a:gd name="T13" fmla="*/ 23 h 38"/>
                    <a:gd name="T14" fmla="*/ 23 w 78"/>
                    <a:gd name="T15" fmla="*/ 1 h 38"/>
                    <a:gd name="T16" fmla="*/ 3 w 78"/>
                    <a:gd name="T17" fmla="*/ 0 h 38"/>
                    <a:gd name="T18" fmla="*/ 3 w 78"/>
                    <a:gd name="T19" fmla="*/ 2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38">
                      <a:moveTo>
                        <a:pt x="3" y="23"/>
                      </a:moveTo>
                      <a:cubicBezTo>
                        <a:pt x="3" y="23"/>
                        <a:pt x="3" y="23"/>
                        <a:pt x="3" y="23"/>
                      </a:cubicBezTo>
                      <a:cubicBezTo>
                        <a:pt x="7" y="33"/>
                        <a:pt x="17" y="38"/>
                        <a:pt x="30" y="38"/>
                      </a:cubicBezTo>
                      <a:cubicBezTo>
                        <a:pt x="44" y="38"/>
                        <a:pt x="54" y="33"/>
                        <a:pt x="65" y="22"/>
                      </a:cubicBezTo>
                      <a:cubicBezTo>
                        <a:pt x="69" y="18"/>
                        <a:pt x="74" y="12"/>
                        <a:pt x="78" y="6"/>
                      </a:cubicBezTo>
                      <a:cubicBezTo>
                        <a:pt x="72" y="5"/>
                        <a:pt x="66" y="4"/>
                        <a:pt x="60" y="3"/>
                      </a:cubicBezTo>
                      <a:cubicBezTo>
                        <a:pt x="50" y="16"/>
                        <a:pt x="44" y="23"/>
                        <a:pt x="34" y="23"/>
                      </a:cubicBezTo>
                      <a:cubicBezTo>
                        <a:pt x="25" y="23"/>
                        <a:pt x="18" y="15"/>
                        <a:pt x="23" y="1"/>
                      </a:cubicBezTo>
                      <a:cubicBezTo>
                        <a:pt x="16" y="0"/>
                        <a:pt x="10" y="0"/>
                        <a:pt x="3" y="0"/>
                      </a:cubicBezTo>
                      <a:cubicBezTo>
                        <a:pt x="0" y="9"/>
                        <a:pt x="0" y="17"/>
                        <a:pt x="3" y="23"/>
                      </a:cubicBezTo>
                      <a:close/>
                    </a:path>
                  </a:pathLst>
                </a:custGeom>
                <a:solidFill>
                  <a:srgbClr val="6E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495" name="Freeform 11"/>
                <p:cNvSpPr>
                  <a:spLocks noEditPoints="1"/>
                </p:cNvSpPr>
                <p:nvPr/>
              </p:nvSpPr>
              <p:spPr bwMode="auto">
                <a:xfrm>
                  <a:off x="10543630" y="5222732"/>
                  <a:ext cx="144145" cy="215633"/>
                </a:xfrm>
                <a:custGeom>
                  <a:avLst/>
                  <a:gdLst>
                    <a:gd name="T0" fmla="*/ 44 w 88"/>
                    <a:gd name="T1" fmla="*/ 16 h 132"/>
                    <a:gd name="T2" fmla="*/ 44 w 88"/>
                    <a:gd name="T3" fmla="*/ 16 h 132"/>
                    <a:gd name="T4" fmla="*/ 21 w 88"/>
                    <a:gd name="T5" fmla="*/ 67 h 132"/>
                    <a:gd name="T6" fmla="*/ 44 w 88"/>
                    <a:gd name="T7" fmla="*/ 116 h 132"/>
                    <a:gd name="T8" fmla="*/ 66 w 88"/>
                    <a:gd name="T9" fmla="*/ 67 h 132"/>
                    <a:gd name="T10" fmla="*/ 44 w 88"/>
                    <a:gd name="T11" fmla="*/ 16 h 132"/>
                    <a:gd name="T12" fmla="*/ 42 w 88"/>
                    <a:gd name="T13" fmla="*/ 132 h 132"/>
                    <a:gd name="T14" fmla="*/ 42 w 88"/>
                    <a:gd name="T15" fmla="*/ 132 h 132"/>
                    <a:gd name="T16" fmla="*/ 11 w 88"/>
                    <a:gd name="T17" fmla="*/ 116 h 132"/>
                    <a:gd name="T18" fmla="*/ 0 w 88"/>
                    <a:gd name="T19" fmla="*/ 68 h 132"/>
                    <a:gd name="T20" fmla="*/ 11 w 88"/>
                    <a:gd name="T21" fmla="*/ 17 h 132"/>
                    <a:gd name="T22" fmla="*/ 45 w 88"/>
                    <a:gd name="T23" fmla="*/ 0 h 132"/>
                    <a:gd name="T24" fmla="*/ 88 w 88"/>
                    <a:gd name="T25" fmla="*/ 65 h 132"/>
                    <a:gd name="T26" fmla="*/ 76 w 88"/>
                    <a:gd name="T27" fmla="*/ 115 h 132"/>
                    <a:gd name="T28" fmla="*/ 42 w 88"/>
                    <a:gd name="T2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 h="132">
                      <a:moveTo>
                        <a:pt x="44" y="16"/>
                      </a:moveTo>
                      <a:cubicBezTo>
                        <a:pt x="44" y="16"/>
                        <a:pt x="44" y="16"/>
                        <a:pt x="44" y="16"/>
                      </a:cubicBezTo>
                      <a:cubicBezTo>
                        <a:pt x="29" y="16"/>
                        <a:pt x="21" y="33"/>
                        <a:pt x="21" y="67"/>
                      </a:cubicBezTo>
                      <a:cubicBezTo>
                        <a:pt x="21" y="100"/>
                        <a:pt x="29" y="116"/>
                        <a:pt x="44" y="116"/>
                      </a:cubicBezTo>
                      <a:cubicBezTo>
                        <a:pt x="59" y="116"/>
                        <a:pt x="66" y="99"/>
                        <a:pt x="66" y="67"/>
                      </a:cubicBezTo>
                      <a:cubicBezTo>
                        <a:pt x="66" y="33"/>
                        <a:pt x="59" y="16"/>
                        <a:pt x="44" y="16"/>
                      </a:cubicBezTo>
                      <a:close/>
                      <a:moveTo>
                        <a:pt x="42" y="132"/>
                      </a:moveTo>
                      <a:cubicBezTo>
                        <a:pt x="42" y="132"/>
                        <a:pt x="42" y="132"/>
                        <a:pt x="42" y="132"/>
                      </a:cubicBezTo>
                      <a:cubicBezTo>
                        <a:pt x="29" y="132"/>
                        <a:pt x="18" y="127"/>
                        <a:pt x="11" y="116"/>
                      </a:cubicBezTo>
                      <a:cubicBezTo>
                        <a:pt x="3" y="105"/>
                        <a:pt x="0" y="89"/>
                        <a:pt x="0" y="68"/>
                      </a:cubicBezTo>
                      <a:cubicBezTo>
                        <a:pt x="0" y="46"/>
                        <a:pt x="4" y="29"/>
                        <a:pt x="11" y="17"/>
                      </a:cubicBezTo>
                      <a:cubicBezTo>
                        <a:pt x="19" y="5"/>
                        <a:pt x="31" y="0"/>
                        <a:pt x="45" y="0"/>
                      </a:cubicBezTo>
                      <a:cubicBezTo>
                        <a:pt x="73" y="0"/>
                        <a:pt x="88" y="21"/>
                        <a:pt x="88" y="65"/>
                      </a:cubicBezTo>
                      <a:cubicBezTo>
                        <a:pt x="88" y="87"/>
                        <a:pt x="84" y="104"/>
                        <a:pt x="76" y="115"/>
                      </a:cubicBezTo>
                      <a:cubicBezTo>
                        <a:pt x="68" y="126"/>
                        <a:pt x="57" y="132"/>
                        <a:pt x="42" y="132"/>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496" name="Freeform 12"/>
                <p:cNvSpPr>
                  <a:spLocks/>
                </p:cNvSpPr>
                <p:nvPr/>
              </p:nvSpPr>
              <p:spPr bwMode="auto">
                <a:xfrm>
                  <a:off x="10701837" y="5223902"/>
                  <a:ext cx="76173" cy="209771"/>
                </a:xfrm>
                <a:custGeom>
                  <a:avLst/>
                  <a:gdLst>
                    <a:gd name="T0" fmla="*/ 46 w 46"/>
                    <a:gd name="T1" fmla="*/ 0 h 128"/>
                    <a:gd name="T2" fmla="*/ 46 w 46"/>
                    <a:gd name="T3" fmla="*/ 0 h 128"/>
                    <a:gd name="T4" fmla="*/ 46 w 46"/>
                    <a:gd name="T5" fmla="*/ 128 h 128"/>
                    <a:gd name="T6" fmla="*/ 26 w 46"/>
                    <a:gd name="T7" fmla="*/ 128 h 128"/>
                    <a:gd name="T8" fmla="*/ 26 w 46"/>
                    <a:gd name="T9" fmla="*/ 25 h 128"/>
                    <a:gd name="T10" fmla="*/ 14 w 46"/>
                    <a:gd name="T11" fmla="*/ 32 h 128"/>
                    <a:gd name="T12" fmla="*/ 0 w 46"/>
                    <a:gd name="T13" fmla="*/ 36 h 128"/>
                    <a:gd name="T14" fmla="*/ 0 w 46"/>
                    <a:gd name="T15" fmla="*/ 19 h 128"/>
                    <a:gd name="T16" fmla="*/ 9 w 46"/>
                    <a:gd name="T17" fmla="*/ 16 h 128"/>
                    <a:gd name="T18" fmla="*/ 19 w 46"/>
                    <a:gd name="T19" fmla="*/ 11 h 128"/>
                    <a:gd name="T20" fmla="*/ 28 w 46"/>
                    <a:gd name="T21" fmla="*/ 6 h 128"/>
                    <a:gd name="T22" fmla="*/ 38 w 46"/>
                    <a:gd name="T23" fmla="*/ 0 h 128"/>
                    <a:gd name="T24" fmla="*/ 46 w 46"/>
                    <a:gd name="T25" fmla="*/ 0 h 128"/>
                    <a:gd name="T26" fmla="*/ 46 w 46"/>
                    <a:gd name="T2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128">
                      <a:moveTo>
                        <a:pt x="46" y="0"/>
                      </a:moveTo>
                      <a:cubicBezTo>
                        <a:pt x="46" y="0"/>
                        <a:pt x="46" y="0"/>
                        <a:pt x="46" y="0"/>
                      </a:cubicBezTo>
                      <a:cubicBezTo>
                        <a:pt x="46" y="128"/>
                        <a:pt x="46" y="128"/>
                        <a:pt x="46" y="128"/>
                      </a:cubicBezTo>
                      <a:cubicBezTo>
                        <a:pt x="26" y="128"/>
                        <a:pt x="26" y="128"/>
                        <a:pt x="26" y="128"/>
                      </a:cubicBezTo>
                      <a:cubicBezTo>
                        <a:pt x="26" y="25"/>
                        <a:pt x="26" y="25"/>
                        <a:pt x="26" y="25"/>
                      </a:cubicBezTo>
                      <a:cubicBezTo>
                        <a:pt x="22" y="28"/>
                        <a:pt x="18" y="30"/>
                        <a:pt x="14" y="32"/>
                      </a:cubicBezTo>
                      <a:cubicBezTo>
                        <a:pt x="10" y="33"/>
                        <a:pt x="5" y="35"/>
                        <a:pt x="0" y="36"/>
                      </a:cubicBezTo>
                      <a:cubicBezTo>
                        <a:pt x="0" y="19"/>
                        <a:pt x="0" y="19"/>
                        <a:pt x="0" y="19"/>
                      </a:cubicBezTo>
                      <a:cubicBezTo>
                        <a:pt x="3" y="18"/>
                        <a:pt x="6" y="17"/>
                        <a:pt x="9" y="16"/>
                      </a:cubicBezTo>
                      <a:cubicBezTo>
                        <a:pt x="12" y="14"/>
                        <a:pt x="16" y="13"/>
                        <a:pt x="19" y="11"/>
                      </a:cubicBezTo>
                      <a:cubicBezTo>
                        <a:pt x="22" y="10"/>
                        <a:pt x="25" y="8"/>
                        <a:pt x="28" y="6"/>
                      </a:cubicBezTo>
                      <a:cubicBezTo>
                        <a:pt x="31" y="5"/>
                        <a:pt x="34" y="2"/>
                        <a:pt x="38" y="0"/>
                      </a:cubicBezTo>
                      <a:cubicBezTo>
                        <a:pt x="46" y="0"/>
                        <a:pt x="46" y="0"/>
                        <a:pt x="46" y="0"/>
                      </a:cubicBezTo>
                      <a:cubicBezTo>
                        <a:pt x="46" y="0"/>
                        <a:pt x="46" y="0"/>
                        <a:pt x="46" y="0"/>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497" name="Freeform 13"/>
                <p:cNvSpPr>
                  <a:spLocks noEditPoints="1"/>
                </p:cNvSpPr>
                <p:nvPr/>
              </p:nvSpPr>
              <p:spPr bwMode="auto">
                <a:xfrm>
                  <a:off x="10811997" y="5222732"/>
                  <a:ext cx="142973" cy="215633"/>
                </a:xfrm>
                <a:custGeom>
                  <a:avLst/>
                  <a:gdLst>
                    <a:gd name="T0" fmla="*/ 44 w 87"/>
                    <a:gd name="T1" fmla="*/ 16 h 132"/>
                    <a:gd name="T2" fmla="*/ 44 w 87"/>
                    <a:gd name="T3" fmla="*/ 16 h 132"/>
                    <a:gd name="T4" fmla="*/ 21 w 87"/>
                    <a:gd name="T5" fmla="*/ 67 h 132"/>
                    <a:gd name="T6" fmla="*/ 44 w 87"/>
                    <a:gd name="T7" fmla="*/ 116 h 132"/>
                    <a:gd name="T8" fmla="*/ 66 w 87"/>
                    <a:gd name="T9" fmla="*/ 67 h 132"/>
                    <a:gd name="T10" fmla="*/ 44 w 87"/>
                    <a:gd name="T11" fmla="*/ 16 h 132"/>
                    <a:gd name="T12" fmla="*/ 42 w 87"/>
                    <a:gd name="T13" fmla="*/ 132 h 132"/>
                    <a:gd name="T14" fmla="*/ 42 w 87"/>
                    <a:gd name="T15" fmla="*/ 132 h 132"/>
                    <a:gd name="T16" fmla="*/ 11 w 87"/>
                    <a:gd name="T17" fmla="*/ 116 h 132"/>
                    <a:gd name="T18" fmla="*/ 0 w 87"/>
                    <a:gd name="T19" fmla="*/ 68 h 132"/>
                    <a:gd name="T20" fmla="*/ 11 w 87"/>
                    <a:gd name="T21" fmla="*/ 17 h 132"/>
                    <a:gd name="T22" fmla="*/ 45 w 87"/>
                    <a:gd name="T23" fmla="*/ 0 h 132"/>
                    <a:gd name="T24" fmla="*/ 87 w 87"/>
                    <a:gd name="T25" fmla="*/ 65 h 132"/>
                    <a:gd name="T26" fmla="*/ 75 w 87"/>
                    <a:gd name="T27" fmla="*/ 115 h 132"/>
                    <a:gd name="T28" fmla="*/ 42 w 87"/>
                    <a:gd name="T2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 h="132">
                      <a:moveTo>
                        <a:pt x="44" y="16"/>
                      </a:moveTo>
                      <a:cubicBezTo>
                        <a:pt x="44" y="16"/>
                        <a:pt x="44" y="16"/>
                        <a:pt x="44" y="16"/>
                      </a:cubicBezTo>
                      <a:cubicBezTo>
                        <a:pt x="29" y="16"/>
                        <a:pt x="21" y="33"/>
                        <a:pt x="21" y="67"/>
                      </a:cubicBezTo>
                      <a:cubicBezTo>
                        <a:pt x="21" y="100"/>
                        <a:pt x="28" y="116"/>
                        <a:pt x="44" y="116"/>
                      </a:cubicBezTo>
                      <a:cubicBezTo>
                        <a:pt x="59" y="116"/>
                        <a:pt x="66" y="99"/>
                        <a:pt x="66" y="67"/>
                      </a:cubicBezTo>
                      <a:cubicBezTo>
                        <a:pt x="66" y="33"/>
                        <a:pt x="59" y="16"/>
                        <a:pt x="44" y="16"/>
                      </a:cubicBezTo>
                      <a:close/>
                      <a:moveTo>
                        <a:pt x="42" y="132"/>
                      </a:moveTo>
                      <a:cubicBezTo>
                        <a:pt x="42" y="132"/>
                        <a:pt x="42" y="132"/>
                        <a:pt x="42" y="132"/>
                      </a:cubicBezTo>
                      <a:cubicBezTo>
                        <a:pt x="29" y="132"/>
                        <a:pt x="18" y="127"/>
                        <a:pt x="11" y="116"/>
                      </a:cubicBezTo>
                      <a:cubicBezTo>
                        <a:pt x="3" y="105"/>
                        <a:pt x="0" y="89"/>
                        <a:pt x="0" y="68"/>
                      </a:cubicBezTo>
                      <a:cubicBezTo>
                        <a:pt x="0" y="46"/>
                        <a:pt x="3" y="29"/>
                        <a:pt x="11" y="17"/>
                      </a:cubicBezTo>
                      <a:cubicBezTo>
                        <a:pt x="19" y="5"/>
                        <a:pt x="30" y="0"/>
                        <a:pt x="45" y="0"/>
                      </a:cubicBezTo>
                      <a:cubicBezTo>
                        <a:pt x="73" y="0"/>
                        <a:pt x="87" y="21"/>
                        <a:pt x="87" y="65"/>
                      </a:cubicBezTo>
                      <a:cubicBezTo>
                        <a:pt x="87" y="87"/>
                        <a:pt x="83" y="104"/>
                        <a:pt x="75" y="115"/>
                      </a:cubicBezTo>
                      <a:cubicBezTo>
                        <a:pt x="67" y="126"/>
                        <a:pt x="56" y="132"/>
                        <a:pt x="42" y="132"/>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498" name="Freeform 14"/>
                <p:cNvSpPr>
                  <a:spLocks noEditPoints="1"/>
                </p:cNvSpPr>
                <p:nvPr/>
              </p:nvSpPr>
              <p:spPr bwMode="auto">
                <a:xfrm>
                  <a:off x="10977235" y="5222732"/>
                  <a:ext cx="144145" cy="215633"/>
                </a:xfrm>
                <a:custGeom>
                  <a:avLst/>
                  <a:gdLst>
                    <a:gd name="T0" fmla="*/ 45 w 88"/>
                    <a:gd name="T1" fmla="*/ 16 h 132"/>
                    <a:gd name="T2" fmla="*/ 45 w 88"/>
                    <a:gd name="T3" fmla="*/ 16 h 132"/>
                    <a:gd name="T4" fmla="*/ 22 w 88"/>
                    <a:gd name="T5" fmla="*/ 67 h 132"/>
                    <a:gd name="T6" fmla="*/ 45 w 88"/>
                    <a:gd name="T7" fmla="*/ 116 h 132"/>
                    <a:gd name="T8" fmla="*/ 67 w 88"/>
                    <a:gd name="T9" fmla="*/ 67 h 132"/>
                    <a:gd name="T10" fmla="*/ 45 w 88"/>
                    <a:gd name="T11" fmla="*/ 16 h 132"/>
                    <a:gd name="T12" fmla="*/ 43 w 88"/>
                    <a:gd name="T13" fmla="*/ 132 h 132"/>
                    <a:gd name="T14" fmla="*/ 43 w 88"/>
                    <a:gd name="T15" fmla="*/ 132 h 132"/>
                    <a:gd name="T16" fmla="*/ 12 w 88"/>
                    <a:gd name="T17" fmla="*/ 116 h 132"/>
                    <a:gd name="T18" fmla="*/ 0 w 88"/>
                    <a:gd name="T19" fmla="*/ 68 h 132"/>
                    <a:gd name="T20" fmla="*/ 12 w 88"/>
                    <a:gd name="T21" fmla="*/ 17 h 132"/>
                    <a:gd name="T22" fmla="*/ 46 w 88"/>
                    <a:gd name="T23" fmla="*/ 0 h 132"/>
                    <a:gd name="T24" fmla="*/ 88 w 88"/>
                    <a:gd name="T25" fmla="*/ 65 h 132"/>
                    <a:gd name="T26" fmla="*/ 76 w 88"/>
                    <a:gd name="T27" fmla="*/ 115 h 132"/>
                    <a:gd name="T28" fmla="*/ 43 w 88"/>
                    <a:gd name="T2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 h="132">
                      <a:moveTo>
                        <a:pt x="45" y="16"/>
                      </a:moveTo>
                      <a:cubicBezTo>
                        <a:pt x="45" y="16"/>
                        <a:pt x="45" y="16"/>
                        <a:pt x="45" y="16"/>
                      </a:cubicBezTo>
                      <a:cubicBezTo>
                        <a:pt x="29" y="16"/>
                        <a:pt x="22" y="33"/>
                        <a:pt x="22" y="67"/>
                      </a:cubicBezTo>
                      <a:cubicBezTo>
                        <a:pt x="22" y="100"/>
                        <a:pt x="29" y="116"/>
                        <a:pt x="45" y="116"/>
                      </a:cubicBezTo>
                      <a:cubicBezTo>
                        <a:pt x="60" y="116"/>
                        <a:pt x="67" y="99"/>
                        <a:pt x="67" y="67"/>
                      </a:cubicBezTo>
                      <a:cubicBezTo>
                        <a:pt x="67" y="33"/>
                        <a:pt x="60" y="16"/>
                        <a:pt x="45" y="16"/>
                      </a:cubicBezTo>
                      <a:close/>
                      <a:moveTo>
                        <a:pt x="43" y="132"/>
                      </a:moveTo>
                      <a:cubicBezTo>
                        <a:pt x="43" y="132"/>
                        <a:pt x="43" y="132"/>
                        <a:pt x="43" y="132"/>
                      </a:cubicBezTo>
                      <a:cubicBezTo>
                        <a:pt x="29" y="132"/>
                        <a:pt x="19" y="127"/>
                        <a:pt x="12" y="116"/>
                      </a:cubicBezTo>
                      <a:cubicBezTo>
                        <a:pt x="4" y="105"/>
                        <a:pt x="0" y="89"/>
                        <a:pt x="0" y="68"/>
                      </a:cubicBezTo>
                      <a:cubicBezTo>
                        <a:pt x="0" y="46"/>
                        <a:pt x="4" y="29"/>
                        <a:pt x="12" y="17"/>
                      </a:cubicBezTo>
                      <a:cubicBezTo>
                        <a:pt x="20" y="5"/>
                        <a:pt x="31" y="0"/>
                        <a:pt x="46" y="0"/>
                      </a:cubicBezTo>
                      <a:cubicBezTo>
                        <a:pt x="74" y="0"/>
                        <a:pt x="88" y="21"/>
                        <a:pt x="88" y="65"/>
                      </a:cubicBezTo>
                      <a:cubicBezTo>
                        <a:pt x="88" y="87"/>
                        <a:pt x="84" y="104"/>
                        <a:pt x="76" y="115"/>
                      </a:cubicBezTo>
                      <a:cubicBezTo>
                        <a:pt x="68" y="126"/>
                        <a:pt x="57" y="132"/>
                        <a:pt x="43" y="132"/>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499" name="Freeform 15"/>
                <p:cNvSpPr>
                  <a:spLocks noEditPoints="1"/>
                </p:cNvSpPr>
                <p:nvPr/>
              </p:nvSpPr>
              <p:spPr bwMode="auto">
                <a:xfrm>
                  <a:off x="11154193" y="5222732"/>
                  <a:ext cx="144145" cy="215633"/>
                </a:xfrm>
                <a:custGeom>
                  <a:avLst/>
                  <a:gdLst>
                    <a:gd name="T0" fmla="*/ 45 w 88"/>
                    <a:gd name="T1" fmla="*/ 16 h 132"/>
                    <a:gd name="T2" fmla="*/ 45 w 88"/>
                    <a:gd name="T3" fmla="*/ 16 h 132"/>
                    <a:gd name="T4" fmla="*/ 21 w 88"/>
                    <a:gd name="T5" fmla="*/ 67 h 132"/>
                    <a:gd name="T6" fmla="*/ 44 w 88"/>
                    <a:gd name="T7" fmla="*/ 116 h 132"/>
                    <a:gd name="T8" fmla="*/ 67 w 88"/>
                    <a:gd name="T9" fmla="*/ 67 h 132"/>
                    <a:gd name="T10" fmla="*/ 45 w 88"/>
                    <a:gd name="T11" fmla="*/ 16 h 132"/>
                    <a:gd name="T12" fmla="*/ 43 w 88"/>
                    <a:gd name="T13" fmla="*/ 132 h 132"/>
                    <a:gd name="T14" fmla="*/ 43 w 88"/>
                    <a:gd name="T15" fmla="*/ 132 h 132"/>
                    <a:gd name="T16" fmla="*/ 11 w 88"/>
                    <a:gd name="T17" fmla="*/ 116 h 132"/>
                    <a:gd name="T18" fmla="*/ 0 w 88"/>
                    <a:gd name="T19" fmla="*/ 68 h 132"/>
                    <a:gd name="T20" fmla="*/ 12 w 88"/>
                    <a:gd name="T21" fmla="*/ 17 h 132"/>
                    <a:gd name="T22" fmla="*/ 46 w 88"/>
                    <a:gd name="T23" fmla="*/ 0 h 132"/>
                    <a:gd name="T24" fmla="*/ 88 w 88"/>
                    <a:gd name="T25" fmla="*/ 65 h 132"/>
                    <a:gd name="T26" fmla="*/ 76 w 88"/>
                    <a:gd name="T27" fmla="*/ 115 h 132"/>
                    <a:gd name="T28" fmla="*/ 43 w 88"/>
                    <a:gd name="T2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 h="132">
                      <a:moveTo>
                        <a:pt x="45" y="16"/>
                      </a:moveTo>
                      <a:cubicBezTo>
                        <a:pt x="45" y="16"/>
                        <a:pt x="45" y="16"/>
                        <a:pt x="45" y="16"/>
                      </a:cubicBezTo>
                      <a:cubicBezTo>
                        <a:pt x="29" y="16"/>
                        <a:pt x="21" y="33"/>
                        <a:pt x="21" y="67"/>
                      </a:cubicBezTo>
                      <a:cubicBezTo>
                        <a:pt x="21" y="100"/>
                        <a:pt x="29" y="116"/>
                        <a:pt x="44" y="116"/>
                      </a:cubicBezTo>
                      <a:cubicBezTo>
                        <a:pt x="59" y="116"/>
                        <a:pt x="67" y="99"/>
                        <a:pt x="67" y="67"/>
                      </a:cubicBezTo>
                      <a:cubicBezTo>
                        <a:pt x="67" y="33"/>
                        <a:pt x="59" y="16"/>
                        <a:pt x="45" y="16"/>
                      </a:cubicBezTo>
                      <a:close/>
                      <a:moveTo>
                        <a:pt x="43" y="132"/>
                      </a:moveTo>
                      <a:cubicBezTo>
                        <a:pt x="43" y="132"/>
                        <a:pt x="43" y="132"/>
                        <a:pt x="43" y="132"/>
                      </a:cubicBezTo>
                      <a:cubicBezTo>
                        <a:pt x="29" y="132"/>
                        <a:pt x="19" y="127"/>
                        <a:pt x="11" y="116"/>
                      </a:cubicBezTo>
                      <a:cubicBezTo>
                        <a:pt x="4" y="105"/>
                        <a:pt x="0" y="89"/>
                        <a:pt x="0" y="68"/>
                      </a:cubicBezTo>
                      <a:cubicBezTo>
                        <a:pt x="0" y="46"/>
                        <a:pt x="4" y="29"/>
                        <a:pt x="12" y="17"/>
                      </a:cubicBezTo>
                      <a:cubicBezTo>
                        <a:pt x="20" y="5"/>
                        <a:pt x="31" y="0"/>
                        <a:pt x="46" y="0"/>
                      </a:cubicBezTo>
                      <a:cubicBezTo>
                        <a:pt x="74" y="0"/>
                        <a:pt x="88" y="21"/>
                        <a:pt x="88" y="65"/>
                      </a:cubicBezTo>
                      <a:cubicBezTo>
                        <a:pt x="88" y="87"/>
                        <a:pt x="84" y="104"/>
                        <a:pt x="76" y="115"/>
                      </a:cubicBezTo>
                      <a:cubicBezTo>
                        <a:pt x="68" y="126"/>
                        <a:pt x="57" y="132"/>
                        <a:pt x="43" y="132"/>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00" name="Freeform 16"/>
                <p:cNvSpPr>
                  <a:spLocks/>
                </p:cNvSpPr>
                <p:nvPr/>
              </p:nvSpPr>
              <p:spPr bwMode="auto">
                <a:xfrm>
                  <a:off x="11465921" y="5312968"/>
                  <a:ext cx="724239" cy="292978"/>
                </a:xfrm>
                <a:custGeom>
                  <a:avLst/>
                  <a:gdLst>
                    <a:gd name="T0" fmla="*/ 0 w 442"/>
                    <a:gd name="T1" fmla="*/ 179 h 179"/>
                    <a:gd name="T2" fmla="*/ 0 w 442"/>
                    <a:gd name="T3" fmla="*/ 179 h 179"/>
                    <a:gd name="T4" fmla="*/ 290 w 442"/>
                    <a:gd name="T5" fmla="*/ 179 h 179"/>
                    <a:gd name="T6" fmla="*/ 442 w 442"/>
                    <a:gd name="T7" fmla="*/ 179 h 179"/>
                    <a:gd name="T8" fmla="*/ 442 w 442"/>
                    <a:gd name="T9" fmla="*/ 9 h 179"/>
                    <a:gd name="T10" fmla="*/ 0 w 442"/>
                    <a:gd name="T11" fmla="*/ 179 h 179"/>
                  </a:gdLst>
                  <a:ahLst/>
                  <a:cxnLst>
                    <a:cxn ang="0">
                      <a:pos x="T0" y="T1"/>
                    </a:cxn>
                    <a:cxn ang="0">
                      <a:pos x="T2" y="T3"/>
                    </a:cxn>
                    <a:cxn ang="0">
                      <a:pos x="T4" y="T5"/>
                    </a:cxn>
                    <a:cxn ang="0">
                      <a:pos x="T6" y="T7"/>
                    </a:cxn>
                    <a:cxn ang="0">
                      <a:pos x="T8" y="T9"/>
                    </a:cxn>
                    <a:cxn ang="0">
                      <a:pos x="T10" y="T11"/>
                    </a:cxn>
                  </a:cxnLst>
                  <a:rect l="0" t="0" r="r" b="b"/>
                  <a:pathLst>
                    <a:path w="442" h="179">
                      <a:moveTo>
                        <a:pt x="0" y="179"/>
                      </a:moveTo>
                      <a:cubicBezTo>
                        <a:pt x="0" y="179"/>
                        <a:pt x="0" y="179"/>
                        <a:pt x="0" y="179"/>
                      </a:cubicBezTo>
                      <a:cubicBezTo>
                        <a:pt x="290" y="179"/>
                        <a:pt x="290" y="179"/>
                        <a:pt x="290" y="179"/>
                      </a:cubicBezTo>
                      <a:cubicBezTo>
                        <a:pt x="442" y="179"/>
                        <a:pt x="442" y="179"/>
                        <a:pt x="442" y="179"/>
                      </a:cubicBezTo>
                      <a:cubicBezTo>
                        <a:pt x="442" y="9"/>
                        <a:pt x="442" y="9"/>
                        <a:pt x="442" y="9"/>
                      </a:cubicBezTo>
                      <a:cubicBezTo>
                        <a:pt x="283" y="0"/>
                        <a:pt x="122" y="57"/>
                        <a:pt x="0" y="17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01" name="Freeform 17"/>
                <p:cNvSpPr>
                  <a:spLocks/>
                </p:cNvSpPr>
                <p:nvPr/>
              </p:nvSpPr>
              <p:spPr bwMode="auto">
                <a:xfrm>
                  <a:off x="11297167" y="4746935"/>
                  <a:ext cx="229694" cy="631661"/>
                </a:xfrm>
                <a:custGeom>
                  <a:avLst/>
                  <a:gdLst>
                    <a:gd name="T0" fmla="*/ 140 w 140"/>
                    <a:gd name="T1" fmla="*/ 0 h 385"/>
                    <a:gd name="T2" fmla="*/ 140 w 140"/>
                    <a:gd name="T3" fmla="*/ 0 h 385"/>
                    <a:gd name="T4" fmla="*/ 140 w 140"/>
                    <a:gd name="T5" fmla="*/ 385 h 385"/>
                    <a:gd name="T6" fmla="*/ 79 w 140"/>
                    <a:gd name="T7" fmla="*/ 385 h 385"/>
                    <a:gd name="T8" fmla="*/ 79 w 140"/>
                    <a:gd name="T9" fmla="*/ 74 h 385"/>
                    <a:gd name="T10" fmla="*/ 43 w 140"/>
                    <a:gd name="T11" fmla="*/ 95 h 385"/>
                    <a:gd name="T12" fmla="*/ 0 w 140"/>
                    <a:gd name="T13" fmla="*/ 109 h 385"/>
                    <a:gd name="T14" fmla="*/ 0 w 140"/>
                    <a:gd name="T15" fmla="*/ 57 h 385"/>
                    <a:gd name="T16" fmla="*/ 29 w 140"/>
                    <a:gd name="T17" fmla="*/ 47 h 385"/>
                    <a:gd name="T18" fmla="*/ 57 w 140"/>
                    <a:gd name="T19" fmla="*/ 34 h 385"/>
                    <a:gd name="T20" fmla="*/ 85 w 140"/>
                    <a:gd name="T21" fmla="*/ 19 h 385"/>
                    <a:gd name="T22" fmla="*/ 114 w 140"/>
                    <a:gd name="T23" fmla="*/ 0 h 385"/>
                    <a:gd name="T24" fmla="*/ 140 w 140"/>
                    <a:gd name="T25" fmla="*/ 0 h 385"/>
                    <a:gd name="T26" fmla="*/ 140 w 140"/>
                    <a:gd name="T27" fmla="*/ 0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0" h="385">
                      <a:moveTo>
                        <a:pt x="140" y="0"/>
                      </a:moveTo>
                      <a:cubicBezTo>
                        <a:pt x="140" y="0"/>
                        <a:pt x="140" y="0"/>
                        <a:pt x="140" y="0"/>
                      </a:cubicBezTo>
                      <a:cubicBezTo>
                        <a:pt x="140" y="385"/>
                        <a:pt x="140" y="385"/>
                        <a:pt x="140" y="385"/>
                      </a:cubicBezTo>
                      <a:cubicBezTo>
                        <a:pt x="79" y="385"/>
                        <a:pt x="79" y="385"/>
                        <a:pt x="79" y="385"/>
                      </a:cubicBezTo>
                      <a:cubicBezTo>
                        <a:pt x="79" y="74"/>
                        <a:pt x="79" y="74"/>
                        <a:pt x="79" y="74"/>
                      </a:cubicBezTo>
                      <a:cubicBezTo>
                        <a:pt x="68" y="82"/>
                        <a:pt x="56" y="89"/>
                        <a:pt x="43" y="95"/>
                      </a:cubicBezTo>
                      <a:cubicBezTo>
                        <a:pt x="31" y="100"/>
                        <a:pt x="16" y="105"/>
                        <a:pt x="0" y="109"/>
                      </a:cubicBezTo>
                      <a:cubicBezTo>
                        <a:pt x="0" y="57"/>
                        <a:pt x="0" y="57"/>
                        <a:pt x="0" y="57"/>
                      </a:cubicBezTo>
                      <a:cubicBezTo>
                        <a:pt x="10" y="54"/>
                        <a:pt x="20" y="50"/>
                        <a:pt x="29" y="47"/>
                      </a:cubicBezTo>
                      <a:cubicBezTo>
                        <a:pt x="39" y="43"/>
                        <a:pt x="48" y="39"/>
                        <a:pt x="57" y="34"/>
                      </a:cubicBezTo>
                      <a:cubicBezTo>
                        <a:pt x="67" y="30"/>
                        <a:pt x="76" y="25"/>
                        <a:pt x="85" y="19"/>
                      </a:cubicBezTo>
                      <a:cubicBezTo>
                        <a:pt x="95" y="13"/>
                        <a:pt x="104" y="7"/>
                        <a:pt x="114" y="0"/>
                      </a:cubicBezTo>
                      <a:cubicBezTo>
                        <a:pt x="140" y="0"/>
                        <a:pt x="140" y="0"/>
                        <a:pt x="140" y="0"/>
                      </a:cubicBezTo>
                      <a:cubicBezTo>
                        <a:pt x="140" y="0"/>
                        <a:pt x="140" y="0"/>
                        <a:pt x="140"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02" name="Freeform 18"/>
                <p:cNvSpPr>
                  <a:spLocks noEditPoints="1"/>
                </p:cNvSpPr>
                <p:nvPr/>
              </p:nvSpPr>
              <p:spPr bwMode="auto">
                <a:xfrm>
                  <a:off x="11587798" y="4738729"/>
                  <a:ext cx="448840" cy="678537"/>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03" name="Freeform 19"/>
                <p:cNvSpPr>
                  <a:spLocks/>
                </p:cNvSpPr>
                <p:nvPr/>
              </p:nvSpPr>
              <p:spPr bwMode="auto">
                <a:xfrm>
                  <a:off x="10529564" y="5119601"/>
                  <a:ext cx="1660593" cy="486343"/>
                </a:xfrm>
                <a:custGeom>
                  <a:avLst/>
                  <a:gdLst>
                    <a:gd name="T0" fmla="*/ 0 w 1013"/>
                    <a:gd name="T1" fmla="*/ 297 h 297"/>
                    <a:gd name="T2" fmla="*/ 0 w 1013"/>
                    <a:gd name="T3" fmla="*/ 297 h 297"/>
                    <a:gd name="T4" fmla="*/ 1013 w 1013"/>
                    <a:gd name="T5" fmla="*/ 297 h 297"/>
                    <a:gd name="T6" fmla="*/ 1013 w 1013"/>
                    <a:gd name="T7" fmla="*/ 239 h 297"/>
                    <a:gd name="T8" fmla="*/ 0 w 1013"/>
                    <a:gd name="T9" fmla="*/ 297 h 297"/>
                  </a:gdLst>
                  <a:ahLst/>
                  <a:cxnLst>
                    <a:cxn ang="0">
                      <a:pos x="T0" y="T1"/>
                    </a:cxn>
                    <a:cxn ang="0">
                      <a:pos x="T2" y="T3"/>
                    </a:cxn>
                    <a:cxn ang="0">
                      <a:pos x="T4" y="T5"/>
                    </a:cxn>
                    <a:cxn ang="0">
                      <a:pos x="T6" y="T7"/>
                    </a:cxn>
                    <a:cxn ang="0">
                      <a:pos x="T8" y="T9"/>
                    </a:cxn>
                  </a:cxnLst>
                  <a:rect l="0" t="0" r="r" b="b"/>
                  <a:pathLst>
                    <a:path w="1013" h="297">
                      <a:moveTo>
                        <a:pt x="0" y="297"/>
                      </a:moveTo>
                      <a:cubicBezTo>
                        <a:pt x="0" y="297"/>
                        <a:pt x="0" y="297"/>
                        <a:pt x="0" y="297"/>
                      </a:cubicBezTo>
                      <a:cubicBezTo>
                        <a:pt x="1013" y="297"/>
                        <a:pt x="1013" y="297"/>
                        <a:pt x="1013" y="297"/>
                      </a:cubicBezTo>
                      <a:cubicBezTo>
                        <a:pt x="1013" y="239"/>
                        <a:pt x="1013" y="239"/>
                        <a:pt x="1013" y="239"/>
                      </a:cubicBezTo>
                      <a:cubicBezTo>
                        <a:pt x="714" y="0"/>
                        <a:pt x="277" y="19"/>
                        <a:pt x="0" y="29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04" name="Freeform 20"/>
                <p:cNvSpPr>
                  <a:spLocks/>
                </p:cNvSpPr>
                <p:nvPr/>
              </p:nvSpPr>
              <p:spPr bwMode="auto">
                <a:xfrm>
                  <a:off x="11013563" y="5252027"/>
                  <a:ext cx="213287" cy="260164"/>
                </a:xfrm>
                <a:custGeom>
                  <a:avLst/>
                  <a:gdLst>
                    <a:gd name="T0" fmla="*/ 43 w 130"/>
                    <a:gd name="T1" fmla="*/ 159 h 159"/>
                    <a:gd name="T2" fmla="*/ 43 w 130"/>
                    <a:gd name="T3" fmla="*/ 159 h 159"/>
                    <a:gd name="T4" fmla="*/ 130 w 130"/>
                    <a:gd name="T5" fmla="*/ 0 h 159"/>
                    <a:gd name="T6" fmla="*/ 77 w 130"/>
                    <a:gd name="T7" fmla="*/ 10 h 159"/>
                    <a:gd name="T8" fmla="*/ 0 w 130"/>
                    <a:gd name="T9" fmla="*/ 159 h 159"/>
                    <a:gd name="T10" fmla="*/ 43 w 130"/>
                    <a:gd name="T11" fmla="*/ 159 h 159"/>
                    <a:gd name="T12" fmla="*/ 43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3" y="159"/>
                      </a:moveTo>
                      <a:cubicBezTo>
                        <a:pt x="43" y="159"/>
                        <a:pt x="43" y="159"/>
                        <a:pt x="43" y="159"/>
                      </a:cubicBezTo>
                      <a:cubicBezTo>
                        <a:pt x="48" y="109"/>
                        <a:pt x="77" y="51"/>
                        <a:pt x="130" y="0"/>
                      </a:cubicBezTo>
                      <a:cubicBezTo>
                        <a:pt x="112" y="3"/>
                        <a:pt x="95" y="6"/>
                        <a:pt x="77" y="10"/>
                      </a:cubicBezTo>
                      <a:cubicBezTo>
                        <a:pt x="31" y="59"/>
                        <a:pt x="5" y="113"/>
                        <a:pt x="0" y="159"/>
                      </a:cubicBezTo>
                      <a:cubicBezTo>
                        <a:pt x="43" y="159"/>
                        <a:pt x="43" y="159"/>
                        <a:pt x="43" y="159"/>
                      </a:cubicBezTo>
                      <a:cubicBezTo>
                        <a:pt x="43" y="159"/>
                        <a:pt x="43" y="159"/>
                        <a:pt x="43"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05" name="Freeform 21"/>
                <p:cNvSpPr>
                  <a:spLocks/>
                </p:cNvSpPr>
                <p:nvPr/>
              </p:nvSpPr>
              <p:spPr bwMode="auto">
                <a:xfrm>
                  <a:off x="11700301" y="5261403"/>
                  <a:ext cx="64456" cy="24610"/>
                </a:xfrm>
                <a:custGeom>
                  <a:avLst/>
                  <a:gdLst>
                    <a:gd name="T0" fmla="*/ 39 w 39"/>
                    <a:gd name="T1" fmla="*/ 10 h 15"/>
                    <a:gd name="T2" fmla="*/ 39 w 39"/>
                    <a:gd name="T3" fmla="*/ 10 h 15"/>
                    <a:gd name="T4" fmla="*/ 6 w 39"/>
                    <a:gd name="T5" fmla="*/ 0 h 15"/>
                    <a:gd name="T6" fmla="*/ 0 w 39"/>
                    <a:gd name="T7" fmla="*/ 6 h 15"/>
                    <a:gd name="T8" fmla="*/ 35 w 39"/>
                    <a:gd name="T9" fmla="*/ 15 h 15"/>
                    <a:gd name="T10" fmla="*/ 39 w 39"/>
                    <a:gd name="T11" fmla="*/ 10 h 15"/>
                  </a:gdLst>
                  <a:ahLst/>
                  <a:cxnLst>
                    <a:cxn ang="0">
                      <a:pos x="T0" y="T1"/>
                    </a:cxn>
                    <a:cxn ang="0">
                      <a:pos x="T2" y="T3"/>
                    </a:cxn>
                    <a:cxn ang="0">
                      <a:pos x="T4" y="T5"/>
                    </a:cxn>
                    <a:cxn ang="0">
                      <a:pos x="T6" y="T7"/>
                    </a:cxn>
                    <a:cxn ang="0">
                      <a:pos x="T8" y="T9"/>
                    </a:cxn>
                    <a:cxn ang="0">
                      <a:pos x="T10" y="T11"/>
                    </a:cxn>
                  </a:cxnLst>
                  <a:rect l="0" t="0" r="r" b="b"/>
                  <a:pathLst>
                    <a:path w="39" h="15">
                      <a:moveTo>
                        <a:pt x="39" y="10"/>
                      </a:moveTo>
                      <a:cubicBezTo>
                        <a:pt x="39" y="10"/>
                        <a:pt x="39" y="10"/>
                        <a:pt x="39" y="10"/>
                      </a:cubicBezTo>
                      <a:cubicBezTo>
                        <a:pt x="28" y="6"/>
                        <a:pt x="17" y="3"/>
                        <a:pt x="6" y="0"/>
                      </a:cubicBezTo>
                      <a:cubicBezTo>
                        <a:pt x="4" y="2"/>
                        <a:pt x="2" y="4"/>
                        <a:pt x="0" y="6"/>
                      </a:cubicBezTo>
                      <a:cubicBezTo>
                        <a:pt x="11" y="9"/>
                        <a:pt x="23" y="12"/>
                        <a:pt x="35" y="15"/>
                      </a:cubicBezTo>
                      <a:cubicBezTo>
                        <a:pt x="36" y="13"/>
                        <a:pt x="38" y="12"/>
                        <a:pt x="39" y="1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06" name="Freeform 22"/>
                <p:cNvSpPr>
                  <a:spLocks/>
                </p:cNvSpPr>
                <p:nvPr/>
              </p:nvSpPr>
              <p:spPr bwMode="auto">
                <a:xfrm>
                  <a:off x="11576079" y="5271948"/>
                  <a:ext cx="181645" cy="240243"/>
                </a:xfrm>
                <a:custGeom>
                  <a:avLst/>
                  <a:gdLst>
                    <a:gd name="T0" fmla="*/ 43 w 111"/>
                    <a:gd name="T1" fmla="*/ 147 h 147"/>
                    <a:gd name="T2" fmla="*/ 43 w 111"/>
                    <a:gd name="T3" fmla="*/ 147 h 147"/>
                    <a:gd name="T4" fmla="*/ 111 w 111"/>
                    <a:gd name="T5" fmla="*/ 9 h 147"/>
                    <a:gd name="T6" fmla="*/ 76 w 111"/>
                    <a:gd name="T7" fmla="*/ 0 h 147"/>
                    <a:gd name="T8" fmla="*/ 0 w 111"/>
                    <a:gd name="T9" fmla="*/ 147 h 147"/>
                    <a:gd name="T10" fmla="*/ 43 w 111"/>
                    <a:gd name="T11" fmla="*/ 147 h 147"/>
                    <a:gd name="T12" fmla="*/ 43 w 111"/>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1" h="147">
                      <a:moveTo>
                        <a:pt x="43" y="147"/>
                      </a:moveTo>
                      <a:cubicBezTo>
                        <a:pt x="43" y="147"/>
                        <a:pt x="43" y="147"/>
                        <a:pt x="43" y="147"/>
                      </a:cubicBezTo>
                      <a:cubicBezTo>
                        <a:pt x="48" y="104"/>
                        <a:pt x="70" y="55"/>
                        <a:pt x="111" y="9"/>
                      </a:cubicBezTo>
                      <a:cubicBezTo>
                        <a:pt x="99" y="6"/>
                        <a:pt x="87" y="3"/>
                        <a:pt x="76" y="0"/>
                      </a:cubicBezTo>
                      <a:cubicBezTo>
                        <a:pt x="31"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07" name="Freeform 23"/>
                <p:cNvSpPr>
                  <a:spLocks/>
                </p:cNvSpPr>
                <p:nvPr/>
              </p:nvSpPr>
              <p:spPr bwMode="auto">
                <a:xfrm>
                  <a:off x="11182317" y="5239137"/>
                  <a:ext cx="414856" cy="283603"/>
                </a:xfrm>
                <a:custGeom>
                  <a:avLst/>
                  <a:gdLst>
                    <a:gd name="T0" fmla="*/ 40 w 253"/>
                    <a:gd name="T1" fmla="*/ 38 h 173"/>
                    <a:gd name="T2" fmla="*/ 40 w 253"/>
                    <a:gd name="T3" fmla="*/ 38 h 173"/>
                    <a:gd name="T4" fmla="*/ 9 w 253"/>
                    <a:gd name="T5" fmla="*/ 140 h 173"/>
                    <a:gd name="T6" fmla="*/ 70 w 253"/>
                    <a:gd name="T7" fmla="*/ 173 h 173"/>
                    <a:gd name="T8" fmla="*/ 146 w 253"/>
                    <a:gd name="T9" fmla="*/ 138 h 173"/>
                    <a:gd name="T10" fmla="*/ 232 w 253"/>
                    <a:gd name="T11" fmla="*/ 31 h 173"/>
                    <a:gd name="T12" fmla="*/ 253 w 253"/>
                    <a:gd name="T13" fmla="*/ 8 h 173"/>
                    <a:gd name="T14" fmla="*/ 213 w 253"/>
                    <a:gd name="T15" fmla="*/ 3 h 173"/>
                    <a:gd name="T16" fmla="*/ 184 w 253"/>
                    <a:gd name="T17" fmla="*/ 34 h 173"/>
                    <a:gd name="T18" fmla="*/ 79 w 253"/>
                    <a:gd name="T19" fmla="*/ 140 h 173"/>
                    <a:gd name="T20" fmla="*/ 87 w 253"/>
                    <a:gd name="T21" fmla="*/ 36 h 173"/>
                    <a:gd name="T22" fmla="*/ 123 w 253"/>
                    <a:gd name="T23" fmla="*/ 0 h 173"/>
                    <a:gd name="T24" fmla="*/ 76 w 253"/>
                    <a:gd name="T25" fmla="*/ 3 h 173"/>
                    <a:gd name="T26" fmla="*/ 40 w 253"/>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3">
                      <a:moveTo>
                        <a:pt x="40" y="38"/>
                      </a:moveTo>
                      <a:cubicBezTo>
                        <a:pt x="40" y="38"/>
                        <a:pt x="40" y="38"/>
                        <a:pt x="40" y="38"/>
                      </a:cubicBezTo>
                      <a:cubicBezTo>
                        <a:pt x="4" y="82"/>
                        <a:pt x="0" y="117"/>
                        <a:pt x="9" y="140"/>
                      </a:cubicBezTo>
                      <a:cubicBezTo>
                        <a:pt x="19" y="163"/>
                        <a:pt x="42" y="173"/>
                        <a:pt x="70" y="173"/>
                      </a:cubicBezTo>
                      <a:cubicBezTo>
                        <a:pt x="100" y="173"/>
                        <a:pt x="123" y="162"/>
                        <a:pt x="146" y="138"/>
                      </a:cubicBezTo>
                      <a:cubicBezTo>
                        <a:pt x="170" y="115"/>
                        <a:pt x="192" y="77"/>
                        <a:pt x="232" y="31"/>
                      </a:cubicBezTo>
                      <a:cubicBezTo>
                        <a:pt x="239" y="23"/>
                        <a:pt x="246" y="15"/>
                        <a:pt x="253" y="8"/>
                      </a:cubicBezTo>
                      <a:cubicBezTo>
                        <a:pt x="240" y="6"/>
                        <a:pt x="226" y="5"/>
                        <a:pt x="213" y="3"/>
                      </a:cubicBezTo>
                      <a:cubicBezTo>
                        <a:pt x="204" y="12"/>
                        <a:pt x="194" y="23"/>
                        <a:pt x="184" y="34"/>
                      </a:cubicBezTo>
                      <a:cubicBezTo>
                        <a:pt x="127" y="105"/>
                        <a:pt x="113" y="140"/>
                        <a:pt x="79" y="140"/>
                      </a:cubicBezTo>
                      <a:cubicBezTo>
                        <a:pt x="49" y="140"/>
                        <a:pt x="32" y="105"/>
                        <a:pt x="87" y="36"/>
                      </a:cubicBezTo>
                      <a:cubicBezTo>
                        <a:pt x="98" y="22"/>
                        <a:pt x="110" y="11"/>
                        <a:pt x="123" y="0"/>
                      </a:cubicBezTo>
                      <a:cubicBezTo>
                        <a:pt x="107" y="1"/>
                        <a:pt x="91" y="1"/>
                        <a:pt x="76" y="3"/>
                      </a:cubicBezTo>
                      <a:cubicBezTo>
                        <a:pt x="63" y="13"/>
                        <a:pt x="51" y="25"/>
                        <a:pt x="40"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08" name="Freeform 24"/>
                <p:cNvSpPr>
                  <a:spLocks/>
                </p:cNvSpPr>
                <p:nvPr/>
              </p:nvSpPr>
              <p:spPr bwMode="auto">
                <a:xfrm>
                  <a:off x="11749521" y="5304762"/>
                  <a:ext cx="288289" cy="217975"/>
                </a:xfrm>
                <a:custGeom>
                  <a:avLst/>
                  <a:gdLst>
                    <a:gd name="T0" fmla="*/ 9 w 176"/>
                    <a:gd name="T1" fmla="*/ 100 h 133"/>
                    <a:gd name="T2" fmla="*/ 9 w 176"/>
                    <a:gd name="T3" fmla="*/ 100 h 133"/>
                    <a:gd name="T4" fmla="*/ 70 w 176"/>
                    <a:gd name="T5" fmla="*/ 133 h 133"/>
                    <a:gd name="T6" fmla="*/ 146 w 176"/>
                    <a:gd name="T7" fmla="*/ 98 h 133"/>
                    <a:gd name="T8" fmla="*/ 176 w 176"/>
                    <a:gd name="T9" fmla="*/ 62 h 133"/>
                    <a:gd name="T10" fmla="*/ 145 w 176"/>
                    <a:gd name="T11" fmla="*/ 45 h 133"/>
                    <a:gd name="T12" fmla="*/ 79 w 176"/>
                    <a:gd name="T13" fmla="*/ 100 h 133"/>
                    <a:gd name="T14" fmla="*/ 74 w 176"/>
                    <a:gd name="T15" fmla="*/ 13 h 133"/>
                    <a:gd name="T16" fmla="*/ 39 w 176"/>
                    <a:gd name="T17" fmla="*/ 0 h 133"/>
                    <a:gd name="T18" fmla="*/ 9 w 176"/>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133">
                      <a:moveTo>
                        <a:pt x="9" y="100"/>
                      </a:moveTo>
                      <a:cubicBezTo>
                        <a:pt x="9" y="100"/>
                        <a:pt x="9" y="100"/>
                        <a:pt x="9" y="100"/>
                      </a:cubicBezTo>
                      <a:cubicBezTo>
                        <a:pt x="19" y="123"/>
                        <a:pt x="42" y="133"/>
                        <a:pt x="70" y="133"/>
                      </a:cubicBezTo>
                      <a:cubicBezTo>
                        <a:pt x="100" y="133"/>
                        <a:pt x="123" y="122"/>
                        <a:pt x="146" y="98"/>
                      </a:cubicBezTo>
                      <a:cubicBezTo>
                        <a:pt x="156" y="88"/>
                        <a:pt x="166" y="76"/>
                        <a:pt x="176" y="62"/>
                      </a:cubicBezTo>
                      <a:cubicBezTo>
                        <a:pt x="166" y="56"/>
                        <a:pt x="156" y="50"/>
                        <a:pt x="145" y="45"/>
                      </a:cubicBezTo>
                      <a:cubicBezTo>
                        <a:pt x="119" y="82"/>
                        <a:pt x="102" y="100"/>
                        <a:pt x="79" y="100"/>
                      </a:cubicBezTo>
                      <a:cubicBezTo>
                        <a:pt x="51" y="100"/>
                        <a:pt x="35" y="71"/>
                        <a:pt x="74" y="13"/>
                      </a:cubicBezTo>
                      <a:cubicBezTo>
                        <a:pt x="62" y="8"/>
                        <a:pt x="51" y="4"/>
                        <a:pt x="39" y="0"/>
                      </a:cubicBezTo>
                      <a:cubicBezTo>
                        <a:pt x="4" y="43"/>
                        <a:pt x="0" y="78"/>
                        <a:pt x="9"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09" name="Freeform 25"/>
                <p:cNvSpPr>
                  <a:spLocks/>
                </p:cNvSpPr>
                <p:nvPr/>
              </p:nvSpPr>
              <p:spPr bwMode="auto">
                <a:xfrm>
                  <a:off x="12123359" y="5460626"/>
                  <a:ext cx="66798" cy="62111"/>
                </a:xfrm>
                <a:custGeom>
                  <a:avLst/>
                  <a:gdLst>
                    <a:gd name="T0" fmla="*/ 0 w 41"/>
                    <a:gd name="T1" fmla="*/ 0 h 38"/>
                    <a:gd name="T2" fmla="*/ 0 w 41"/>
                    <a:gd name="T3" fmla="*/ 0 h 38"/>
                    <a:gd name="T4" fmla="*/ 0 w 41"/>
                    <a:gd name="T5" fmla="*/ 5 h 38"/>
                    <a:gd name="T6" fmla="*/ 38 w 41"/>
                    <a:gd name="T7" fmla="*/ 38 h 38"/>
                    <a:gd name="T8" fmla="*/ 41 w 41"/>
                    <a:gd name="T9" fmla="*/ 32 h 38"/>
                    <a:gd name="T10" fmla="*/ 41 w 41"/>
                    <a:gd name="T11" fmla="*/ 31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3" y="25"/>
                        <a:pt x="15" y="36"/>
                        <a:pt x="38" y="38"/>
                      </a:cubicBezTo>
                      <a:cubicBezTo>
                        <a:pt x="41" y="32"/>
                        <a:pt x="41" y="32"/>
                        <a:pt x="41" y="32"/>
                      </a:cubicBezTo>
                      <a:cubicBezTo>
                        <a:pt x="41" y="31"/>
                        <a:pt x="41" y="31"/>
                        <a:pt x="41" y="31"/>
                      </a:cubicBezTo>
                      <a:cubicBezTo>
                        <a:pt x="28"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10" name="Freeform 26"/>
                <p:cNvSpPr>
                  <a:spLocks/>
                </p:cNvSpPr>
                <p:nvPr/>
              </p:nvSpPr>
              <p:spPr bwMode="auto">
                <a:xfrm>
                  <a:off x="10926835" y="5083271"/>
                  <a:ext cx="155864" cy="428918"/>
                </a:xfrm>
                <a:custGeom>
                  <a:avLst/>
                  <a:gdLst>
                    <a:gd name="T0" fmla="*/ 95 w 95"/>
                    <a:gd name="T1" fmla="*/ 0 h 262"/>
                    <a:gd name="T2" fmla="*/ 95 w 95"/>
                    <a:gd name="T3" fmla="*/ 0 h 262"/>
                    <a:gd name="T4" fmla="*/ 95 w 95"/>
                    <a:gd name="T5" fmla="*/ 262 h 262"/>
                    <a:gd name="T6" fmla="*/ 54 w 95"/>
                    <a:gd name="T7" fmla="*/ 262 h 262"/>
                    <a:gd name="T8" fmla="*/ 54 w 95"/>
                    <a:gd name="T9" fmla="*/ 51 h 262"/>
                    <a:gd name="T10" fmla="*/ 30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8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4" y="262"/>
                        <a:pt x="54" y="262"/>
                        <a:pt x="54" y="262"/>
                      </a:cubicBezTo>
                      <a:cubicBezTo>
                        <a:pt x="54" y="51"/>
                        <a:pt x="54" y="51"/>
                        <a:pt x="54" y="51"/>
                      </a:cubicBezTo>
                      <a:cubicBezTo>
                        <a:pt x="46" y="56"/>
                        <a:pt x="38" y="61"/>
                        <a:pt x="30" y="65"/>
                      </a:cubicBezTo>
                      <a:cubicBezTo>
                        <a:pt x="21" y="68"/>
                        <a:pt x="11" y="72"/>
                        <a:pt x="0" y="74"/>
                      </a:cubicBezTo>
                      <a:cubicBezTo>
                        <a:pt x="0" y="39"/>
                        <a:pt x="0" y="39"/>
                        <a:pt x="0" y="39"/>
                      </a:cubicBezTo>
                      <a:cubicBezTo>
                        <a:pt x="7" y="37"/>
                        <a:pt x="14" y="34"/>
                        <a:pt x="20" y="32"/>
                      </a:cubicBezTo>
                      <a:cubicBezTo>
                        <a:pt x="26" y="30"/>
                        <a:pt x="33" y="27"/>
                        <a:pt x="39" y="24"/>
                      </a:cubicBezTo>
                      <a:cubicBezTo>
                        <a:pt x="45" y="20"/>
                        <a:pt x="52" y="17"/>
                        <a:pt x="58" y="13"/>
                      </a:cubicBezTo>
                      <a:cubicBezTo>
                        <a:pt x="64" y="9"/>
                        <a:pt x="71" y="5"/>
                        <a:pt x="78"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11" name="Freeform 27"/>
                <p:cNvSpPr>
                  <a:spLocks/>
                </p:cNvSpPr>
                <p:nvPr/>
              </p:nvSpPr>
              <p:spPr bwMode="auto">
                <a:xfrm>
                  <a:off x="11472947" y="5083271"/>
                  <a:ext cx="155864" cy="428918"/>
                </a:xfrm>
                <a:custGeom>
                  <a:avLst/>
                  <a:gdLst>
                    <a:gd name="T0" fmla="*/ 95 w 95"/>
                    <a:gd name="T1" fmla="*/ 0 h 262"/>
                    <a:gd name="T2" fmla="*/ 95 w 95"/>
                    <a:gd name="T3" fmla="*/ 0 h 262"/>
                    <a:gd name="T4" fmla="*/ 95 w 95"/>
                    <a:gd name="T5" fmla="*/ 262 h 262"/>
                    <a:gd name="T6" fmla="*/ 54 w 95"/>
                    <a:gd name="T7" fmla="*/ 262 h 262"/>
                    <a:gd name="T8" fmla="*/ 54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8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4" y="262"/>
                        <a:pt x="54" y="262"/>
                        <a:pt x="54" y="262"/>
                      </a:cubicBezTo>
                      <a:cubicBezTo>
                        <a:pt x="54" y="51"/>
                        <a:pt x="54" y="51"/>
                        <a:pt x="54" y="51"/>
                      </a:cubicBezTo>
                      <a:cubicBezTo>
                        <a:pt x="46" y="56"/>
                        <a:pt x="38" y="61"/>
                        <a:pt x="29" y="65"/>
                      </a:cubicBezTo>
                      <a:cubicBezTo>
                        <a:pt x="21" y="68"/>
                        <a:pt x="11" y="72"/>
                        <a:pt x="0" y="74"/>
                      </a:cubicBezTo>
                      <a:cubicBezTo>
                        <a:pt x="0" y="39"/>
                        <a:pt x="0" y="39"/>
                        <a:pt x="0" y="39"/>
                      </a:cubicBezTo>
                      <a:cubicBezTo>
                        <a:pt x="7" y="37"/>
                        <a:pt x="13" y="34"/>
                        <a:pt x="20" y="32"/>
                      </a:cubicBezTo>
                      <a:cubicBezTo>
                        <a:pt x="26" y="30"/>
                        <a:pt x="33" y="27"/>
                        <a:pt x="39" y="24"/>
                      </a:cubicBezTo>
                      <a:cubicBezTo>
                        <a:pt x="45" y="20"/>
                        <a:pt x="51" y="17"/>
                        <a:pt x="58" y="13"/>
                      </a:cubicBezTo>
                      <a:cubicBezTo>
                        <a:pt x="64" y="9"/>
                        <a:pt x="71" y="5"/>
                        <a:pt x="78"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12" name="Freeform 28"/>
                <p:cNvSpPr>
                  <a:spLocks noEditPoints="1"/>
                </p:cNvSpPr>
                <p:nvPr/>
              </p:nvSpPr>
              <p:spPr bwMode="auto">
                <a:xfrm>
                  <a:off x="11148333" y="5078584"/>
                  <a:ext cx="294148" cy="444155"/>
                </a:xfrm>
                <a:custGeom>
                  <a:avLst/>
                  <a:gdLst>
                    <a:gd name="T0" fmla="*/ 91 w 180"/>
                    <a:gd name="T1" fmla="*/ 34 h 271"/>
                    <a:gd name="T2" fmla="*/ 91 w 180"/>
                    <a:gd name="T3" fmla="*/ 34 h 271"/>
                    <a:gd name="T4" fmla="*/ 43 w 180"/>
                    <a:gd name="T5" fmla="*/ 139 h 271"/>
                    <a:gd name="T6" fmla="*/ 90 w 180"/>
                    <a:gd name="T7" fmla="*/ 238 h 271"/>
                    <a:gd name="T8" fmla="*/ 136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3 w 180"/>
                    <a:gd name="T23" fmla="*/ 0 h 271"/>
                    <a:gd name="T24" fmla="*/ 180 w 180"/>
                    <a:gd name="T25" fmla="*/ 135 h 271"/>
                    <a:gd name="T26" fmla="*/ 155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9"/>
                        <a:pt x="121" y="34"/>
                        <a:pt x="91" y="34"/>
                      </a:cubicBezTo>
                      <a:close/>
                      <a:moveTo>
                        <a:pt x="87" y="271"/>
                      </a:moveTo>
                      <a:cubicBezTo>
                        <a:pt x="87" y="271"/>
                        <a:pt x="87" y="271"/>
                        <a:pt x="87" y="271"/>
                      </a:cubicBezTo>
                      <a:cubicBezTo>
                        <a:pt x="59" y="271"/>
                        <a:pt x="38" y="260"/>
                        <a:pt x="23" y="238"/>
                      </a:cubicBezTo>
                      <a:cubicBezTo>
                        <a:pt x="7" y="216"/>
                        <a:pt x="0" y="183"/>
                        <a:pt x="0" y="141"/>
                      </a:cubicBezTo>
                      <a:cubicBezTo>
                        <a:pt x="0" y="95"/>
                        <a:pt x="8" y="60"/>
                        <a:pt x="24" y="36"/>
                      </a:cubicBezTo>
                      <a:cubicBezTo>
                        <a:pt x="40" y="12"/>
                        <a:pt x="63" y="0"/>
                        <a:pt x="93" y="0"/>
                      </a:cubicBezTo>
                      <a:cubicBezTo>
                        <a:pt x="151" y="0"/>
                        <a:pt x="180" y="45"/>
                        <a:pt x="180" y="135"/>
                      </a:cubicBezTo>
                      <a:cubicBezTo>
                        <a:pt x="180" y="179"/>
                        <a:pt x="171" y="213"/>
                        <a:pt x="155" y="236"/>
                      </a:cubicBezTo>
                      <a:cubicBezTo>
                        <a:pt x="139" y="260"/>
                        <a:pt x="116"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13" name="Freeform 29"/>
                <p:cNvSpPr>
                  <a:spLocks noEditPoints="1"/>
                </p:cNvSpPr>
                <p:nvPr/>
              </p:nvSpPr>
              <p:spPr bwMode="auto">
                <a:xfrm>
                  <a:off x="11696785" y="5078584"/>
                  <a:ext cx="295321" cy="444155"/>
                </a:xfrm>
                <a:custGeom>
                  <a:avLst/>
                  <a:gdLst>
                    <a:gd name="T0" fmla="*/ 91 w 180"/>
                    <a:gd name="T1" fmla="*/ 34 h 271"/>
                    <a:gd name="T2" fmla="*/ 91 w 180"/>
                    <a:gd name="T3" fmla="*/ 34 h 271"/>
                    <a:gd name="T4" fmla="*/ 43 w 180"/>
                    <a:gd name="T5" fmla="*/ 139 h 271"/>
                    <a:gd name="T6" fmla="*/ 90 w 180"/>
                    <a:gd name="T7" fmla="*/ 238 h 271"/>
                    <a:gd name="T8" fmla="*/ 136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3 w 180"/>
                    <a:gd name="T23" fmla="*/ 0 h 271"/>
                    <a:gd name="T24" fmla="*/ 180 w 180"/>
                    <a:gd name="T25" fmla="*/ 135 h 271"/>
                    <a:gd name="T26" fmla="*/ 155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9"/>
                        <a:pt x="121" y="34"/>
                        <a:pt x="91" y="34"/>
                      </a:cubicBezTo>
                      <a:close/>
                      <a:moveTo>
                        <a:pt x="87" y="271"/>
                      </a:moveTo>
                      <a:cubicBezTo>
                        <a:pt x="87" y="271"/>
                        <a:pt x="87" y="271"/>
                        <a:pt x="87" y="271"/>
                      </a:cubicBezTo>
                      <a:cubicBezTo>
                        <a:pt x="60" y="271"/>
                        <a:pt x="38" y="260"/>
                        <a:pt x="23" y="238"/>
                      </a:cubicBezTo>
                      <a:cubicBezTo>
                        <a:pt x="8" y="216"/>
                        <a:pt x="0" y="183"/>
                        <a:pt x="0" y="141"/>
                      </a:cubicBezTo>
                      <a:cubicBezTo>
                        <a:pt x="0" y="95"/>
                        <a:pt x="8" y="60"/>
                        <a:pt x="24" y="36"/>
                      </a:cubicBezTo>
                      <a:cubicBezTo>
                        <a:pt x="40" y="12"/>
                        <a:pt x="63" y="0"/>
                        <a:pt x="93" y="0"/>
                      </a:cubicBezTo>
                      <a:cubicBezTo>
                        <a:pt x="151" y="0"/>
                        <a:pt x="180" y="45"/>
                        <a:pt x="180" y="135"/>
                      </a:cubicBezTo>
                      <a:cubicBezTo>
                        <a:pt x="180" y="179"/>
                        <a:pt x="171" y="213"/>
                        <a:pt x="155" y="236"/>
                      </a:cubicBezTo>
                      <a:cubicBezTo>
                        <a:pt x="139" y="260"/>
                        <a:pt x="116"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14" name="Freeform 30"/>
                <p:cNvSpPr>
                  <a:spLocks/>
                </p:cNvSpPr>
                <p:nvPr/>
              </p:nvSpPr>
              <p:spPr bwMode="auto">
                <a:xfrm>
                  <a:off x="11162390" y="5391484"/>
                  <a:ext cx="910571" cy="214460"/>
                </a:xfrm>
                <a:custGeom>
                  <a:avLst/>
                  <a:gdLst>
                    <a:gd name="T0" fmla="*/ 343 w 555"/>
                    <a:gd name="T1" fmla="*/ 21 h 131"/>
                    <a:gd name="T2" fmla="*/ 343 w 555"/>
                    <a:gd name="T3" fmla="*/ 21 h 131"/>
                    <a:gd name="T4" fmla="*/ 0 w 555"/>
                    <a:gd name="T5" fmla="*/ 131 h 131"/>
                    <a:gd name="T6" fmla="*/ 197 w 555"/>
                    <a:gd name="T7" fmla="*/ 131 h 131"/>
                    <a:gd name="T8" fmla="*/ 555 w 555"/>
                    <a:gd name="T9" fmla="*/ 131 h 131"/>
                    <a:gd name="T10" fmla="*/ 343 w 555"/>
                    <a:gd name="T11" fmla="*/ 21 h 131"/>
                  </a:gdLst>
                  <a:ahLst/>
                  <a:cxnLst>
                    <a:cxn ang="0">
                      <a:pos x="T0" y="T1"/>
                    </a:cxn>
                    <a:cxn ang="0">
                      <a:pos x="T2" y="T3"/>
                    </a:cxn>
                    <a:cxn ang="0">
                      <a:pos x="T4" y="T5"/>
                    </a:cxn>
                    <a:cxn ang="0">
                      <a:pos x="T6" y="T7"/>
                    </a:cxn>
                    <a:cxn ang="0">
                      <a:pos x="T8" y="T9"/>
                    </a:cxn>
                    <a:cxn ang="0">
                      <a:pos x="T10" y="T11"/>
                    </a:cxn>
                  </a:cxnLst>
                  <a:rect l="0" t="0" r="r" b="b"/>
                  <a:pathLst>
                    <a:path w="555" h="131">
                      <a:moveTo>
                        <a:pt x="343" y="21"/>
                      </a:moveTo>
                      <a:cubicBezTo>
                        <a:pt x="343" y="21"/>
                        <a:pt x="343" y="21"/>
                        <a:pt x="343" y="21"/>
                      </a:cubicBezTo>
                      <a:cubicBezTo>
                        <a:pt x="222" y="0"/>
                        <a:pt x="93" y="37"/>
                        <a:pt x="0" y="131"/>
                      </a:cubicBezTo>
                      <a:cubicBezTo>
                        <a:pt x="197" y="131"/>
                        <a:pt x="197" y="131"/>
                        <a:pt x="197" y="131"/>
                      </a:cubicBezTo>
                      <a:cubicBezTo>
                        <a:pt x="555" y="131"/>
                        <a:pt x="555" y="131"/>
                        <a:pt x="555" y="131"/>
                      </a:cubicBezTo>
                      <a:cubicBezTo>
                        <a:pt x="496" y="70"/>
                        <a:pt x="421" y="34"/>
                        <a:pt x="343"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15" name="Freeform 31"/>
                <p:cNvSpPr>
                  <a:spLocks/>
                </p:cNvSpPr>
                <p:nvPr/>
              </p:nvSpPr>
              <p:spPr bwMode="auto">
                <a:xfrm>
                  <a:off x="12097571" y="4787948"/>
                  <a:ext cx="92582" cy="587127"/>
                </a:xfrm>
                <a:custGeom>
                  <a:avLst/>
                  <a:gdLst>
                    <a:gd name="T0" fmla="*/ 36 w 57"/>
                    <a:gd name="T1" fmla="*/ 25 h 358"/>
                    <a:gd name="T2" fmla="*/ 36 w 57"/>
                    <a:gd name="T3" fmla="*/ 25 h 358"/>
                    <a:gd name="T4" fmla="*/ 0 w 57"/>
                    <a:gd name="T5" fmla="*/ 185 h 358"/>
                    <a:gd name="T6" fmla="*/ 35 w 57"/>
                    <a:gd name="T7" fmla="*/ 333 h 358"/>
                    <a:gd name="T8" fmla="*/ 57 w 57"/>
                    <a:gd name="T9" fmla="*/ 358 h 358"/>
                    <a:gd name="T10" fmla="*/ 57 w 57"/>
                    <a:gd name="T11" fmla="*/ 0 h 358"/>
                    <a:gd name="T12" fmla="*/ 36 w 57"/>
                    <a:gd name="T13" fmla="*/ 25 h 358"/>
                  </a:gdLst>
                  <a:ahLst/>
                  <a:cxnLst>
                    <a:cxn ang="0">
                      <a:pos x="T0" y="T1"/>
                    </a:cxn>
                    <a:cxn ang="0">
                      <a:pos x="T2" y="T3"/>
                    </a:cxn>
                    <a:cxn ang="0">
                      <a:pos x="T4" y="T5"/>
                    </a:cxn>
                    <a:cxn ang="0">
                      <a:pos x="T6" y="T7"/>
                    </a:cxn>
                    <a:cxn ang="0">
                      <a:pos x="T8" y="T9"/>
                    </a:cxn>
                    <a:cxn ang="0">
                      <a:pos x="T10" y="T11"/>
                    </a:cxn>
                    <a:cxn ang="0">
                      <a:pos x="T12" y="T13"/>
                    </a:cxn>
                  </a:cxnLst>
                  <a:rect l="0" t="0" r="r" b="b"/>
                  <a:pathLst>
                    <a:path w="57" h="358">
                      <a:moveTo>
                        <a:pt x="36" y="25"/>
                      </a:moveTo>
                      <a:cubicBezTo>
                        <a:pt x="36" y="25"/>
                        <a:pt x="36" y="25"/>
                        <a:pt x="36" y="25"/>
                      </a:cubicBezTo>
                      <a:cubicBezTo>
                        <a:pt x="12" y="61"/>
                        <a:pt x="0" y="114"/>
                        <a:pt x="0" y="185"/>
                      </a:cubicBezTo>
                      <a:cubicBezTo>
                        <a:pt x="0" y="250"/>
                        <a:pt x="11" y="299"/>
                        <a:pt x="35" y="333"/>
                      </a:cubicBezTo>
                      <a:cubicBezTo>
                        <a:pt x="42" y="343"/>
                        <a:pt x="49" y="351"/>
                        <a:pt x="57" y="358"/>
                      </a:cubicBezTo>
                      <a:cubicBezTo>
                        <a:pt x="57" y="0"/>
                        <a:pt x="57" y="0"/>
                        <a:pt x="57" y="0"/>
                      </a:cubicBezTo>
                      <a:cubicBezTo>
                        <a:pt x="50" y="7"/>
                        <a:pt x="43" y="15"/>
                        <a:pt x="36" y="2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516" name="Freeform 32"/>
                <p:cNvSpPr>
                  <a:spLocks/>
                </p:cNvSpPr>
                <p:nvPr/>
              </p:nvSpPr>
              <p:spPr bwMode="auto">
                <a:xfrm>
                  <a:off x="12061278" y="5079752"/>
                  <a:ext cx="128909" cy="442983"/>
                </a:xfrm>
                <a:custGeom>
                  <a:avLst/>
                  <a:gdLst>
                    <a:gd name="T0" fmla="*/ 43 w 79"/>
                    <a:gd name="T1" fmla="*/ 138 h 270"/>
                    <a:gd name="T2" fmla="*/ 43 w 79"/>
                    <a:gd name="T3" fmla="*/ 138 h 270"/>
                    <a:gd name="T4" fmla="*/ 79 w 79"/>
                    <a:gd name="T5" fmla="*/ 35 h 270"/>
                    <a:gd name="T6" fmla="*/ 79 w 79"/>
                    <a:gd name="T7" fmla="*/ 0 h 270"/>
                    <a:gd name="T8" fmla="*/ 24 w 79"/>
                    <a:gd name="T9" fmla="*/ 35 h 270"/>
                    <a:gd name="T10" fmla="*/ 0 w 79"/>
                    <a:gd name="T11" fmla="*/ 140 h 270"/>
                    <a:gd name="T12" fmla="*/ 23 w 79"/>
                    <a:gd name="T13" fmla="*/ 237 h 270"/>
                    <a:gd name="T14" fmla="*/ 79 w 79"/>
                    <a:gd name="T15" fmla="*/ 270 h 270"/>
                    <a:gd name="T16" fmla="*/ 79 w 79"/>
                    <a:gd name="T17" fmla="*/ 235 h 270"/>
                    <a:gd name="T18" fmla="*/ 43 w 79"/>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270">
                      <a:moveTo>
                        <a:pt x="43" y="138"/>
                      </a:moveTo>
                      <a:cubicBezTo>
                        <a:pt x="43" y="138"/>
                        <a:pt x="43" y="138"/>
                        <a:pt x="43" y="138"/>
                      </a:cubicBezTo>
                      <a:cubicBezTo>
                        <a:pt x="43" y="77"/>
                        <a:pt x="55" y="43"/>
                        <a:pt x="79" y="35"/>
                      </a:cubicBezTo>
                      <a:cubicBezTo>
                        <a:pt x="79" y="0"/>
                        <a:pt x="79" y="0"/>
                        <a:pt x="79" y="0"/>
                      </a:cubicBezTo>
                      <a:cubicBezTo>
                        <a:pt x="56" y="3"/>
                        <a:pt x="37" y="15"/>
                        <a:pt x="24" y="35"/>
                      </a:cubicBezTo>
                      <a:cubicBezTo>
                        <a:pt x="8" y="59"/>
                        <a:pt x="0" y="94"/>
                        <a:pt x="0" y="140"/>
                      </a:cubicBezTo>
                      <a:cubicBezTo>
                        <a:pt x="0" y="182"/>
                        <a:pt x="7" y="215"/>
                        <a:pt x="23" y="237"/>
                      </a:cubicBezTo>
                      <a:cubicBezTo>
                        <a:pt x="37" y="257"/>
                        <a:pt x="55" y="268"/>
                        <a:pt x="79" y="270"/>
                      </a:cubicBezTo>
                      <a:cubicBezTo>
                        <a:pt x="79" y="235"/>
                        <a:pt x="79" y="235"/>
                        <a:pt x="79" y="235"/>
                      </a:cubicBezTo>
                      <a:cubicBezTo>
                        <a:pt x="55" y="228"/>
                        <a:pt x="43" y="196"/>
                        <a:pt x="43"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grpSp>
        </p:grpSp>
        <p:grpSp>
          <p:nvGrpSpPr>
            <p:cNvPr id="47" name="Group 46"/>
            <p:cNvGrpSpPr/>
            <p:nvPr/>
          </p:nvGrpSpPr>
          <p:grpSpPr>
            <a:xfrm>
              <a:off x="11137698" y="8144556"/>
              <a:ext cx="792957" cy="454737"/>
              <a:chOff x="11268654" y="5874852"/>
              <a:chExt cx="475079" cy="272443"/>
            </a:xfrm>
          </p:grpSpPr>
          <p:grpSp>
            <p:nvGrpSpPr>
              <p:cNvPr id="44" name="Group 43"/>
              <p:cNvGrpSpPr/>
              <p:nvPr/>
            </p:nvGrpSpPr>
            <p:grpSpPr>
              <a:xfrm>
                <a:off x="11527880" y="5875025"/>
                <a:ext cx="215853" cy="265975"/>
                <a:chOff x="11191876" y="6141629"/>
                <a:chExt cx="215853" cy="265975"/>
              </a:xfrm>
            </p:grpSpPr>
            <p:sp>
              <p:nvSpPr>
                <p:cNvPr id="739" name="Freeform 380"/>
                <p:cNvSpPr>
                  <a:spLocks noEditPoints="1"/>
                </p:cNvSpPr>
                <p:nvPr/>
              </p:nvSpPr>
              <p:spPr bwMode="auto">
                <a:xfrm>
                  <a:off x="11191876" y="6141629"/>
                  <a:ext cx="50932" cy="72759"/>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5"/>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740" name="Freeform 381"/>
                <p:cNvSpPr>
                  <a:spLocks/>
                </p:cNvSpPr>
                <p:nvPr/>
              </p:nvSpPr>
              <p:spPr bwMode="auto">
                <a:xfrm>
                  <a:off x="11260593" y="6141629"/>
                  <a:ext cx="30721" cy="71142"/>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3"/>
                        <a:pt x="3" y="14"/>
                      </a:cubicBezTo>
                      <a:cubicBezTo>
                        <a:pt x="2" y="14"/>
                        <a:pt x="1" y="14"/>
                        <a:pt x="0" y="14"/>
                      </a:cubicBezTo>
                      <a:cubicBezTo>
                        <a:pt x="0" y="6"/>
                        <a:pt x="0" y="6"/>
                        <a:pt x="0" y="6"/>
                      </a:cubicBezTo>
                      <a:cubicBezTo>
                        <a:pt x="2" y="5"/>
                        <a:pt x="5" y="4"/>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741" name="Freeform 382"/>
                <p:cNvSpPr>
                  <a:spLocks noEditPoints="1"/>
                </p:cNvSpPr>
                <p:nvPr/>
              </p:nvSpPr>
              <p:spPr bwMode="auto">
                <a:xfrm>
                  <a:off x="11310716" y="6141629"/>
                  <a:ext cx="51740" cy="72759"/>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5"/>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753" name="Freeform 394"/>
                <p:cNvSpPr>
                  <a:spLocks/>
                </p:cNvSpPr>
                <p:nvPr/>
              </p:nvSpPr>
              <p:spPr bwMode="auto">
                <a:xfrm>
                  <a:off x="11377008" y="6141629"/>
                  <a:ext cx="30721" cy="71142"/>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3"/>
                        <a:pt x="3" y="14"/>
                      </a:cubicBezTo>
                      <a:cubicBezTo>
                        <a:pt x="2" y="14"/>
                        <a:pt x="1" y="14"/>
                        <a:pt x="0" y="14"/>
                      </a:cubicBezTo>
                      <a:cubicBezTo>
                        <a:pt x="0" y="6"/>
                        <a:pt x="0" y="6"/>
                        <a:pt x="0" y="6"/>
                      </a:cubicBezTo>
                      <a:cubicBezTo>
                        <a:pt x="3" y="5"/>
                        <a:pt x="5" y="4"/>
                        <a:pt x="8" y="3"/>
                      </a:cubicBezTo>
                      <a:cubicBezTo>
                        <a:pt x="10" y="2"/>
                        <a:pt x="12"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755" name="Freeform 396"/>
                <p:cNvSpPr>
                  <a:spLocks noEditPoints="1"/>
                </p:cNvSpPr>
                <p:nvPr/>
              </p:nvSpPr>
              <p:spPr bwMode="auto">
                <a:xfrm>
                  <a:off x="11191876" y="6234599"/>
                  <a:ext cx="50932" cy="72759"/>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8 h 45"/>
                    <a:gd name="T16" fmla="*/ 10 w 32"/>
                    <a:gd name="T17" fmla="*/ 23 h 45"/>
                    <a:gd name="T18" fmla="*/ 16 w 32"/>
                    <a:gd name="T19" fmla="*/ 38 h 45"/>
                    <a:gd name="T20" fmla="*/ 22 w 32"/>
                    <a:gd name="T21" fmla="*/ 23 h 45"/>
                    <a:gd name="T22" fmla="*/ 16 w 32"/>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8"/>
                        <a:pt x="32" y="22"/>
                      </a:cubicBezTo>
                      <a:cubicBezTo>
                        <a:pt x="32" y="30"/>
                        <a:pt x="30" y="35"/>
                        <a:pt x="28" y="39"/>
                      </a:cubicBezTo>
                      <a:cubicBezTo>
                        <a:pt x="25" y="43"/>
                        <a:pt x="21" y="45"/>
                        <a:pt x="16" y="45"/>
                      </a:cubicBezTo>
                      <a:close/>
                      <a:moveTo>
                        <a:pt x="16" y="8"/>
                      </a:moveTo>
                      <a:cubicBezTo>
                        <a:pt x="12" y="8"/>
                        <a:pt x="10" y="13"/>
                        <a:pt x="10" y="23"/>
                      </a:cubicBezTo>
                      <a:cubicBezTo>
                        <a:pt x="10" y="33"/>
                        <a:pt x="12" y="38"/>
                        <a:pt x="16" y="38"/>
                      </a:cubicBezTo>
                      <a:cubicBezTo>
                        <a:pt x="20" y="38"/>
                        <a:pt x="22" y="33"/>
                        <a:pt x="22" y="23"/>
                      </a:cubicBezTo>
                      <a:cubicBezTo>
                        <a:pt x="22" y="13"/>
                        <a:pt x="20" y="8"/>
                        <a:pt x="16" y="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756" name="Freeform 397"/>
                <p:cNvSpPr>
                  <a:spLocks/>
                </p:cNvSpPr>
                <p:nvPr/>
              </p:nvSpPr>
              <p:spPr bwMode="auto">
                <a:xfrm>
                  <a:off x="11260593" y="6234599"/>
                  <a:ext cx="30721" cy="71142"/>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3 w 19"/>
                    <a:gd name="T13" fmla="*/ 14 h 44"/>
                    <a:gd name="T14" fmla="*/ 0 w 19"/>
                    <a:gd name="T15" fmla="*/ 15 h 44"/>
                    <a:gd name="T16" fmla="*/ 0 w 19"/>
                    <a:gd name="T17" fmla="*/ 7 h 44"/>
                    <a:gd name="T18" fmla="*/ 7 w 19"/>
                    <a:gd name="T19" fmla="*/ 4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2"/>
                        <a:pt x="7" y="12"/>
                      </a:cubicBezTo>
                      <a:cubicBezTo>
                        <a:pt x="7" y="13"/>
                        <a:pt x="6" y="13"/>
                        <a:pt x="5" y="13"/>
                      </a:cubicBezTo>
                      <a:cubicBezTo>
                        <a:pt x="4" y="14"/>
                        <a:pt x="3" y="14"/>
                        <a:pt x="3" y="14"/>
                      </a:cubicBezTo>
                      <a:cubicBezTo>
                        <a:pt x="2" y="14"/>
                        <a:pt x="1" y="15"/>
                        <a:pt x="0" y="15"/>
                      </a:cubicBezTo>
                      <a:cubicBezTo>
                        <a:pt x="0" y="7"/>
                        <a:pt x="0" y="7"/>
                        <a:pt x="0" y="7"/>
                      </a:cubicBezTo>
                      <a:cubicBezTo>
                        <a:pt x="2" y="6"/>
                        <a:pt x="5" y="5"/>
                        <a:pt x="7" y="4"/>
                      </a:cubicBezTo>
                      <a:cubicBezTo>
                        <a:pt x="9" y="3"/>
                        <a:pt x="11"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757" name="Freeform 398"/>
                <p:cNvSpPr>
                  <a:spLocks noEditPoints="1"/>
                </p:cNvSpPr>
                <p:nvPr/>
              </p:nvSpPr>
              <p:spPr bwMode="auto">
                <a:xfrm>
                  <a:off x="11310716" y="6234599"/>
                  <a:ext cx="51740" cy="72759"/>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8 h 45"/>
                    <a:gd name="T16" fmla="*/ 10 w 32"/>
                    <a:gd name="T17" fmla="*/ 23 h 45"/>
                    <a:gd name="T18" fmla="*/ 16 w 32"/>
                    <a:gd name="T19" fmla="*/ 38 h 45"/>
                    <a:gd name="T20" fmla="*/ 22 w 32"/>
                    <a:gd name="T21" fmla="*/ 23 h 45"/>
                    <a:gd name="T22" fmla="*/ 16 w 32"/>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8"/>
                        <a:pt x="32" y="22"/>
                      </a:cubicBezTo>
                      <a:cubicBezTo>
                        <a:pt x="32" y="30"/>
                        <a:pt x="30" y="35"/>
                        <a:pt x="28" y="39"/>
                      </a:cubicBezTo>
                      <a:cubicBezTo>
                        <a:pt x="25" y="43"/>
                        <a:pt x="21" y="45"/>
                        <a:pt x="16" y="45"/>
                      </a:cubicBezTo>
                      <a:close/>
                      <a:moveTo>
                        <a:pt x="16" y="8"/>
                      </a:moveTo>
                      <a:cubicBezTo>
                        <a:pt x="12" y="8"/>
                        <a:pt x="10" y="13"/>
                        <a:pt x="10" y="23"/>
                      </a:cubicBezTo>
                      <a:cubicBezTo>
                        <a:pt x="10" y="33"/>
                        <a:pt x="12" y="38"/>
                        <a:pt x="16" y="38"/>
                      </a:cubicBezTo>
                      <a:cubicBezTo>
                        <a:pt x="20" y="38"/>
                        <a:pt x="22" y="33"/>
                        <a:pt x="22" y="23"/>
                      </a:cubicBezTo>
                      <a:cubicBezTo>
                        <a:pt x="22" y="13"/>
                        <a:pt x="20" y="8"/>
                        <a:pt x="16" y="8"/>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758" name="Freeform 399"/>
                <p:cNvSpPr>
                  <a:spLocks noEditPoints="1"/>
                </p:cNvSpPr>
                <p:nvPr/>
              </p:nvSpPr>
              <p:spPr bwMode="auto">
                <a:xfrm>
                  <a:off x="11191876" y="6334845"/>
                  <a:ext cx="50932" cy="72759"/>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8 h 45"/>
                    <a:gd name="T16" fmla="*/ 10 w 32"/>
                    <a:gd name="T17" fmla="*/ 23 h 45"/>
                    <a:gd name="T18" fmla="*/ 16 w 32"/>
                    <a:gd name="T19" fmla="*/ 38 h 45"/>
                    <a:gd name="T20" fmla="*/ 22 w 32"/>
                    <a:gd name="T21" fmla="*/ 23 h 45"/>
                    <a:gd name="T22" fmla="*/ 16 w 32"/>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8"/>
                        <a:pt x="32" y="22"/>
                      </a:cubicBezTo>
                      <a:cubicBezTo>
                        <a:pt x="32" y="30"/>
                        <a:pt x="30" y="35"/>
                        <a:pt x="28" y="39"/>
                      </a:cubicBezTo>
                      <a:cubicBezTo>
                        <a:pt x="25" y="43"/>
                        <a:pt x="21" y="45"/>
                        <a:pt x="16" y="45"/>
                      </a:cubicBezTo>
                      <a:close/>
                      <a:moveTo>
                        <a:pt x="16" y="8"/>
                      </a:moveTo>
                      <a:cubicBezTo>
                        <a:pt x="12" y="8"/>
                        <a:pt x="10" y="13"/>
                        <a:pt x="10" y="23"/>
                      </a:cubicBezTo>
                      <a:cubicBezTo>
                        <a:pt x="10" y="33"/>
                        <a:pt x="12" y="38"/>
                        <a:pt x="16" y="38"/>
                      </a:cubicBezTo>
                      <a:cubicBezTo>
                        <a:pt x="20" y="38"/>
                        <a:pt x="22" y="33"/>
                        <a:pt x="22" y="23"/>
                      </a:cubicBezTo>
                      <a:cubicBezTo>
                        <a:pt x="22" y="13"/>
                        <a:pt x="20" y="8"/>
                        <a:pt x="16" y="8"/>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759" name="Freeform 400"/>
                <p:cNvSpPr>
                  <a:spLocks noEditPoints="1"/>
                </p:cNvSpPr>
                <p:nvPr/>
              </p:nvSpPr>
              <p:spPr bwMode="auto">
                <a:xfrm>
                  <a:off x="11254126" y="6334845"/>
                  <a:ext cx="50123" cy="72759"/>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8 h 45"/>
                    <a:gd name="T16" fmla="*/ 9 w 31"/>
                    <a:gd name="T17" fmla="*/ 23 h 45"/>
                    <a:gd name="T18" fmla="*/ 15 w 31"/>
                    <a:gd name="T19" fmla="*/ 38 h 45"/>
                    <a:gd name="T20" fmla="*/ 21 w 31"/>
                    <a:gd name="T21" fmla="*/ 23 h 45"/>
                    <a:gd name="T22" fmla="*/ 16 w 31"/>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8"/>
                        <a:pt x="31" y="22"/>
                      </a:cubicBezTo>
                      <a:cubicBezTo>
                        <a:pt x="31" y="30"/>
                        <a:pt x="30" y="35"/>
                        <a:pt x="27" y="39"/>
                      </a:cubicBezTo>
                      <a:cubicBezTo>
                        <a:pt x="24" y="43"/>
                        <a:pt x="20" y="45"/>
                        <a:pt x="15" y="45"/>
                      </a:cubicBezTo>
                      <a:close/>
                      <a:moveTo>
                        <a:pt x="16" y="8"/>
                      </a:moveTo>
                      <a:cubicBezTo>
                        <a:pt x="11" y="8"/>
                        <a:pt x="9" y="13"/>
                        <a:pt x="9" y="23"/>
                      </a:cubicBezTo>
                      <a:cubicBezTo>
                        <a:pt x="9" y="33"/>
                        <a:pt x="11" y="38"/>
                        <a:pt x="15" y="38"/>
                      </a:cubicBezTo>
                      <a:cubicBezTo>
                        <a:pt x="19" y="38"/>
                        <a:pt x="21" y="33"/>
                        <a:pt x="21" y="23"/>
                      </a:cubicBezTo>
                      <a:cubicBezTo>
                        <a:pt x="21" y="13"/>
                        <a:pt x="19" y="8"/>
                        <a:pt x="16" y="8"/>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grpSp>
          <p:grpSp>
            <p:nvGrpSpPr>
              <p:cNvPr id="46" name="Group 45"/>
              <p:cNvGrpSpPr/>
              <p:nvPr/>
            </p:nvGrpSpPr>
            <p:grpSpPr>
              <a:xfrm>
                <a:off x="11268654" y="5874852"/>
                <a:ext cx="469471" cy="272443"/>
                <a:chOff x="11254126" y="5843315"/>
                <a:chExt cx="469471" cy="272443"/>
              </a:xfrm>
            </p:grpSpPr>
            <p:sp>
              <p:nvSpPr>
                <p:cNvPr id="737" name="Freeform 378"/>
                <p:cNvSpPr>
                  <a:spLocks/>
                </p:cNvSpPr>
                <p:nvPr/>
              </p:nvSpPr>
              <p:spPr bwMode="auto">
                <a:xfrm>
                  <a:off x="11260593" y="5843315"/>
                  <a:ext cx="30721" cy="70334"/>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738" name="Freeform 379"/>
                <p:cNvSpPr>
                  <a:spLocks noEditPoints="1"/>
                </p:cNvSpPr>
                <p:nvPr/>
              </p:nvSpPr>
              <p:spPr bwMode="auto">
                <a:xfrm>
                  <a:off x="11310716" y="5843315"/>
                  <a:ext cx="51740" cy="71951"/>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743" name="Freeform 384"/>
                <p:cNvSpPr>
                  <a:spLocks noEditPoints="1"/>
                </p:cNvSpPr>
                <p:nvPr/>
              </p:nvSpPr>
              <p:spPr bwMode="auto">
                <a:xfrm>
                  <a:off x="11254126" y="5942753"/>
                  <a:ext cx="50123" cy="72759"/>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7 h 45"/>
                    <a:gd name="T16" fmla="*/ 9 w 31"/>
                    <a:gd name="T17" fmla="*/ 23 h 45"/>
                    <a:gd name="T18" fmla="*/ 15 w 31"/>
                    <a:gd name="T19" fmla="*/ 38 h 45"/>
                    <a:gd name="T20" fmla="*/ 21 w 31"/>
                    <a:gd name="T21" fmla="*/ 22 h 45"/>
                    <a:gd name="T22" fmla="*/ 16 w 31"/>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7"/>
                        <a:pt x="31" y="22"/>
                      </a:cubicBezTo>
                      <a:cubicBezTo>
                        <a:pt x="31" y="29"/>
                        <a:pt x="30" y="35"/>
                        <a:pt x="27" y="39"/>
                      </a:cubicBezTo>
                      <a:cubicBezTo>
                        <a:pt x="24" y="43"/>
                        <a:pt x="20" y="45"/>
                        <a:pt x="15" y="45"/>
                      </a:cubicBezTo>
                      <a:close/>
                      <a:moveTo>
                        <a:pt x="16" y="7"/>
                      </a:moveTo>
                      <a:cubicBezTo>
                        <a:pt x="11" y="7"/>
                        <a:pt x="9" y="12"/>
                        <a:pt x="9" y="23"/>
                      </a:cubicBezTo>
                      <a:cubicBezTo>
                        <a:pt x="9" y="33"/>
                        <a:pt x="11" y="38"/>
                        <a:pt x="15" y="38"/>
                      </a:cubicBezTo>
                      <a:cubicBezTo>
                        <a:pt x="19" y="38"/>
                        <a:pt x="21" y="33"/>
                        <a:pt x="21" y="22"/>
                      </a:cubicBezTo>
                      <a:cubicBezTo>
                        <a:pt x="21" y="12"/>
                        <a:pt x="19"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744" name="Freeform 385"/>
                <p:cNvSpPr>
                  <a:spLocks/>
                </p:cNvSpPr>
                <p:nvPr/>
              </p:nvSpPr>
              <p:spPr bwMode="auto">
                <a:xfrm>
                  <a:off x="11318801" y="5942753"/>
                  <a:ext cx="29104" cy="71142"/>
                </a:xfrm>
                <a:custGeom>
                  <a:avLst/>
                  <a:gdLst>
                    <a:gd name="T0" fmla="*/ 18 w 18"/>
                    <a:gd name="T1" fmla="*/ 0 h 44"/>
                    <a:gd name="T2" fmla="*/ 18 w 18"/>
                    <a:gd name="T3" fmla="*/ 44 h 44"/>
                    <a:gd name="T4" fmla="*/ 9 w 18"/>
                    <a:gd name="T5" fmla="*/ 44 h 44"/>
                    <a:gd name="T6" fmla="*/ 9 w 18"/>
                    <a:gd name="T7" fmla="*/ 11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1"/>
                        <a:pt x="9" y="11"/>
                        <a:pt x="9" y="11"/>
                      </a:cubicBezTo>
                      <a:cubicBezTo>
                        <a:pt x="8" y="11"/>
                        <a:pt x="8" y="11"/>
                        <a:pt x="7" y="12"/>
                      </a:cubicBezTo>
                      <a:cubicBezTo>
                        <a:pt x="6" y="12"/>
                        <a:pt x="6" y="13"/>
                        <a:pt x="5" y="13"/>
                      </a:cubicBezTo>
                      <a:cubicBezTo>
                        <a:pt x="4" y="13"/>
                        <a:pt x="3" y="14"/>
                        <a:pt x="2" y="14"/>
                      </a:cubicBezTo>
                      <a:cubicBezTo>
                        <a:pt x="1" y="14"/>
                        <a:pt x="0" y="14"/>
                        <a:pt x="0" y="14"/>
                      </a:cubicBezTo>
                      <a:cubicBezTo>
                        <a:pt x="0" y="6"/>
                        <a:pt x="0" y="6"/>
                        <a:pt x="0" y="6"/>
                      </a:cubicBezTo>
                      <a:cubicBezTo>
                        <a:pt x="2" y="6"/>
                        <a:pt x="4" y="5"/>
                        <a:pt x="7" y="3"/>
                      </a:cubicBezTo>
                      <a:cubicBezTo>
                        <a:pt x="9" y="2"/>
                        <a:pt x="11" y="1"/>
                        <a:pt x="13" y="0"/>
                      </a:cubicBezTo>
                      <a:lnTo>
                        <a:pt x="18"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746" name="Freeform 387"/>
                <p:cNvSpPr>
                  <a:spLocks/>
                </p:cNvSpPr>
                <p:nvPr/>
              </p:nvSpPr>
              <p:spPr bwMode="auto">
                <a:xfrm>
                  <a:off x="11692876" y="5931309"/>
                  <a:ext cx="30721" cy="71142"/>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6" y="12"/>
                        <a:pt x="6" y="13"/>
                        <a:pt x="5" y="13"/>
                      </a:cubicBezTo>
                      <a:cubicBezTo>
                        <a:pt x="4" y="13"/>
                        <a:pt x="3" y="13"/>
                        <a:pt x="2"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747" name="Freeform 388"/>
                <p:cNvSpPr>
                  <a:spLocks noEditPoints="1"/>
                </p:cNvSpPr>
                <p:nvPr/>
              </p:nvSpPr>
              <p:spPr bwMode="auto">
                <a:xfrm>
                  <a:off x="11431982" y="5843315"/>
                  <a:ext cx="51740" cy="71951"/>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748" name="Freeform 389"/>
                <p:cNvSpPr>
                  <a:spLocks noEditPoints="1"/>
                </p:cNvSpPr>
                <p:nvPr/>
              </p:nvSpPr>
              <p:spPr bwMode="auto">
                <a:xfrm>
                  <a:off x="11431982" y="5942753"/>
                  <a:ext cx="51740" cy="72759"/>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749" name="Freeform 390"/>
                <p:cNvSpPr>
                  <a:spLocks/>
                </p:cNvSpPr>
                <p:nvPr/>
              </p:nvSpPr>
              <p:spPr bwMode="auto">
                <a:xfrm>
                  <a:off x="11440066" y="6042999"/>
                  <a:ext cx="30721" cy="71142"/>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1"/>
                        <a:pt x="7" y="12"/>
                      </a:cubicBezTo>
                      <a:cubicBezTo>
                        <a:pt x="6" y="12"/>
                        <a:pt x="6" y="13"/>
                        <a:pt x="5" y="13"/>
                      </a:cubicBezTo>
                      <a:cubicBezTo>
                        <a:pt x="4" y="13"/>
                        <a:pt x="3" y="14"/>
                        <a:pt x="2" y="14"/>
                      </a:cubicBezTo>
                      <a:cubicBezTo>
                        <a:pt x="2" y="14"/>
                        <a:pt x="1" y="14"/>
                        <a:pt x="0" y="14"/>
                      </a:cubicBezTo>
                      <a:cubicBezTo>
                        <a:pt x="0" y="6"/>
                        <a:pt x="0" y="6"/>
                        <a:pt x="0" y="6"/>
                      </a:cubicBezTo>
                      <a:cubicBezTo>
                        <a:pt x="2" y="6"/>
                        <a:pt x="5" y="5"/>
                        <a:pt x="7" y="3"/>
                      </a:cubicBezTo>
                      <a:cubicBezTo>
                        <a:pt x="9" y="2"/>
                        <a:pt x="11"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750" name="Freeform 391"/>
                <p:cNvSpPr>
                  <a:spLocks/>
                </p:cNvSpPr>
                <p:nvPr/>
              </p:nvSpPr>
              <p:spPr bwMode="auto">
                <a:xfrm>
                  <a:off x="11260593" y="6042999"/>
                  <a:ext cx="30721" cy="71142"/>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6"/>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752" name="Freeform 393"/>
                <p:cNvSpPr>
                  <a:spLocks/>
                </p:cNvSpPr>
                <p:nvPr/>
              </p:nvSpPr>
              <p:spPr bwMode="auto">
                <a:xfrm>
                  <a:off x="11377008" y="5843315"/>
                  <a:ext cx="30721" cy="70334"/>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754" name="Freeform 395"/>
                <p:cNvSpPr>
                  <a:spLocks noEditPoints="1"/>
                </p:cNvSpPr>
                <p:nvPr/>
              </p:nvSpPr>
              <p:spPr bwMode="auto">
                <a:xfrm>
                  <a:off x="11370541" y="5942753"/>
                  <a:ext cx="51740" cy="72759"/>
                </a:xfrm>
                <a:custGeom>
                  <a:avLst/>
                  <a:gdLst>
                    <a:gd name="T0" fmla="*/ 16 w 32"/>
                    <a:gd name="T1" fmla="*/ 45 h 45"/>
                    <a:gd name="T2" fmla="*/ 0 w 32"/>
                    <a:gd name="T3" fmla="*/ 23 h 45"/>
                    <a:gd name="T4" fmla="*/ 4 w 32"/>
                    <a:gd name="T5" fmla="*/ 6 h 45"/>
                    <a:gd name="T6" fmla="*/ 16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6"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760" name="Freeform 401"/>
                <p:cNvSpPr>
                  <a:spLocks/>
                </p:cNvSpPr>
                <p:nvPr/>
              </p:nvSpPr>
              <p:spPr bwMode="auto">
                <a:xfrm>
                  <a:off x="11377008" y="6042999"/>
                  <a:ext cx="30721" cy="71142"/>
                </a:xfrm>
                <a:custGeom>
                  <a:avLst/>
                  <a:gdLst>
                    <a:gd name="T0" fmla="*/ 19 w 19"/>
                    <a:gd name="T1" fmla="*/ 0 h 44"/>
                    <a:gd name="T2" fmla="*/ 19 w 19"/>
                    <a:gd name="T3" fmla="*/ 44 h 44"/>
                    <a:gd name="T4" fmla="*/ 10 w 19"/>
                    <a:gd name="T5" fmla="*/ 44 h 44"/>
                    <a:gd name="T6" fmla="*/ 10 w 19"/>
                    <a:gd name="T7" fmla="*/ 11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1"/>
                        <a:pt x="10" y="11"/>
                        <a:pt x="10" y="11"/>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6"/>
                        <a:pt x="5" y="5"/>
                        <a:pt x="8" y="3"/>
                      </a:cubicBezTo>
                      <a:cubicBezTo>
                        <a:pt x="10" y="2"/>
                        <a:pt x="12"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sp>
              <p:nvSpPr>
                <p:cNvPr id="761" name="Freeform 402"/>
                <p:cNvSpPr>
                  <a:spLocks noEditPoints="1"/>
                </p:cNvSpPr>
                <p:nvPr/>
              </p:nvSpPr>
              <p:spPr bwMode="auto">
                <a:xfrm>
                  <a:off x="11310716" y="6042999"/>
                  <a:ext cx="51740" cy="72759"/>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3"/>
                        <a:pt x="10" y="23"/>
                      </a:cubicBezTo>
                      <a:cubicBezTo>
                        <a:pt x="10" y="33"/>
                        <a:pt x="12" y="38"/>
                        <a:pt x="16" y="38"/>
                      </a:cubicBezTo>
                      <a:cubicBezTo>
                        <a:pt x="20" y="38"/>
                        <a:pt x="22" y="33"/>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88105"/>
                  <a:endParaRPr lang="en-US" sz="2200" dirty="0">
                    <a:solidFill>
                      <a:srgbClr val="505050"/>
                    </a:solidFill>
                  </a:endParaRPr>
                </a:p>
              </p:txBody>
            </p:sp>
          </p:grpSp>
        </p:grpSp>
      </p:gr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589" y="1"/>
            <a:ext cx="2187575" cy="804685"/>
          </a:xfrm>
          <a:prstGeom prst="rect">
            <a:avLst/>
          </a:prstGeom>
        </p:spPr>
      </p:pic>
      <p:sp>
        <p:nvSpPr>
          <p:cNvPr id="4" name="TextBox 3"/>
          <p:cNvSpPr txBox="1"/>
          <p:nvPr/>
        </p:nvSpPr>
        <p:spPr>
          <a:xfrm>
            <a:off x="224343" y="4116367"/>
            <a:ext cx="6171695" cy="2293232"/>
          </a:xfrm>
          <a:prstGeom prst="rect">
            <a:avLst/>
          </a:prstGeom>
        </p:spPr>
        <p:txBody>
          <a:bodyPr vert="horz" wrap="square" lIns="91440" tIns="91440" rIns="91440" bIns="91440" rtlCol="0" anchor="t">
            <a:noAutofit/>
          </a:bodyPr>
          <a:lstStyle/>
          <a:p>
            <a:pPr algn="ctr" defTabSz="914325">
              <a:spcBef>
                <a:spcPts val="1200"/>
              </a:spcBef>
              <a:defRPr/>
            </a:pPr>
            <a:r>
              <a:rPr lang="en-US" sz="2800" b="1" dirty="0">
                <a:solidFill>
                  <a:srgbClr val="0072C6"/>
                </a:solidFill>
                <a:latin typeface="Segoe UI Light"/>
              </a:rPr>
              <a:t>Maximizing Customer Value and Retention through Customer Analytics</a:t>
            </a:r>
          </a:p>
          <a:p>
            <a:pPr algn="ctr" defTabSz="914325">
              <a:spcBef>
                <a:spcPts val="1200"/>
              </a:spcBef>
              <a:defRPr/>
            </a:pPr>
            <a:endParaRPr lang="en-US" sz="500" b="1" spc="-100" dirty="0">
              <a:ln w="3175">
                <a:noFill/>
              </a:ln>
              <a:solidFill>
                <a:srgbClr val="0072C6"/>
              </a:solidFill>
              <a:latin typeface="Segoe UI Light"/>
            </a:endParaRPr>
          </a:p>
          <a:p>
            <a:pPr algn="ctr" defTabSz="914325">
              <a:spcBef>
                <a:spcPts val="1200"/>
              </a:spcBef>
              <a:defRPr/>
            </a:pPr>
            <a:r>
              <a:rPr lang="en-US" sz="2000" b="1" spc="-100" dirty="0">
                <a:ln w="3175">
                  <a:noFill/>
                </a:ln>
                <a:solidFill>
                  <a:srgbClr val="0072C6"/>
                </a:solidFill>
                <a:latin typeface="Segoe UI Light"/>
              </a:rPr>
              <a:t>Microsoft Azure </a:t>
            </a:r>
            <a:r>
              <a:rPr lang="en-US" sz="2000" b="1" spc="-100" dirty="0" err="1">
                <a:ln w="3175">
                  <a:noFill/>
                </a:ln>
                <a:solidFill>
                  <a:srgbClr val="0072C6"/>
                </a:solidFill>
                <a:latin typeface="Segoe UI Light"/>
              </a:rPr>
              <a:t>HiPo</a:t>
            </a:r>
            <a:r>
              <a:rPr lang="en-US" sz="2000" b="1" spc="-100" dirty="0">
                <a:ln w="3175">
                  <a:noFill/>
                </a:ln>
                <a:solidFill>
                  <a:srgbClr val="0072C6"/>
                </a:solidFill>
                <a:latin typeface="Segoe UI Light"/>
              </a:rPr>
              <a:t> Team</a:t>
            </a:r>
          </a:p>
          <a:p>
            <a:pPr algn="ctr" defTabSz="914325">
              <a:spcBef>
                <a:spcPts val="1200"/>
              </a:spcBef>
              <a:defRPr/>
            </a:pPr>
            <a:r>
              <a:rPr lang="en-US" sz="2000" b="1" spc="-100" dirty="0">
                <a:ln w="3175">
                  <a:noFill/>
                </a:ln>
                <a:solidFill>
                  <a:srgbClr val="0072C6"/>
                </a:solidFill>
                <a:latin typeface="Segoe UI Light"/>
              </a:rPr>
              <a:t>Solution Blueprint Technical Overview</a:t>
            </a:r>
            <a:endParaRPr lang="en-US" sz="1100" b="1" spc="-100" dirty="0">
              <a:ln w="3175">
                <a:noFill/>
              </a:ln>
              <a:solidFill>
                <a:srgbClr val="0072C6"/>
              </a:solidFill>
              <a:latin typeface="Segoe UI Light"/>
            </a:endParaRPr>
          </a:p>
          <a:p>
            <a:pPr algn="ctr"/>
            <a:endParaRPr lang="en-US" sz="2800" b="1" dirty="0" err="1">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96086496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bwMode="auto">
          <a:xfrm>
            <a:off x="0" y="487"/>
            <a:ext cx="12192000" cy="6934130"/>
          </a:xfrm>
          <a:prstGeom prst="rect">
            <a:avLst/>
          </a:prstGeom>
          <a:solidFill>
            <a:srgbClr val="032E4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pPr>
            <a:endParaRPr lang="en-US" sz="1961" dirty="0">
              <a:gradFill>
                <a:gsLst>
                  <a:gs pos="16814">
                    <a:srgbClr val="FFFFFF"/>
                  </a:gs>
                  <a:gs pos="46000">
                    <a:srgbClr val="FFFFFF"/>
                  </a:gs>
                </a:gsLst>
                <a:lin ang="5400000" scaled="0"/>
              </a:gradFill>
            </a:endParaRPr>
          </a:p>
        </p:txBody>
      </p:sp>
      <p:sp>
        <p:nvSpPr>
          <p:cNvPr id="78" name="Rectangle 77"/>
          <p:cNvSpPr/>
          <p:nvPr/>
        </p:nvSpPr>
        <p:spPr bwMode="auto">
          <a:xfrm>
            <a:off x="124771" y="91137"/>
            <a:ext cx="11877497" cy="4377531"/>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372" b="1" kern="0" dirty="0">
                <a:solidFill>
                  <a:srgbClr val="FFFF00"/>
                </a:solidFill>
                <a:ea typeface="Segoe UI" pitchFamily="34" charset="0"/>
                <a:cs typeface="Segoe UI" pitchFamily="34" charset="0"/>
              </a:rPr>
              <a:t>Platform Services</a:t>
            </a:r>
          </a:p>
        </p:txBody>
      </p:sp>
      <p:sp>
        <p:nvSpPr>
          <p:cNvPr id="87" name="Rectangle 86"/>
          <p:cNvSpPr/>
          <p:nvPr/>
        </p:nvSpPr>
        <p:spPr bwMode="auto">
          <a:xfrm>
            <a:off x="0" y="4468669"/>
            <a:ext cx="12192000" cy="2404834"/>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89642" rIns="175761" bIns="140609" numCol="1" spcCol="0" rtlCol="0" fromWordArt="0" anchor="t" anchorCtr="0" forceAA="0" compatLnSpc="1">
            <a:prstTxWarp prst="textNoShape">
              <a:avLst/>
            </a:prstTxWarp>
            <a:noAutofit/>
          </a:bodyPr>
          <a:lstStyle/>
          <a:p>
            <a:pPr algn="ctr" defTabSz="895923" fontAlgn="base">
              <a:lnSpc>
                <a:spcPct val="90000"/>
              </a:lnSpc>
            </a:pPr>
            <a:r>
              <a:rPr lang="en-US" sz="1372" b="1" kern="0" dirty="0">
                <a:solidFill>
                  <a:srgbClr val="FFFF00"/>
                </a:solidFill>
                <a:ea typeface="Segoe UI" pitchFamily="34" charset="0"/>
                <a:cs typeface="Segoe UI" pitchFamily="34" charset="0"/>
              </a:rPr>
              <a:t>Infrastructure Services</a:t>
            </a:r>
          </a:p>
        </p:txBody>
      </p:sp>
      <p:sp>
        <p:nvSpPr>
          <p:cNvPr id="31" name="Rectangle 30"/>
          <p:cNvSpPr/>
          <p:nvPr/>
        </p:nvSpPr>
        <p:spPr bwMode="auto">
          <a:xfrm>
            <a:off x="124771" y="4834576"/>
            <a:ext cx="2577487" cy="773876"/>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OS/Server Compute</a:t>
            </a:r>
          </a:p>
        </p:txBody>
      </p:sp>
      <p:sp>
        <p:nvSpPr>
          <p:cNvPr id="32" name="Rectangle 31"/>
          <p:cNvSpPr/>
          <p:nvPr/>
        </p:nvSpPr>
        <p:spPr bwMode="auto">
          <a:xfrm>
            <a:off x="2879912" y="4834576"/>
            <a:ext cx="2835269" cy="77427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Storage</a:t>
            </a:r>
          </a:p>
        </p:txBody>
      </p:sp>
      <p:sp>
        <p:nvSpPr>
          <p:cNvPr id="56" name="Rectangle 55"/>
          <p:cNvSpPr/>
          <p:nvPr/>
        </p:nvSpPr>
        <p:spPr bwMode="auto">
          <a:xfrm>
            <a:off x="-140398" y="5735057"/>
            <a:ext cx="12393406" cy="1075843"/>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89642" rIns="175761" bIns="140609" numCol="1" spcCol="0" rtlCol="0" fromWordArt="0" anchor="t" anchorCtr="0" forceAA="0" compatLnSpc="1">
            <a:prstTxWarp prst="textNoShape">
              <a:avLst/>
            </a:prstTxWarp>
            <a:noAutofit/>
          </a:bodyPr>
          <a:lstStyle/>
          <a:p>
            <a:pPr algn="ctr" defTabSz="895923" fontAlgn="base">
              <a:lnSpc>
                <a:spcPct val="90000"/>
              </a:lnSpc>
            </a:pPr>
            <a:r>
              <a:rPr lang="en-US" sz="1372" b="1" kern="0" dirty="0">
                <a:gradFill>
                  <a:gsLst>
                    <a:gs pos="0">
                      <a:srgbClr val="FFFFFF"/>
                    </a:gs>
                    <a:gs pos="100000">
                      <a:srgbClr val="FFFFFF"/>
                    </a:gs>
                  </a:gsLst>
                  <a:lin ang="5400000" scaled="0"/>
                </a:gradFill>
                <a:ea typeface="Segoe UI" pitchFamily="34" charset="0"/>
                <a:cs typeface="Segoe UI" pitchFamily="34" charset="0"/>
              </a:rPr>
              <a:t>Datacenter Infrastructure (24 Regions, 22 Online)</a:t>
            </a:r>
          </a:p>
        </p:txBody>
      </p:sp>
      <p:grpSp>
        <p:nvGrpSpPr>
          <p:cNvPr id="5" name="Group 4"/>
          <p:cNvGrpSpPr/>
          <p:nvPr/>
        </p:nvGrpSpPr>
        <p:grpSpPr>
          <a:xfrm>
            <a:off x="-246426" y="6169666"/>
            <a:ext cx="12602556" cy="764951"/>
            <a:chOff x="-224921" y="6392494"/>
            <a:chExt cx="12855263" cy="780290"/>
          </a:xfrm>
        </p:grpSpPr>
        <p:pic>
          <p:nvPicPr>
            <p:cNvPr id="3" name="Picture 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385697" y="6392494"/>
              <a:ext cx="780290" cy="780290"/>
            </a:xfrm>
            <a:prstGeom prst="rect">
              <a:avLst/>
            </a:prstGeom>
          </p:spPr>
        </p:pic>
        <p:pic>
          <p:nvPicPr>
            <p:cNvPr id="45" name="Picture 4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191006" y="6392494"/>
              <a:ext cx="780290" cy="780290"/>
            </a:xfrm>
            <a:prstGeom prst="rect">
              <a:avLst/>
            </a:prstGeom>
          </p:spPr>
        </p:pic>
        <p:pic>
          <p:nvPicPr>
            <p:cNvPr id="46" name="Picture 45"/>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996315" y="6392494"/>
              <a:ext cx="780290" cy="780290"/>
            </a:xfrm>
            <a:prstGeom prst="rect">
              <a:avLst/>
            </a:prstGeom>
          </p:spPr>
        </p:pic>
        <p:pic>
          <p:nvPicPr>
            <p:cNvPr id="47" name="Picture 4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3796962" y="6392494"/>
              <a:ext cx="780290" cy="780290"/>
            </a:xfrm>
            <a:prstGeom prst="rect">
              <a:avLst/>
            </a:prstGeom>
          </p:spPr>
        </p:pic>
        <p:pic>
          <p:nvPicPr>
            <p:cNvPr id="48" name="Picture 4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4602271" y="6392494"/>
              <a:ext cx="780290" cy="780290"/>
            </a:xfrm>
            <a:prstGeom prst="rect">
              <a:avLst/>
            </a:prstGeom>
          </p:spPr>
        </p:pic>
        <p:pic>
          <p:nvPicPr>
            <p:cNvPr id="49" name="Picture 4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407580" y="6392494"/>
              <a:ext cx="780290" cy="780290"/>
            </a:xfrm>
            <a:prstGeom prst="rect">
              <a:avLst/>
            </a:prstGeom>
          </p:spPr>
        </p:pic>
        <p:pic>
          <p:nvPicPr>
            <p:cNvPr id="50" name="Picture 4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212889" y="6392494"/>
              <a:ext cx="780290" cy="780290"/>
            </a:xfrm>
            <a:prstGeom prst="rect">
              <a:avLst/>
            </a:prstGeom>
          </p:spPr>
        </p:pic>
        <p:pic>
          <p:nvPicPr>
            <p:cNvPr id="51" name="Picture 50"/>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018198" y="6392494"/>
              <a:ext cx="780290" cy="780290"/>
            </a:xfrm>
            <a:prstGeom prst="rect">
              <a:avLst/>
            </a:prstGeom>
          </p:spPr>
        </p:pic>
        <p:pic>
          <p:nvPicPr>
            <p:cNvPr id="52" name="Picture 51"/>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823507" y="6392494"/>
              <a:ext cx="780290" cy="780290"/>
            </a:xfrm>
            <a:prstGeom prst="rect">
              <a:avLst/>
            </a:prstGeom>
          </p:spPr>
        </p:pic>
        <p:pic>
          <p:nvPicPr>
            <p:cNvPr id="53" name="Picture 5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8628816" y="6392494"/>
              <a:ext cx="780290" cy="780290"/>
            </a:xfrm>
            <a:prstGeom prst="rect">
              <a:avLst/>
            </a:prstGeom>
          </p:spPr>
        </p:pic>
        <p:pic>
          <p:nvPicPr>
            <p:cNvPr id="54" name="Picture 5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434125" y="6392494"/>
              <a:ext cx="780290" cy="780290"/>
            </a:xfrm>
            <a:prstGeom prst="rect">
              <a:avLst/>
            </a:prstGeom>
          </p:spPr>
        </p:pic>
        <p:pic>
          <p:nvPicPr>
            <p:cNvPr id="55" name="Picture 5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39434" y="6392494"/>
              <a:ext cx="780290" cy="780290"/>
            </a:xfrm>
            <a:prstGeom prst="rect">
              <a:avLst/>
            </a:prstGeom>
          </p:spPr>
        </p:pic>
        <p:pic>
          <p:nvPicPr>
            <p:cNvPr id="57" name="Picture 5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044743" y="6392494"/>
              <a:ext cx="780290" cy="780290"/>
            </a:xfrm>
            <a:prstGeom prst="rect">
              <a:avLst/>
            </a:prstGeom>
          </p:spPr>
        </p:pic>
        <p:pic>
          <p:nvPicPr>
            <p:cNvPr id="58" name="Picture 5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850052" y="6392494"/>
              <a:ext cx="780290" cy="780290"/>
            </a:xfrm>
            <a:prstGeom prst="rect">
              <a:avLst/>
            </a:prstGeom>
          </p:spPr>
        </p:pic>
        <p:pic>
          <p:nvPicPr>
            <p:cNvPr id="59" name="Picture 5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24921" y="6392494"/>
              <a:ext cx="780290" cy="780290"/>
            </a:xfrm>
            <a:prstGeom prst="rect">
              <a:avLst/>
            </a:prstGeom>
          </p:spPr>
        </p:pic>
        <p:pic>
          <p:nvPicPr>
            <p:cNvPr id="60" name="Picture 5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80388" y="6392494"/>
              <a:ext cx="780290" cy="780290"/>
            </a:xfrm>
            <a:prstGeom prst="rect">
              <a:avLst/>
            </a:prstGeom>
          </p:spPr>
        </p:pic>
      </p:grpSp>
      <p:grpSp>
        <p:nvGrpSpPr>
          <p:cNvPr id="143" name="Group 142"/>
          <p:cNvGrpSpPr/>
          <p:nvPr/>
        </p:nvGrpSpPr>
        <p:grpSpPr>
          <a:xfrm>
            <a:off x="4153278" y="531051"/>
            <a:ext cx="2331684" cy="2323460"/>
            <a:chOff x="5259761" y="1539578"/>
            <a:chExt cx="2378439" cy="2370050"/>
          </a:xfrm>
        </p:grpSpPr>
        <p:sp>
          <p:nvSpPr>
            <p:cNvPr id="41" name="Rectangle 40"/>
            <p:cNvSpPr/>
            <p:nvPr/>
          </p:nvSpPr>
          <p:spPr bwMode="auto">
            <a:xfrm>
              <a:off x="5259761" y="1539578"/>
              <a:ext cx="2378439" cy="237005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Web and Mobile</a:t>
              </a:r>
            </a:p>
          </p:txBody>
        </p:sp>
        <p:grpSp>
          <p:nvGrpSpPr>
            <p:cNvPr id="137" name="Group 136"/>
            <p:cNvGrpSpPr/>
            <p:nvPr/>
          </p:nvGrpSpPr>
          <p:grpSpPr>
            <a:xfrm>
              <a:off x="5446969" y="2007908"/>
              <a:ext cx="1008542" cy="316971"/>
              <a:chOff x="5446969" y="2007908"/>
              <a:chExt cx="1008542" cy="316971"/>
            </a:xfrm>
          </p:grpSpPr>
          <p:sp>
            <p:nvSpPr>
              <p:cNvPr id="151" name="TextBox 150"/>
              <p:cNvSpPr txBox="1"/>
              <p:nvPr/>
            </p:nvSpPr>
            <p:spPr>
              <a:xfrm>
                <a:off x="5796355" y="2023773"/>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eb Apps</a:t>
                </a:r>
              </a:p>
              <a:p>
                <a:pPr defTabSz="913950" eaLnBrk="0" fontAlgn="base" hangingPunct="0">
                  <a:lnSpc>
                    <a:spcPts val="800"/>
                  </a:lnSpc>
                  <a:spcBef>
                    <a:spcPct val="0"/>
                  </a:spcBef>
                  <a:spcAft>
                    <a:spcPct val="0"/>
                  </a:spcAft>
                </a:pP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52" name="Picture 15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446969" y="2007908"/>
                <a:ext cx="286784" cy="286785"/>
              </a:xfrm>
              <a:prstGeom prst="rect">
                <a:avLst/>
              </a:prstGeom>
            </p:spPr>
          </p:pic>
        </p:grpSp>
        <p:grpSp>
          <p:nvGrpSpPr>
            <p:cNvPr id="138" name="Group 137"/>
            <p:cNvGrpSpPr/>
            <p:nvPr/>
          </p:nvGrpSpPr>
          <p:grpSpPr>
            <a:xfrm>
              <a:off x="5414050" y="2639356"/>
              <a:ext cx="1016034" cy="291093"/>
              <a:chOff x="5414050" y="2639356"/>
              <a:chExt cx="1016034" cy="291093"/>
            </a:xfrm>
          </p:grpSpPr>
          <p:sp>
            <p:nvSpPr>
              <p:cNvPr id="153" name="TextBox 152"/>
              <p:cNvSpPr txBox="1"/>
              <p:nvPr/>
            </p:nvSpPr>
            <p:spPr>
              <a:xfrm>
                <a:off x="5770928" y="2665660"/>
                <a:ext cx="659156" cy="26163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5414050" y="2639356"/>
                <a:ext cx="291092" cy="291093"/>
              </a:xfrm>
              <a:prstGeom prst="rect">
                <a:avLst/>
              </a:prstGeom>
            </p:spPr>
          </p:pic>
        </p:grpSp>
        <p:grpSp>
          <p:nvGrpSpPr>
            <p:cNvPr id="141" name="Group 140"/>
            <p:cNvGrpSpPr/>
            <p:nvPr/>
          </p:nvGrpSpPr>
          <p:grpSpPr>
            <a:xfrm>
              <a:off x="5399198" y="3283698"/>
              <a:ext cx="1007917" cy="339779"/>
              <a:chOff x="5399198" y="3283698"/>
              <a:chExt cx="1007917" cy="339779"/>
            </a:xfrm>
          </p:grpSpPr>
          <p:sp>
            <p:nvSpPr>
              <p:cNvPr id="155" name="TextBox 154"/>
              <p:cNvSpPr txBox="1"/>
              <p:nvPr/>
            </p:nvSpPr>
            <p:spPr>
              <a:xfrm>
                <a:off x="5747959" y="3322371"/>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156" name="Picture 155"/>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5399198" y="3283698"/>
                <a:ext cx="291545" cy="291546"/>
              </a:xfrm>
              <a:prstGeom prst="rect">
                <a:avLst/>
              </a:prstGeom>
            </p:spPr>
          </p:pic>
        </p:grpSp>
        <p:grpSp>
          <p:nvGrpSpPr>
            <p:cNvPr id="139" name="Group 138"/>
            <p:cNvGrpSpPr/>
            <p:nvPr/>
          </p:nvGrpSpPr>
          <p:grpSpPr>
            <a:xfrm>
              <a:off x="6529080" y="2014604"/>
              <a:ext cx="1018326" cy="294805"/>
              <a:chOff x="6529080" y="2014604"/>
              <a:chExt cx="1018326" cy="294805"/>
            </a:xfrm>
          </p:grpSpPr>
          <p:sp>
            <p:nvSpPr>
              <p:cNvPr id="157" name="TextBox 156"/>
              <p:cNvSpPr txBox="1"/>
              <p:nvPr/>
            </p:nvSpPr>
            <p:spPr>
              <a:xfrm>
                <a:off x="6888250" y="2034330"/>
                <a:ext cx="659156" cy="256602"/>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 Apps</a:t>
                </a:r>
              </a:p>
            </p:txBody>
          </p:sp>
          <p:pic>
            <p:nvPicPr>
              <p:cNvPr id="158" name="Picture 157"/>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529080" y="2014604"/>
                <a:ext cx="294804" cy="294805"/>
              </a:xfrm>
              <a:prstGeom prst="rect">
                <a:avLst/>
              </a:prstGeom>
            </p:spPr>
          </p:pic>
        </p:grpSp>
        <p:grpSp>
          <p:nvGrpSpPr>
            <p:cNvPr id="140" name="Group 139"/>
            <p:cNvGrpSpPr/>
            <p:nvPr/>
          </p:nvGrpSpPr>
          <p:grpSpPr>
            <a:xfrm>
              <a:off x="6521410" y="2663908"/>
              <a:ext cx="1008542" cy="308500"/>
              <a:chOff x="6521410" y="2663908"/>
              <a:chExt cx="1008542" cy="308500"/>
            </a:xfrm>
          </p:grpSpPr>
          <p:sp>
            <p:nvSpPr>
              <p:cNvPr id="159" name="TextBox 158"/>
              <p:cNvSpPr txBox="1"/>
              <p:nvPr/>
            </p:nvSpPr>
            <p:spPr>
              <a:xfrm>
                <a:off x="6870796" y="2671302"/>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ogic Apps</a:t>
                </a:r>
              </a:p>
            </p:txBody>
          </p:sp>
          <p:pic>
            <p:nvPicPr>
              <p:cNvPr id="160" name="Picture 159"/>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6521410" y="2663908"/>
                <a:ext cx="292423" cy="292423"/>
              </a:xfrm>
              <a:prstGeom prst="rect">
                <a:avLst/>
              </a:prstGeom>
            </p:spPr>
          </p:pic>
        </p:grpSp>
        <p:grpSp>
          <p:nvGrpSpPr>
            <p:cNvPr id="142" name="Group 141"/>
            <p:cNvGrpSpPr/>
            <p:nvPr/>
          </p:nvGrpSpPr>
          <p:grpSpPr>
            <a:xfrm>
              <a:off x="6549176" y="3327450"/>
              <a:ext cx="1003560" cy="328116"/>
              <a:chOff x="6549176" y="3327450"/>
              <a:chExt cx="1003560" cy="328116"/>
            </a:xfrm>
          </p:grpSpPr>
          <p:sp>
            <p:nvSpPr>
              <p:cNvPr id="161" name="TextBox 160"/>
              <p:cNvSpPr txBox="1"/>
              <p:nvPr/>
            </p:nvSpPr>
            <p:spPr>
              <a:xfrm>
                <a:off x="6893580" y="3354460"/>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Notification </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6549176" y="3327450"/>
                <a:ext cx="289263" cy="289263"/>
              </a:xfrm>
              <a:prstGeom prst="rect">
                <a:avLst/>
              </a:prstGeom>
            </p:spPr>
          </p:pic>
        </p:grpSp>
      </p:grpSp>
      <p:grpSp>
        <p:nvGrpSpPr>
          <p:cNvPr id="395" name="Group 394"/>
          <p:cNvGrpSpPr/>
          <p:nvPr/>
        </p:nvGrpSpPr>
        <p:grpSpPr>
          <a:xfrm>
            <a:off x="1975470" y="3533308"/>
            <a:ext cx="2049933" cy="823962"/>
            <a:chOff x="2392678" y="3336393"/>
            <a:chExt cx="2091038" cy="840484"/>
          </a:xfrm>
        </p:grpSpPr>
        <p:sp>
          <p:nvSpPr>
            <p:cNvPr id="38" name="Rectangle 37"/>
            <p:cNvSpPr/>
            <p:nvPr/>
          </p:nvSpPr>
          <p:spPr bwMode="auto">
            <a:xfrm>
              <a:off x="2392678" y="3336393"/>
              <a:ext cx="2091038" cy="84048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140609" rIns="89642"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Media &amp; CDN</a:t>
              </a:r>
            </a:p>
          </p:txBody>
        </p:sp>
        <p:grpSp>
          <p:nvGrpSpPr>
            <p:cNvPr id="343" name="Group 342"/>
            <p:cNvGrpSpPr/>
            <p:nvPr/>
          </p:nvGrpSpPr>
          <p:grpSpPr>
            <a:xfrm>
              <a:off x="3310370" y="3744970"/>
              <a:ext cx="1046674" cy="309905"/>
              <a:chOff x="3485028" y="3744970"/>
              <a:chExt cx="1046674" cy="309905"/>
            </a:xfrm>
          </p:grpSpPr>
          <p:sp>
            <p:nvSpPr>
              <p:cNvPr id="163" name="TextBox 162"/>
              <p:cNvSpPr txBox="1"/>
              <p:nvPr/>
            </p:nvSpPr>
            <p:spPr>
              <a:xfrm>
                <a:off x="3872546" y="3744970"/>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84" dirty="0">
                    <a:solidFill>
                      <a:schemeClr val="bg1"/>
                    </a:solidFill>
                    <a:latin typeface="Segoe UI Light" panose="020B0502040204020203" pitchFamily="34" charset="0"/>
                    <a:ea typeface="Arial Unicode MS" panose="020B0604020202020204" pitchFamily="34" charset="-128"/>
                    <a:cs typeface="Segoe UI Light" panose="020B0502040204020203" pitchFamily="34" charset="0"/>
                  </a:rPr>
                  <a:t>Content </a:t>
                </a:r>
                <a:br>
                  <a:rPr lang="en-US" sz="784" dirty="0">
                    <a:solidFill>
                      <a:schemeClr val="bg1"/>
                    </a:solidFill>
                    <a:latin typeface="Segoe UI Light" panose="020B0502040204020203" pitchFamily="34" charset="0"/>
                    <a:ea typeface="Arial Unicode MS" panose="020B0604020202020204" pitchFamily="34" charset="-128"/>
                    <a:cs typeface="Segoe UI Light" panose="020B0502040204020203" pitchFamily="34" charset="0"/>
                  </a:rPr>
                </a:br>
                <a:r>
                  <a:rPr lang="en-US" sz="784" dirty="0">
                    <a:solidFill>
                      <a:schemeClr val="bg1"/>
                    </a:solidFill>
                    <a:latin typeface="Segoe UI Light" panose="020B0502040204020203" pitchFamily="34" charset="0"/>
                    <a:ea typeface="Arial Unicode MS" panose="020B0604020202020204" pitchFamily="34" charset="-128"/>
                    <a:cs typeface="Segoe UI Light" panose="020B0502040204020203" pitchFamily="34" charset="0"/>
                  </a:rPr>
                  <a:t>Delivery</a:t>
                </a:r>
              </a:p>
              <a:p>
                <a:pPr defTabSz="913950" eaLnBrk="0" fontAlgn="base" hangingPunct="0">
                  <a:lnSpc>
                    <a:spcPts val="800"/>
                  </a:lnSpc>
                  <a:spcBef>
                    <a:spcPct val="0"/>
                  </a:spcBef>
                  <a:spcAft>
                    <a:spcPct val="0"/>
                  </a:spcAft>
                </a:pPr>
                <a:r>
                  <a:rPr lang="en-US" sz="784" dirty="0">
                    <a:solidFill>
                      <a:schemeClr val="bg1"/>
                    </a:solidFill>
                    <a:latin typeface="Segoe UI Light" panose="020B0502040204020203" pitchFamily="34" charset="0"/>
                    <a:ea typeface="Arial Unicode MS" panose="020B0604020202020204" pitchFamily="34" charset="-128"/>
                    <a:cs typeface="Segoe UI Light" panose="020B0502040204020203" pitchFamily="34" charset="0"/>
                  </a:rPr>
                  <a:t>Network (CDN)</a:t>
                </a:r>
              </a:p>
            </p:txBody>
          </p:sp>
          <p:pic>
            <p:nvPicPr>
              <p:cNvPr id="164" name="Picture 163" descr="Content Delivery Network (CDN).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3485028" y="3758708"/>
                <a:ext cx="296167" cy="296167"/>
              </a:xfrm>
              <a:prstGeom prst="rect">
                <a:avLst/>
              </a:prstGeom>
            </p:spPr>
          </p:pic>
        </p:grpSp>
        <p:grpSp>
          <p:nvGrpSpPr>
            <p:cNvPr id="342" name="Group 341"/>
            <p:cNvGrpSpPr/>
            <p:nvPr/>
          </p:nvGrpSpPr>
          <p:grpSpPr>
            <a:xfrm>
              <a:off x="2501312" y="3748786"/>
              <a:ext cx="997180" cy="301105"/>
              <a:chOff x="2850632" y="3748786"/>
              <a:chExt cx="997180" cy="301105"/>
            </a:xfrm>
          </p:grpSpPr>
          <p:sp>
            <p:nvSpPr>
              <p:cNvPr id="165" name="TextBox 164"/>
              <p:cNvSpPr txBox="1"/>
              <p:nvPr/>
            </p:nvSpPr>
            <p:spPr>
              <a:xfrm>
                <a:off x="3188656" y="3748786"/>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edia </a:t>
                </a:r>
                <a:b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66" name="Picture 165" descr="Media Services.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2850632" y="3758615"/>
                <a:ext cx="282134" cy="282134"/>
              </a:xfrm>
              <a:prstGeom prst="rect">
                <a:avLst/>
              </a:prstGeom>
            </p:spPr>
          </p:pic>
        </p:grpSp>
      </p:grpSp>
      <p:grpSp>
        <p:nvGrpSpPr>
          <p:cNvPr id="380" name="Group 379"/>
          <p:cNvGrpSpPr/>
          <p:nvPr/>
        </p:nvGrpSpPr>
        <p:grpSpPr>
          <a:xfrm>
            <a:off x="1958629" y="2071811"/>
            <a:ext cx="2145693" cy="1324462"/>
            <a:chOff x="3326868" y="2362886"/>
            <a:chExt cx="2188719" cy="1351020"/>
          </a:xfrm>
        </p:grpSpPr>
        <p:sp>
          <p:nvSpPr>
            <p:cNvPr id="40" name="Rectangle 39"/>
            <p:cNvSpPr/>
            <p:nvPr/>
          </p:nvSpPr>
          <p:spPr bwMode="auto">
            <a:xfrm>
              <a:off x="3326868" y="2362886"/>
              <a:ext cx="2108217" cy="135102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Integration</a:t>
              </a:r>
            </a:p>
          </p:txBody>
        </p:sp>
        <p:grpSp>
          <p:nvGrpSpPr>
            <p:cNvPr id="377" name="Group 376"/>
            <p:cNvGrpSpPr/>
            <p:nvPr/>
          </p:nvGrpSpPr>
          <p:grpSpPr>
            <a:xfrm>
              <a:off x="4508812" y="2773724"/>
              <a:ext cx="1005586" cy="311924"/>
              <a:chOff x="4508812" y="2773724"/>
              <a:chExt cx="1005586" cy="311924"/>
            </a:xfrm>
          </p:grpSpPr>
          <p:sp>
            <p:nvSpPr>
              <p:cNvPr id="214" name="TextBox 213"/>
              <p:cNvSpPr txBox="1"/>
              <p:nvPr/>
            </p:nvSpPr>
            <p:spPr>
              <a:xfrm>
                <a:off x="4855242" y="2784543"/>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izTalk</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215" name="Picture 214" descr="BizTalk Services.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4508812" y="2773724"/>
                <a:ext cx="293814" cy="293814"/>
              </a:xfrm>
              <a:prstGeom prst="rect">
                <a:avLst/>
              </a:prstGeom>
            </p:spPr>
          </p:pic>
        </p:grpSp>
        <p:grpSp>
          <p:nvGrpSpPr>
            <p:cNvPr id="378" name="Group 377"/>
            <p:cNvGrpSpPr/>
            <p:nvPr/>
          </p:nvGrpSpPr>
          <p:grpSpPr>
            <a:xfrm>
              <a:off x="3483444" y="3313178"/>
              <a:ext cx="1008307" cy="316721"/>
              <a:chOff x="3483444" y="3313178"/>
              <a:chExt cx="1008307" cy="316721"/>
            </a:xfrm>
          </p:grpSpPr>
          <p:sp>
            <p:nvSpPr>
              <p:cNvPr id="216" name="TextBox 215"/>
              <p:cNvSpPr txBox="1"/>
              <p:nvPr/>
            </p:nvSpPr>
            <p:spPr>
              <a:xfrm>
                <a:off x="3832595" y="3328794"/>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ybrid</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nnections</a:t>
                </a:r>
              </a:p>
            </p:txBody>
          </p:sp>
          <p:pic>
            <p:nvPicPr>
              <p:cNvPr id="217" name="Picture 216" descr="Hybrid Connections (BizTalk).png"/>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3483444" y="3313178"/>
                <a:ext cx="292125" cy="292125"/>
              </a:xfrm>
              <a:prstGeom prst="rect">
                <a:avLst/>
              </a:prstGeom>
            </p:spPr>
          </p:pic>
        </p:grpSp>
        <p:grpSp>
          <p:nvGrpSpPr>
            <p:cNvPr id="379" name="Group 378"/>
            <p:cNvGrpSpPr/>
            <p:nvPr/>
          </p:nvGrpSpPr>
          <p:grpSpPr>
            <a:xfrm>
              <a:off x="4517160" y="3306133"/>
              <a:ext cx="998427" cy="323766"/>
              <a:chOff x="4517160" y="3306133"/>
              <a:chExt cx="998427" cy="323766"/>
            </a:xfrm>
          </p:grpSpPr>
          <p:sp>
            <p:nvSpPr>
              <p:cNvPr id="218" name="TextBox 217"/>
              <p:cNvSpPr txBox="1"/>
              <p:nvPr/>
            </p:nvSpPr>
            <p:spPr>
              <a:xfrm>
                <a:off x="4856431" y="3328794"/>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 Bus</a:t>
                </a:r>
              </a:p>
            </p:txBody>
          </p:sp>
          <p:pic>
            <p:nvPicPr>
              <p:cNvPr id="219" name="Picture 218" descr="Service Bus.png"/>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4517160" y="3306133"/>
                <a:ext cx="292386" cy="292386"/>
              </a:xfrm>
              <a:prstGeom prst="rect">
                <a:avLst/>
              </a:prstGeom>
            </p:spPr>
          </p:pic>
        </p:grpSp>
        <p:grpSp>
          <p:nvGrpSpPr>
            <p:cNvPr id="376" name="Group 375"/>
            <p:cNvGrpSpPr/>
            <p:nvPr/>
          </p:nvGrpSpPr>
          <p:grpSpPr>
            <a:xfrm>
              <a:off x="3477054" y="2774918"/>
              <a:ext cx="1004745" cy="319522"/>
              <a:chOff x="3477054" y="2774918"/>
              <a:chExt cx="1004745" cy="319522"/>
            </a:xfrm>
          </p:grpSpPr>
          <p:sp>
            <p:nvSpPr>
              <p:cNvPr id="220" name="TextBox 219"/>
              <p:cNvSpPr txBox="1"/>
              <p:nvPr/>
            </p:nvSpPr>
            <p:spPr>
              <a:xfrm>
                <a:off x="3822643" y="2793335"/>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ag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Queues</a:t>
                </a:r>
              </a:p>
            </p:txBody>
          </p:sp>
          <p:pic>
            <p:nvPicPr>
              <p:cNvPr id="221" name="Picture 220" descr="Storage queue.png"/>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3477054" y="2774918"/>
                <a:ext cx="292620" cy="292620"/>
              </a:xfrm>
              <a:prstGeom prst="rect">
                <a:avLst/>
              </a:prstGeom>
            </p:spPr>
          </p:pic>
        </p:grpSp>
      </p:grpSp>
      <p:sp>
        <p:nvSpPr>
          <p:cNvPr id="71" name="Rectangle 70"/>
          <p:cNvSpPr/>
          <p:nvPr/>
        </p:nvSpPr>
        <p:spPr bwMode="auto">
          <a:xfrm>
            <a:off x="10234134" y="531051"/>
            <a:ext cx="1539076" cy="4028268"/>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solidFill>
                  <a:schemeClr val="bg1"/>
                </a:solidFill>
                <a:ea typeface="Segoe UI" pitchFamily="34" charset="0"/>
                <a:cs typeface="Segoe UI" pitchFamily="34" charset="0"/>
              </a:rPr>
              <a:t>Hybrid</a:t>
            </a:r>
          </a:p>
          <a:p>
            <a:pPr algn="ctr" defTabSz="895923" fontAlgn="base">
              <a:lnSpc>
                <a:spcPct val="90000"/>
              </a:lnSpc>
            </a:pPr>
            <a:r>
              <a:rPr lang="en-US" sz="1176" b="1" kern="0" dirty="0">
                <a:solidFill>
                  <a:schemeClr val="bg1"/>
                </a:solidFill>
                <a:ea typeface="Segoe UI" pitchFamily="34" charset="0"/>
                <a:cs typeface="Segoe UI" pitchFamily="34" charset="0"/>
              </a:rPr>
              <a:t>Operations</a:t>
            </a:r>
            <a:endParaRPr lang="en-US" sz="1274" b="1" kern="0" dirty="0">
              <a:solidFill>
                <a:schemeClr val="bg1"/>
              </a:solidFill>
              <a:ea typeface="Segoe UI" pitchFamily="34" charset="0"/>
              <a:cs typeface="Segoe UI" pitchFamily="34" charset="0"/>
            </a:endParaRPr>
          </a:p>
        </p:txBody>
      </p:sp>
      <p:grpSp>
        <p:nvGrpSpPr>
          <p:cNvPr id="338" name="Group 337"/>
          <p:cNvGrpSpPr/>
          <p:nvPr/>
        </p:nvGrpSpPr>
        <p:grpSpPr>
          <a:xfrm>
            <a:off x="10487151" y="2452551"/>
            <a:ext cx="991372" cy="325698"/>
            <a:chOff x="11198479" y="2855036"/>
            <a:chExt cx="1011251" cy="332229"/>
          </a:xfrm>
        </p:grpSpPr>
        <p:sp>
          <p:nvSpPr>
            <p:cNvPr id="206" name="TextBox 205"/>
            <p:cNvSpPr txBox="1"/>
            <p:nvPr/>
          </p:nvSpPr>
          <p:spPr>
            <a:xfrm>
              <a:off x="11550574" y="2886159"/>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11198479" y="2855036"/>
              <a:ext cx="296408" cy="296408"/>
            </a:xfrm>
            <a:prstGeom prst="rect">
              <a:avLst/>
            </a:prstGeom>
          </p:spPr>
        </p:pic>
      </p:grpSp>
      <p:grpSp>
        <p:nvGrpSpPr>
          <p:cNvPr id="242" name="Group 241"/>
          <p:cNvGrpSpPr/>
          <p:nvPr/>
        </p:nvGrpSpPr>
        <p:grpSpPr>
          <a:xfrm>
            <a:off x="10470282" y="4194433"/>
            <a:ext cx="985974" cy="324522"/>
            <a:chOff x="11181272" y="4050487"/>
            <a:chExt cx="1005745" cy="331029"/>
          </a:xfrm>
        </p:grpSpPr>
        <p:sp>
          <p:nvSpPr>
            <p:cNvPr id="208" name="TextBox 207"/>
            <p:cNvSpPr txBox="1"/>
            <p:nvPr/>
          </p:nvSpPr>
          <p:spPr>
            <a:xfrm>
              <a:off x="11527861" y="4080410"/>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Simple</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950" eaLnBrk="0" fontAlgn="base" hangingPunct="0">
                <a:lnSpc>
                  <a:spcPts val="800"/>
                </a:lnSpc>
                <a:spcBef>
                  <a:spcPct val="0"/>
                </a:spcBef>
                <a:spcAft>
                  <a:spcPct val="0"/>
                </a:spcAft>
              </a:pP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11181272" y="4050487"/>
              <a:ext cx="286828" cy="286828"/>
            </a:xfrm>
            <a:prstGeom prst="rect">
              <a:avLst/>
            </a:prstGeom>
          </p:spPr>
        </p:pic>
      </p:grpSp>
      <p:grpSp>
        <p:nvGrpSpPr>
          <p:cNvPr id="341" name="Group 340"/>
          <p:cNvGrpSpPr/>
          <p:nvPr/>
        </p:nvGrpSpPr>
        <p:grpSpPr>
          <a:xfrm>
            <a:off x="10475100" y="3794859"/>
            <a:ext cx="983557" cy="338770"/>
            <a:chOff x="11175796" y="3730886"/>
            <a:chExt cx="1003279" cy="345563"/>
          </a:xfrm>
        </p:grpSpPr>
        <p:sp>
          <p:nvSpPr>
            <p:cNvPr id="210" name="TextBox 209"/>
            <p:cNvSpPr txBox="1"/>
            <p:nvPr/>
          </p:nvSpPr>
          <p:spPr>
            <a:xfrm>
              <a:off x="11519919" y="3775343"/>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Sit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covery </a:t>
              </a:r>
            </a:p>
          </p:txBody>
        </p:sp>
        <p:pic>
          <p:nvPicPr>
            <p:cNvPr id="211" name="Picture 210" descr="Site Recove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1175796" y="3730886"/>
              <a:ext cx="285842" cy="285842"/>
            </a:xfrm>
            <a:prstGeom prst="rect">
              <a:avLst/>
            </a:prstGeom>
          </p:spPr>
        </p:pic>
      </p:grpSp>
      <p:grpSp>
        <p:nvGrpSpPr>
          <p:cNvPr id="340" name="Group 339"/>
          <p:cNvGrpSpPr/>
          <p:nvPr/>
        </p:nvGrpSpPr>
        <p:grpSpPr>
          <a:xfrm>
            <a:off x="10489065" y="3359265"/>
            <a:ext cx="977378" cy="314851"/>
            <a:chOff x="11190041" y="3491162"/>
            <a:chExt cx="996976" cy="321164"/>
          </a:xfrm>
        </p:grpSpPr>
        <p:sp>
          <p:nvSpPr>
            <p:cNvPr id="212" name="TextBox 211"/>
            <p:cNvSpPr txBox="1"/>
            <p:nvPr/>
          </p:nvSpPr>
          <p:spPr>
            <a:xfrm>
              <a:off x="11527861" y="3511220"/>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11190041" y="3491162"/>
              <a:ext cx="286753" cy="286753"/>
            </a:xfrm>
            <a:prstGeom prst="rect">
              <a:avLst/>
            </a:prstGeom>
          </p:spPr>
        </p:pic>
      </p:grpSp>
      <p:sp>
        <p:nvSpPr>
          <p:cNvPr id="33" name="Rectangle 32"/>
          <p:cNvSpPr/>
          <p:nvPr/>
        </p:nvSpPr>
        <p:spPr bwMode="auto">
          <a:xfrm>
            <a:off x="5904909" y="4834576"/>
            <a:ext cx="6168065" cy="77427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Networking</a:t>
            </a:r>
          </a:p>
        </p:txBody>
      </p:sp>
      <p:grpSp>
        <p:nvGrpSpPr>
          <p:cNvPr id="394" name="Group 393"/>
          <p:cNvGrpSpPr/>
          <p:nvPr/>
        </p:nvGrpSpPr>
        <p:grpSpPr>
          <a:xfrm>
            <a:off x="6609733" y="535708"/>
            <a:ext cx="3470154" cy="1721170"/>
            <a:chOff x="8289832" y="2910817"/>
            <a:chExt cx="3539738" cy="1755683"/>
          </a:xfrm>
        </p:grpSpPr>
        <p:sp>
          <p:nvSpPr>
            <p:cNvPr id="37" name="Rectangle 36"/>
            <p:cNvSpPr/>
            <p:nvPr/>
          </p:nvSpPr>
          <p:spPr bwMode="auto">
            <a:xfrm>
              <a:off x="8289832" y="2910817"/>
              <a:ext cx="3539738" cy="1755683"/>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Data</a:t>
              </a:r>
            </a:p>
          </p:txBody>
        </p:sp>
        <p:grpSp>
          <p:nvGrpSpPr>
            <p:cNvPr id="388" name="Group 387"/>
            <p:cNvGrpSpPr/>
            <p:nvPr/>
          </p:nvGrpSpPr>
          <p:grpSpPr>
            <a:xfrm>
              <a:off x="8755248" y="3474294"/>
              <a:ext cx="1008778" cy="324187"/>
              <a:chOff x="8755248" y="3474294"/>
              <a:chExt cx="1008778" cy="324187"/>
            </a:xfrm>
          </p:grpSpPr>
          <p:sp>
            <p:nvSpPr>
              <p:cNvPr id="171" name="TextBox 170"/>
              <p:cNvSpPr txBox="1"/>
              <p:nvPr/>
            </p:nvSpPr>
            <p:spPr>
              <a:xfrm>
                <a:off x="9104870" y="3497376"/>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 </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8755248" y="3474294"/>
                <a:ext cx="296809" cy="296809"/>
              </a:xfrm>
              <a:prstGeom prst="rect">
                <a:avLst/>
              </a:prstGeom>
            </p:spPr>
          </p:pic>
        </p:grpSp>
        <p:grpSp>
          <p:nvGrpSpPr>
            <p:cNvPr id="390" name="Group 389"/>
            <p:cNvGrpSpPr/>
            <p:nvPr/>
          </p:nvGrpSpPr>
          <p:grpSpPr>
            <a:xfrm>
              <a:off x="10786523" y="3477738"/>
              <a:ext cx="1029708" cy="308738"/>
              <a:chOff x="10786523" y="3477738"/>
              <a:chExt cx="1029708" cy="308738"/>
            </a:xfrm>
          </p:grpSpPr>
          <p:sp>
            <p:nvSpPr>
              <p:cNvPr id="173" name="TextBox 172"/>
              <p:cNvSpPr txBox="1"/>
              <p:nvPr/>
            </p:nvSpPr>
            <p:spPr>
              <a:xfrm>
                <a:off x="11157075" y="3477738"/>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cumentDB</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4" name="Picture 173"/>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10786523" y="3495857"/>
                <a:ext cx="290620" cy="290619"/>
              </a:xfrm>
              <a:prstGeom prst="rect">
                <a:avLst/>
              </a:prstGeom>
            </p:spPr>
          </p:pic>
        </p:grpSp>
        <p:grpSp>
          <p:nvGrpSpPr>
            <p:cNvPr id="391" name="Group 390"/>
            <p:cNvGrpSpPr/>
            <p:nvPr/>
          </p:nvGrpSpPr>
          <p:grpSpPr>
            <a:xfrm>
              <a:off x="8728911" y="4040003"/>
              <a:ext cx="1011763" cy="318839"/>
              <a:chOff x="8728911" y="4040003"/>
              <a:chExt cx="1011763" cy="318839"/>
            </a:xfrm>
          </p:grpSpPr>
          <p:sp>
            <p:nvSpPr>
              <p:cNvPr id="175" name="TextBox 174"/>
              <p:cNvSpPr txBox="1"/>
              <p:nvPr/>
            </p:nvSpPr>
            <p:spPr>
              <a:xfrm>
                <a:off x="9081518" y="4057737"/>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dis</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8728911" y="4040003"/>
                <a:ext cx="289282" cy="289282"/>
              </a:xfrm>
              <a:prstGeom prst="rect">
                <a:avLst/>
              </a:prstGeom>
            </p:spPr>
          </p:pic>
        </p:grpSp>
        <p:grpSp>
          <p:nvGrpSpPr>
            <p:cNvPr id="392" name="Group 391"/>
            <p:cNvGrpSpPr/>
            <p:nvPr/>
          </p:nvGrpSpPr>
          <p:grpSpPr>
            <a:xfrm>
              <a:off x="9789813" y="4065697"/>
              <a:ext cx="1011560" cy="324689"/>
              <a:chOff x="9789813" y="4065697"/>
              <a:chExt cx="1011560" cy="324689"/>
            </a:xfrm>
          </p:grpSpPr>
          <p:sp>
            <p:nvSpPr>
              <p:cNvPr id="177" name="TextBox 176"/>
              <p:cNvSpPr txBox="1"/>
              <p:nvPr/>
            </p:nvSpPr>
            <p:spPr>
              <a:xfrm>
                <a:off x="10142217" y="4089281"/>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arch</a:t>
                </a:r>
              </a:p>
              <a:p>
                <a:pPr defTabSz="913950" eaLnBrk="0" fontAlgn="base" hangingPunct="0">
                  <a:lnSpc>
                    <a:spcPts val="800"/>
                  </a:lnSpc>
                  <a:spcBef>
                    <a:spcPct val="0"/>
                  </a:spcBef>
                  <a:spcAft>
                    <a:spcPct val="0"/>
                  </a:spcAft>
                </a:pP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23" cstate="print">
                <a:biLevel thresh="25000"/>
                <a:extLst>
                  <a:ext uri="{28A0092B-C50C-407E-A947-70E740481C1C}">
                    <a14:useLocalDpi xmlns:a14="http://schemas.microsoft.com/office/drawing/2010/main" val="0"/>
                  </a:ext>
                </a:extLst>
              </a:blip>
              <a:stretch>
                <a:fillRect/>
              </a:stretch>
            </p:blipFill>
            <p:spPr>
              <a:xfrm>
                <a:off x="9789813" y="4065697"/>
                <a:ext cx="293993" cy="293993"/>
              </a:xfrm>
              <a:prstGeom prst="rect">
                <a:avLst/>
              </a:prstGeom>
            </p:spPr>
          </p:pic>
        </p:grpSp>
        <p:grpSp>
          <p:nvGrpSpPr>
            <p:cNvPr id="393" name="Group 392"/>
            <p:cNvGrpSpPr/>
            <p:nvPr/>
          </p:nvGrpSpPr>
          <p:grpSpPr>
            <a:xfrm>
              <a:off x="10784365" y="4081793"/>
              <a:ext cx="1014773" cy="304510"/>
              <a:chOff x="10784365" y="4081793"/>
              <a:chExt cx="1014773" cy="304510"/>
            </a:xfrm>
          </p:grpSpPr>
          <p:sp>
            <p:nvSpPr>
              <p:cNvPr id="179" name="TextBox 178"/>
              <p:cNvSpPr txBox="1"/>
              <p:nvPr/>
            </p:nvSpPr>
            <p:spPr>
              <a:xfrm>
                <a:off x="11139982" y="4085198"/>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ag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10784365" y="4081793"/>
                <a:ext cx="288561" cy="288560"/>
              </a:xfrm>
              <a:prstGeom prst="rect">
                <a:avLst/>
              </a:prstGeom>
            </p:spPr>
          </p:pic>
        </p:grpSp>
        <p:grpSp>
          <p:nvGrpSpPr>
            <p:cNvPr id="389" name="Group 388"/>
            <p:cNvGrpSpPr/>
            <p:nvPr/>
          </p:nvGrpSpPr>
          <p:grpSpPr>
            <a:xfrm>
              <a:off x="9763191" y="3476801"/>
              <a:ext cx="751841" cy="347627"/>
              <a:chOff x="9763191" y="3476801"/>
              <a:chExt cx="751841" cy="347627"/>
            </a:xfrm>
          </p:grpSpPr>
          <p:pic>
            <p:nvPicPr>
              <p:cNvPr id="17" name="Picture 16"/>
              <p:cNvPicPr>
                <a:picLocks noChangeAspect="1"/>
              </p:cNvPicPr>
              <p:nvPr/>
            </p:nvPicPr>
            <p:blipFill>
              <a:blip r:embed="rId25"/>
              <a:stretch>
                <a:fillRect/>
              </a:stretch>
            </p:blipFill>
            <p:spPr>
              <a:xfrm>
                <a:off x="9763191" y="3476801"/>
                <a:ext cx="320616" cy="290558"/>
              </a:xfrm>
              <a:prstGeom prst="rect">
                <a:avLst/>
              </a:prstGeom>
            </p:spPr>
          </p:pic>
          <p:sp>
            <p:nvSpPr>
              <p:cNvPr id="246" name="TextBox 245"/>
              <p:cNvSpPr txBox="1"/>
              <p:nvPr/>
            </p:nvSpPr>
            <p:spPr>
              <a:xfrm>
                <a:off x="10117219" y="3498352"/>
                <a:ext cx="397813" cy="32607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grpSp>
      <p:sp>
        <p:nvSpPr>
          <p:cNvPr id="9" name="Freeform 8"/>
          <p:cNvSpPr/>
          <p:nvPr/>
        </p:nvSpPr>
        <p:spPr bwMode="auto">
          <a:xfrm>
            <a:off x="10966207" y="2667696"/>
            <a:ext cx="67699" cy="37962"/>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765"/>
          </a:p>
        </p:txBody>
      </p:sp>
      <p:grpSp>
        <p:nvGrpSpPr>
          <p:cNvPr id="337" name="Group 336"/>
          <p:cNvGrpSpPr/>
          <p:nvPr/>
        </p:nvGrpSpPr>
        <p:grpSpPr>
          <a:xfrm>
            <a:off x="10506680" y="1132444"/>
            <a:ext cx="991400" cy="327746"/>
            <a:chOff x="11200294" y="2143330"/>
            <a:chExt cx="1011280" cy="334317"/>
          </a:xfrm>
        </p:grpSpPr>
        <p:sp>
          <p:nvSpPr>
            <p:cNvPr id="197" name="TextBox 196"/>
            <p:cNvSpPr txBox="1"/>
            <p:nvPr/>
          </p:nvSpPr>
          <p:spPr>
            <a:xfrm>
              <a:off x="11552418" y="2176542"/>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D </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ealth Monitoring</a:t>
              </a:r>
            </a:p>
          </p:txBody>
        </p:sp>
        <p:grpSp>
          <p:nvGrpSpPr>
            <p:cNvPr id="229" name="Group 228"/>
            <p:cNvGrpSpPr/>
            <p:nvPr/>
          </p:nvGrpSpPr>
          <p:grpSpPr>
            <a:xfrm>
              <a:off x="11200294" y="2143330"/>
              <a:ext cx="293741" cy="279390"/>
              <a:chOff x="10757647" y="1125048"/>
              <a:chExt cx="293741" cy="279390"/>
            </a:xfrm>
          </p:grpSpPr>
          <p:pic>
            <p:nvPicPr>
              <p:cNvPr id="222" name="Picture 221"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10757647" y="1125048"/>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chemeClr val="bg1"/>
                  </a:solidFill>
                  <a:latin typeface="+mj-l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20" name="Group 19"/>
          <p:cNvGrpSpPr/>
          <p:nvPr/>
        </p:nvGrpSpPr>
        <p:grpSpPr>
          <a:xfrm>
            <a:off x="5952510" y="5128963"/>
            <a:ext cx="826979" cy="339375"/>
            <a:chOff x="6071870" y="5231313"/>
            <a:chExt cx="843562" cy="346180"/>
          </a:xfrm>
        </p:grpSpPr>
        <p:sp>
          <p:nvSpPr>
            <p:cNvPr id="24" name="Rectangle 23"/>
            <p:cNvSpPr/>
            <p:nvPr/>
          </p:nvSpPr>
          <p:spPr bwMode="auto">
            <a:xfrm>
              <a:off x="6071870" y="5231313"/>
              <a:ext cx="843562"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Virtual Network</a:t>
              </a:r>
            </a:p>
          </p:txBody>
        </p:sp>
        <p:pic>
          <p:nvPicPr>
            <p:cNvPr id="227" name="Picture 226"/>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6081595" y="5248173"/>
              <a:ext cx="267702" cy="267702"/>
            </a:xfrm>
            <a:prstGeom prst="rect">
              <a:avLst/>
            </a:prstGeom>
          </p:spPr>
        </p:pic>
      </p:grpSp>
      <p:grpSp>
        <p:nvGrpSpPr>
          <p:cNvPr id="237" name="Group 236"/>
          <p:cNvGrpSpPr/>
          <p:nvPr/>
        </p:nvGrpSpPr>
        <p:grpSpPr>
          <a:xfrm>
            <a:off x="8367685" y="5115782"/>
            <a:ext cx="907316" cy="352472"/>
            <a:chOff x="8640978" y="5217867"/>
            <a:chExt cx="925510" cy="359540"/>
          </a:xfrm>
        </p:grpSpPr>
        <p:sp>
          <p:nvSpPr>
            <p:cNvPr id="27" name="Rectangle 26"/>
            <p:cNvSpPr/>
            <p:nvPr/>
          </p:nvSpPr>
          <p:spPr bwMode="auto">
            <a:xfrm>
              <a:off x="8640978" y="5230981"/>
              <a:ext cx="925510"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17928" rIns="0" bIns="89642"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Express</a:t>
              </a:r>
            </a:p>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Route</a:t>
              </a:r>
            </a:p>
          </p:txBody>
        </p:sp>
        <p:pic>
          <p:nvPicPr>
            <p:cNvPr id="228" name="Picture 227"/>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8669836" y="5217867"/>
              <a:ext cx="251761" cy="251761"/>
            </a:xfrm>
            <a:prstGeom prst="rect">
              <a:avLst/>
            </a:prstGeom>
          </p:spPr>
        </p:pic>
      </p:grpSp>
      <p:grpSp>
        <p:nvGrpSpPr>
          <p:cNvPr id="16" name="Group 15"/>
          <p:cNvGrpSpPr/>
          <p:nvPr/>
        </p:nvGrpSpPr>
        <p:grpSpPr>
          <a:xfrm>
            <a:off x="2944314" y="5128966"/>
            <a:ext cx="897435" cy="356283"/>
            <a:chOff x="3003353" y="5231315"/>
            <a:chExt cx="915430" cy="363427"/>
          </a:xfrm>
        </p:grpSpPr>
        <p:sp>
          <p:nvSpPr>
            <p:cNvPr id="25" name="Rectangle 24"/>
            <p:cNvSpPr/>
            <p:nvPr/>
          </p:nvSpPr>
          <p:spPr bwMode="auto">
            <a:xfrm>
              <a:off x="3003353" y="5231315"/>
              <a:ext cx="915430"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BLOB Storage</a:t>
              </a:r>
            </a:p>
          </p:txBody>
        </p:sp>
        <p:pic>
          <p:nvPicPr>
            <p:cNvPr id="232" name="Picture 231" descr="Storage blob.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3032767" y="5271308"/>
              <a:ext cx="247169" cy="247170"/>
            </a:xfrm>
            <a:prstGeom prst="rect">
              <a:avLst/>
            </a:prstGeom>
          </p:spPr>
        </p:pic>
      </p:grpSp>
      <p:grpSp>
        <p:nvGrpSpPr>
          <p:cNvPr id="18" name="Group 17"/>
          <p:cNvGrpSpPr/>
          <p:nvPr/>
        </p:nvGrpSpPr>
        <p:grpSpPr>
          <a:xfrm>
            <a:off x="3916509" y="5128965"/>
            <a:ext cx="818804" cy="356283"/>
            <a:chOff x="3995042" y="5231314"/>
            <a:chExt cx="835223" cy="363427"/>
          </a:xfrm>
        </p:grpSpPr>
        <p:sp>
          <p:nvSpPr>
            <p:cNvPr id="26" name="Rectangle 25"/>
            <p:cNvSpPr/>
            <p:nvPr/>
          </p:nvSpPr>
          <p:spPr bwMode="auto">
            <a:xfrm>
              <a:off x="3995042" y="5231314"/>
              <a:ext cx="835223"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Azure</a:t>
              </a:r>
            </a:p>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Files</a:t>
              </a:r>
            </a:p>
          </p:txBody>
        </p:sp>
        <p:pic>
          <p:nvPicPr>
            <p:cNvPr id="233" name="Picture 232" descr="Storage blob.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4024079" y="5271308"/>
              <a:ext cx="247169" cy="247170"/>
            </a:xfrm>
            <a:prstGeom prst="rect">
              <a:avLst/>
            </a:prstGeom>
          </p:spPr>
        </p:pic>
      </p:grpSp>
      <p:grpSp>
        <p:nvGrpSpPr>
          <p:cNvPr id="19" name="Group 18"/>
          <p:cNvGrpSpPr/>
          <p:nvPr/>
        </p:nvGrpSpPr>
        <p:grpSpPr>
          <a:xfrm>
            <a:off x="4828765" y="5128964"/>
            <a:ext cx="819786" cy="356283"/>
            <a:chOff x="4925592" y="5231313"/>
            <a:chExt cx="836224" cy="363427"/>
          </a:xfrm>
        </p:grpSpPr>
        <p:sp>
          <p:nvSpPr>
            <p:cNvPr id="61" name="Rectangle 60"/>
            <p:cNvSpPr/>
            <p:nvPr/>
          </p:nvSpPr>
          <p:spPr bwMode="auto">
            <a:xfrm>
              <a:off x="4925592" y="5231313"/>
              <a:ext cx="836224"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Premium</a:t>
              </a:r>
            </a:p>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Storage</a:t>
              </a:r>
            </a:p>
          </p:txBody>
        </p:sp>
        <p:pic>
          <p:nvPicPr>
            <p:cNvPr id="234" name="Picture 233" descr="Storage blob.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4947024" y="5271308"/>
              <a:ext cx="247169" cy="247170"/>
            </a:xfrm>
            <a:prstGeom prst="rect">
              <a:avLst/>
            </a:prstGeom>
          </p:spPr>
        </p:pic>
      </p:grpSp>
      <p:grpSp>
        <p:nvGrpSpPr>
          <p:cNvPr id="13" name="Group 12"/>
          <p:cNvGrpSpPr/>
          <p:nvPr/>
        </p:nvGrpSpPr>
        <p:grpSpPr>
          <a:xfrm>
            <a:off x="438468" y="5134866"/>
            <a:ext cx="792310" cy="349066"/>
            <a:chOff x="165906" y="5237334"/>
            <a:chExt cx="808197" cy="356066"/>
          </a:xfrm>
        </p:grpSpPr>
        <p:sp>
          <p:nvSpPr>
            <p:cNvPr id="43" name="Rectangle 42"/>
            <p:cNvSpPr/>
            <p:nvPr/>
          </p:nvSpPr>
          <p:spPr bwMode="auto">
            <a:xfrm>
              <a:off x="165906" y="5237334"/>
              <a:ext cx="808197"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Virtual Machines</a:t>
              </a:r>
            </a:p>
          </p:txBody>
        </p:sp>
        <p:pic>
          <p:nvPicPr>
            <p:cNvPr id="235" name="Picture 234"/>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186771" y="5275561"/>
              <a:ext cx="261581" cy="261582"/>
            </a:xfrm>
            <a:prstGeom prst="rect">
              <a:avLst/>
            </a:prstGeom>
            <a:ln>
              <a:noFill/>
            </a:ln>
          </p:spPr>
        </p:pic>
      </p:grpSp>
      <p:grpSp>
        <p:nvGrpSpPr>
          <p:cNvPr id="328" name="Group 327"/>
          <p:cNvGrpSpPr/>
          <p:nvPr/>
        </p:nvGrpSpPr>
        <p:grpSpPr>
          <a:xfrm>
            <a:off x="10536520" y="1536681"/>
            <a:ext cx="953052" cy="337380"/>
            <a:chOff x="11248838" y="2589753"/>
            <a:chExt cx="972163" cy="344144"/>
          </a:xfrm>
        </p:grpSpPr>
        <p:sp>
          <p:nvSpPr>
            <p:cNvPr id="236" name="TextBox 235"/>
            <p:cNvSpPr txBox="1"/>
            <p:nvPr/>
          </p:nvSpPr>
          <p:spPr>
            <a:xfrm>
              <a:off x="11561845" y="2589753"/>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D Privileged</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dentity </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31"/>
            <a:stretch>
              <a:fillRect/>
            </a:stretch>
          </p:blipFill>
          <p:spPr>
            <a:xfrm>
              <a:off x="11248838" y="2615973"/>
              <a:ext cx="245456" cy="317924"/>
            </a:xfrm>
            <a:prstGeom prst="rect">
              <a:avLst/>
            </a:prstGeom>
          </p:spPr>
        </p:pic>
      </p:grpSp>
      <p:grpSp>
        <p:nvGrpSpPr>
          <p:cNvPr id="238" name="Group 237"/>
          <p:cNvGrpSpPr/>
          <p:nvPr/>
        </p:nvGrpSpPr>
        <p:grpSpPr>
          <a:xfrm>
            <a:off x="9308537" y="5128638"/>
            <a:ext cx="903525" cy="339616"/>
            <a:chOff x="9495191" y="5230981"/>
            <a:chExt cx="921643" cy="346426"/>
          </a:xfrm>
        </p:grpSpPr>
        <p:sp>
          <p:nvSpPr>
            <p:cNvPr id="28" name="Rectangle 27"/>
            <p:cNvSpPr/>
            <p:nvPr/>
          </p:nvSpPr>
          <p:spPr bwMode="auto">
            <a:xfrm>
              <a:off x="9495191" y="5230981"/>
              <a:ext cx="921643"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Traffic Manager</a:t>
              </a:r>
            </a:p>
          </p:txBody>
        </p:sp>
        <p:pic>
          <p:nvPicPr>
            <p:cNvPr id="89" name="Picture 88"/>
            <p:cNvPicPr>
              <a:picLocks noChangeAspect="1"/>
            </p:cNvPicPr>
            <p:nvPr/>
          </p:nvPicPr>
          <p:blipFill>
            <a:blip r:embed="rId32" cstate="print">
              <a:biLevel thresh="25000"/>
              <a:extLst>
                <a:ext uri="{28A0092B-C50C-407E-A947-70E740481C1C}">
                  <a14:useLocalDpi xmlns:a14="http://schemas.microsoft.com/office/drawing/2010/main" val="0"/>
                </a:ext>
              </a:extLst>
            </a:blip>
            <a:stretch>
              <a:fillRect/>
            </a:stretch>
          </p:blipFill>
          <p:spPr>
            <a:xfrm>
              <a:off x="9542996" y="5273467"/>
              <a:ext cx="210127" cy="210127"/>
            </a:xfrm>
            <a:prstGeom prst="rect">
              <a:avLst/>
            </a:prstGeom>
          </p:spPr>
        </p:pic>
      </p:grpSp>
      <p:grpSp>
        <p:nvGrpSpPr>
          <p:cNvPr id="241" name="Group 240"/>
          <p:cNvGrpSpPr/>
          <p:nvPr/>
        </p:nvGrpSpPr>
        <p:grpSpPr>
          <a:xfrm>
            <a:off x="11148980" y="5128638"/>
            <a:ext cx="853288" cy="339616"/>
            <a:chOff x="11372540" y="5230981"/>
            <a:chExt cx="870398" cy="346426"/>
          </a:xfrm>
        </p:grpSpPr>
        <p:sp>
          <p:nvSpPr>
            <p:cNvPr id="247" name="Rectangle 246"/>
            <p:cNvSpPr/>
            <p:nvPr/>
          </p:nvSpPr>
          <p:spPr bwMode="auto">
            <a:xfrm>
              <a:off x="11372540"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35857"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App</a:t>
              </a:r>
            </a:p>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Gateway</a:t>
              </a:r>
            </a:p>
          </p:txBody>
        </p:sp>
        <p:sp>
          <p:nvSpPr>
            <p:cNvPr id="327" name="Freeform 326"/>
            <p:cNvSpPr/>
            <p:nvPr/>
          </p:nvSpPr>
          <p:spPr bwMode="auto">
            <a:xfrm rot="2700000">
              <a:off x="11422699"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chemeClr val="bg1"/>
                </a:solidFill>
                <a:latin typeface="+mj-lt"/>
                <a:ea typeface="Segoe UI" pitchFamily="34" charset="0"/>
                <a:cs typeface="Segoe UI" pitchFamily="34" charset="0"/>
              </a:endParaRPr>
            </a:p>
          </p:txBody>
        </p:sp>
      </p:grpSp>
      <p:grpSp>
        <p:nvGrpSpPr>
          <p:cNvPr id="339" name="Group 338"/>
          <p:cNvGrpSpPr/>
          <p:nvPr/>
        </p:nvGrpSpPr>
        <p:grpSpPr>
          <a:xfrm>
            <a:off x="10476749" y="2873848"/>
            <a:ext cx="981241" cy="307798"/>
            <a:chOff x="11187869" y="3126800"/>
            <a:chExt cx="1000917" cy="313970"/>
          </a:xfrm>
        </p:grpSpPr>
        <p:sp>
          <p:nvSpPr>
            <p:cNvPr id="329" name="TextBox 328"/>
            <p:cNvSpPr txBox="1"/>
            <p:nvPr/>
          </p:nvSpPr>
          <p:spPr>
            <a:xfrm>
              <a:off x="11529630" y="3139664"/>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Operational</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30" name="Picture 329" descr="Operational Insights.png"/>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11187869" y="3126800"/>
              <a:ext cx="280231" cy="280232"/>
            </a:xfrm>
            <a:prstGeom prst="rect">
              <a:avLst/>
            </a:prstGeom>
          </p:spPr>
        </p:pic>
      </p:grpSp>
      <p:grpSp>
        <p:nvGrpSpPr>
          <p:cNvPr id="136" name="Group 135"/>
          <p:cNvGrpSpPr/>
          <p:nvPr/>
        </p:nvGrpSpPr>
        <p:grpSpPr>
          <a:xfrm>
            <a:off x="1960879" y="522379"/>
            <a:ext cx="2066717" cy="1404818"/>
            <a:chOff x="2885080" y="478780"/>
            <a:chExt cx="2108159" cy="1432988"/>
          </a:xfrm>
        </p:grpSpPr>
        <p:sp>
          <p:nvSpPr>
            <p:cNvPr id="35" name="Rectangle 34"/>
            <p:cNvSpPr/>
            <p:nvPr/>
          </p:nvSpPr>
          <p:spPr bwMode="auto">
            <a:xfrm>
              <a:off x="2885080" y="478780"/>
              <a:ext cx="2108159"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Services Compute</a:t>
              </a:r>
            </a:p>
          </p:txBody>
        </p:sp>
        <p:grpSp>
          <p:nvGrpSpPr>
            <p:cNvPr id="344" name="Group 343"/>
            <p:cNvGrpSpPr/>
            <p:nvPr/>
          </p:nvGrpSpPr>
          <p:grpSpPr>
            <a:xfrm>
              <a:off x="3091322" y="836529"/>
              <a:ext cx="1001364" cy="338014"/>
              <a:chOff x="3533110" y="1905041"/>
              <a:chExt cx="1001364" cy="338014"/>
            </a:xfrm>
          </p:grpSpPr>
          <p:sp>
            <p:nvSpPr>
              <p:cNvPr id="145" name="TextBox 144"/>
              <p:cNvSpPr txBox="1"/>
              <p:nvPr/>
            </p:nvSpPr>
            <p:spPr>
              <a:xfrm>
                <a:off x="3875318" y="1941949"/>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loud </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34" cstate="print">
                <a:biLevel thresh="25000"/>
                <a:extLst>
                  <a:ext uri="{28A0092B-C50C-407E-A947-70E740481C1C}">
                    <a14:useLocalDpi xmlns:a14="http://schemas.microsoft.com/office/drawing/2010/main" val="0"/>
                  </a:ext>
                </a:extLst>
              </a:blip>
              <a:stretch>
                <a:fillRect/>
              </a:stretch>
            </p:blipFill>
            <p:spPr>
              <a:xfrm>
                <a:off x="3533110" y="1905041"/>
                <a:ext cx="289802" cy="289802"/>
              </a:xfrm>
              <a:prstGeom prst="rect">
                <a:avLst/>
              </a:prstGeom>
            </p:spPr>
          </p:pic>
        </p:grpSp>
        <p:grpSp>
          <p:nvGrpSpPr>
            <p:cNvPr id="345" name="Group 344"/>
            <p:cNvGrpSpPr/>
            <p:nvPr/>
          </p:nvGrpSpPr>
          <p:grpSpPr>
            <a:xfrm>
              <a:off x="3067950" y="1417769"/>
              <a:ext cx="1007741" cy="320053"/>
              <a:chOff x="3509738" y="2393814"/>
              <a:chExt cx="1007741" cy="320053"/>
            </a:xfrm>
          </p:grpSpPr>
          <p:sp>
            <p:nvSpPr>
              <p:cNvPr id="147" name="TextBox 146"/>
              <p:cNvSpPr txBox="1"/>
              <p:nvPr/>
            </p:nvSpPr>
            <p:spPr>
              <a:xfrm>
                <a:off x="3858323" y="2393814"/>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3509738" y="2410331"/>
                <a:ext cx="303536" cy="303536"/>
              </a:xfrm>
              <a:prstGeom prst="rect">
                <a:avLst/>
              </a:prstGeom>
            </p:spPr>
          </p:pic>
        </p:grpSp>
        <p:grpSp>
          <p:nvGrpSpPr>
            <p:cNvPr id="346" name="Group 345"/>
            <p:cNvGrpSpPr/>
            <p:nvPr/>
          </p:nvGrpSpPr>
          <p:grpSpPr>
            <a:xfrm>
              <a:off x="3968400" y="1441331"/>
              <a:ext cx="1000660" cy="336792"/>
              <a:chOff x="4132786" y="2407102"/>
              <a:chExt cx="1000660" cy="336792"/>
            </a:xfrm>
          </p:grpSpPr>
          <p:sp>
            <p:nvSpPr>
              <p:cNvPr id="149" name="TextBox 148"/>
              <p:cNvSpPr txBox="1"/>
              <p:nvPr/>
            </p:nvSpPr>
            <p:spPr>
              <a:xfrm>
                <a:off x="4474290" y="2442788"/>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moteApp</a:t>
                </a:r>
              </a:p>
            </p:txBody>
          </p:sp>
          <p:pic>
            <p:nvPicPr>
              <p:cNvPr id="150" name="Picture 149"/>
              <p:cNvPicPr>
                <a:picLocks noChangeAspect="1"/>
              </p:cNvPicPr>
              <p:nvPr/>
            </p:nvPicPr>
            <p:blipFill>
              <a:blip r:embed="rId36" cstate="print">
                <a:biLevel thresh="25000"/>
                <a:extLst>
                  <a:ext uri="{28A0092B-C50C-407E-A947-70E740481C1C}">
                    <a14:useLocalDpi xmlns:a14="http://schemas.microsoft.com/office/drawing/2010/main" val="0"/>
                  </a:ext>
                </a:extLst>
              </a:blip>
              <a:stretch>
                <a:fillRect/>
              </a:stretch>
            </p:blipFill>
            <p:spPr>
              <a:xfrm>
                <a:off x="4132786" y="2407102"/>
                <a:ext cx="291655" cy="291656"/>
              </a:xfrm>
              <a:prstGeom prst="rect">
                <a:avLst/>
              </a:prstGeom>
            </p:spPr>
          </p:pic>
        </p:grpSp>
        <p:sp>
          <p:nvSpPr>
            <p:cNvPr id="349" name="TextBox 348"/>
            <p:cNvSpPr txBox="1"/>
            <p:nvPr/>
          </p:nvSpPr>
          <p:spPr>
            <a:xfrm>
              <a:off x="4306833" y="873437"/>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3964782" y="857249"/>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chemeClr val="bg1"/>
                </a:solidFill>
                <a:latin typeface="+mj-lt"/>
                <a:ea typeface="Segoe UI" pitchFamily="34" charset="0"/>
                <a:cs typeface="Segoe UI" pitchFamily="34" charset="0"/>
              </a:endParaRPr>
            </a:p>
          </p:txBody>
        </p:sp>
      </p:grpSp>
      <p:grpSp>
        <p:nvGrpSpPr>
          <p:cNvPr id="375" name="Group 374"/>
          <p:cNvGrpSpPr/>
          <p:nvPr/>
        </p:nvGrpSpPr>
        <p:grpSpPr>
          <a:xfrm>
            <a:off x="4148047" y="2960397"/>
            <a:ext cx="2309188" cy="1404818"/>
            <a:chOff x="8271660" y="469727"/>
            <a:chExt cx="2355492" cy="1432988"/>
          </a:xfrm>
        </p:grpSpPr>
        <p:sp>
          <p:nvSpPr>
            <p:cNvPr id="42" name="Rectangle 41"/>
            <p:cNvSpPr/>
            <p:nvPr/>
          </p:nvSpPr>
          <p:spPr bwMode="auto">
            <a:xfrm>
              <a:off x="8271660" y="469727"/>
              <a:ext cx="2355492"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Developer Services</a:t>
              </a:r>
            </a:p>
          </p:txBody>
        </p:sp>
        <p:grpSp>
          <p:nvGrpSpPr>
            <p:cNvPr id="144" name="Group 143"/>
            <p:cNvGrpSpPr/>
            <p:nvPr/>
          </p:nvGrpSpPr>
          <p:grpSpPr>
            <a:xfrm>
              <a:off x="8403450" y="918721"/>
              <a:ext cx="1016238" cy="309095"/>
              <a:chOff x="9025071" y="1995491"/>
              <a:chExt cx="1016238" cy="309095"/>
            </a:xfrm>
          </p:grpSpPr>
          <p:sp>
            <p:nvSpPr>
              <p:cNvPr id="167" name="TextBox 166"/>
              <p:cNvSpPr txBox="1"/>
              <p:nvPr/>
            </p:nvSpPr>
            <p:spPr>
              <a:xfrm>
                <a:off x="9371926" y="2054561"/>
                <a:ext cx="669383" cy="250025"/>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37" cstate="print">
                <a:biLevel thresh="25000"/>
                <a:extLst>
                  <a:ext uri="{28A0092B-C50C-407E-A947-70E740481C1C}">
                    <a14:useLocalDpi xmlns:a14="http://schemas.microsoft.com/office/drawing/2010/main" val="0"/>
                  </a:ext>
                </a:extLst>
              </a:blip>
              <a:stretch>
                <a:fillRect/>
              </a:stretch>
            </p:blipFill>
            <p:spPr>
              <a:xfrm>
                <a:off x="9025071" y="1995491"/>
                <a:ext cx="290489" cy="290489"/>
              </a:xfrm>
              <a:prstGeom prst="rect">
                <a:avLst/>
              </a:prstGeom>
            </p:spPr>
          </p:pic>
        </p:grpSp>
        <p:grpSp>
          <p:nvGrpSpPr>
            <p:cNvPr id="363" name="Group 362"/>
            <p:cNvGrpSpPr/>
            <p:nvPr/>
          </p:nvGrpSpPr>
          <p:grpSpPr>
            <a:xfrm>
              <a:off x="9485139" y="1461008"/>
              <a:ext cx="1033718" cy="308062"/>
              <a:chOff x="10156761" y="2537778"/>
              <a:chExt cx="1033718" cy="308062"/>
            </a:xfrm>
          </p:grpSpPr>
          <p:sp>
            <p:nvSpPr>
              <p:cNvPr id="169" name="TextBox 168"/>
              <p:cNvSpPr txBox="1"/>
              <p:nvPr/>
            </p:nvSpPr>
            <p:spPr>
              <a:xfrm>
                <a:off x="10531323" y="2544735"/>
                <a:ext cx="659156" cy="301105"/>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10156761" y="2537778"/>
                <a:ext cx="292274" cy="292274"/>
              </a:xfrm>
              <a:prstGeom prst="rect">
                <a:avLst/>
              </a:prstGeom>
            </p:spPr>
          </p:pic>
        </p:grpSp>
        <p:grpSp>
          <p:nvGrpSpPr>
            <p:cNvPr id="361" name="Group 360"/>
            <p:cNvGrpSpPr/>
            <p:nvPr/>
          </p:nvGrpSpPr>
          <p:grpSpPr>
            <a:xfrm>
              <a:off x="9501495" y="894448"/>
              <a:ext cx="896892" cy="311069"/>
              <a:chOff x="10173117" y="1971218"/>
              <a:chExt cx="896892" cy="311069"/>
            </a:xfrm>
          </p:grpSpPr>
          <p:pic>
            <p:nvPicPr>
              <p:cNvPr id="273" name="Picture 272"/>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10173117" y="1979632"/>
                <a:ext cx="302655" cy="302655"/>
              </a:xfrm>
              <a:prstGeom prst="rect">
                <a:avLst/>
              </a:prstGeom>
            </p:spPr>
          </p:pic>
          <p:sp>
            <p:nvSpPr>
              <p:cNvPr id="274" name="TextBox 273"/>
              <p:cNvSpPr txBox="1"/>
              <p:nvPr/>
            </p:nvSpPr>
            <p:spPr>
              <a:xfrm>
                <a:off x="10528812" y="1971218"/>
                <a:ext cx="541197" cy="250025"/>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DK</a:t>
                </a:r>
              </a:p>
            </p:txBody>
          </p:sp>
        </p:grpSp>
        <p:grpSp>
          <p:nvGrpSpPr>
            <p:cNvPr id="374" name="Group 373"/>
            <p:cNvGrpSpPr/>
            <p:nvPr/>
          </p:nvGrpSpPr>
          <p:grpSpPr>
            <a:xfrm>
              <a:off x="8403428" y="1416107"/>
              <a:ext cx="1007716" cy="307161"/>
              <a:chOff x="8298657" y="1416107"/>
              <a:chExt cx="1007716" cy="307161"/>
            </a:xfrm>
          </p:grpSpPr>
          <p:sp>
            <p:nvSpPr>
              <p:cNvPr id="239" name="TextBox 238"/>
              <p:cNvSpPr txBox="1"/>
              <p:nvPr/>
            </p:nvSpPr>
            <p:spPr>
              <a:xfrm>
                <a:off x="8645535" y="1473243"/>
                <a:ext cx="660838" cy="250025"/>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S Online</a:t>
                </a:r>
              </a:p>
            </p:txBody>
          </p:sp>
          <p:sp>
            <p:nvSpPr>
              <p:cNvPr id="371" name="Freeform 370"/>
              <p:cNvSpPr/>
              <p:nvPr/>
            </p:nvSpPr>
            <p:spPr bwMode="auto">
              <a:xfrm>
                <a:off x="8298657" y="1416107"/>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chemeClr val="bg1"/>
                  </a:solidFill>
                  <a:latin typeface="+mj-lt"/>
                  <a:ea typeface="Segoe UI" pitchFamily="34" charset="0"/>
                  <a:cs typeface="Segoe UI" pitchFamily="34" charset="0"/>
                </a:endParaRPr>
              </a:p>
            </p:txBody>
          </p:sp>
        </p:grpSp>
      </p:grpSp>
      <p:grpSp>
        <p:nvGrpSpPr>
          <p:cNvPr id="15" name="Group 14"/>
          <p:cNvGrpSpPr/>
          <p:nvPr/>
        </p:nvGrpSpPr>
        <p:grpSpPr>
          <a:xfrm>
            <a:off x="1495750" y="5134866"/>
            <a:ext cx="844806" cy="349066"/>
            <a:chOff x="1815887" y="5237334"/>
            <a:chExt cx="861746" cy="356066"/>
          </a:xfrm>
        </p:grpSpPr>
        <p:sp>
          <p:nvSpPr>
            <p:cNvPr id="62" name="Rectangle 61"/>
            <p:cNvSpPr/>
            <p:nvPr/>
          </p:nvSpPr>
          <p:spPr bwMode="auto">
            <a:xfrm>
              <a:off x="1815887" y="5237334"/>
              <a:ext cx="861746"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Container</a:t>
              </a:r>
            </a:p>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Service</a:t>
              </a:r>
            </a:p>
          </p:txBody>
        </p:sp>
        <p:grpSp>
          <p:nvGrpSpPr>
            <p:cNvPr id="412" name="Group 411"/>
            <p:cNvGrpSpPr/>
            <p:nvPr/>
          </p:nvGrpSpPr>
          <p:grpSpPr>
            <a:xfrm>
              <a:off x="1854319" y="5310201"/>
              <a:ext cx="221053" cy="170255"/>
              <a:chOff x="1410342" y="5288934"/>
              <a:chExt cx="294653" cy="226942"/>
            </a:xfrm>
          </p:grpSpPr>
          <p:grpSp>
            <p:nvGrpSpPr>
              <p:cNvPr id="402" name="Group 401"/>
              <p:cNvGrpSpPr/>
              <p:nvPr/>
            </p:nvGrpSpPr>
            <p:grpSpPr>
              <a:xfrm>
                <a:off x="1428991" y="5308456"/>
                <a:ext cx="97032" cy="104039"/>
                <a:chOff x="1286878" y="3925073"/>
                <a:chExt cx="291844" cy="312918"/>
              </a:xfrm>
              <a:solidFill>
                <a:schemeClr val="bg1"/>
              </a:solidFill>
            </p:grpSpPr>
            <p:sp>
              <p:nvSpPr>
                <p:cNvPr id="397" name="Diamond 396"/>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chemeClr val="bg1"/>
                    </a:solidFill>
                    <a:latin typeface="+mj-lt"/>
                    <a:ea typeface="Segoe UI" pitchFamily="34" charset="0"/>
                    <a:cs typeface="Segoe UI" pitchFamily="34" charset="0"/>
                  </a:endParaRPr>
                </a:p>
              </p:txBody>
            </p:sp>
            <p:sp>
              <p:nvSpPr>
                <p:cNvPr id="398" name="Diamond 397"/>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chemeClr val="bg1"/>
                    </a:solidFill>
                    <a:latin typeface="+mj-lt"/>
                    <a:ea typeface="Segoe UI" pitchFamily="34" charset="0"/>
                    <a:cs typeface="Segoe UI" pitchFamily="34" charset="0"/>
                  </a:endParaRPr>
                </a:p>
              </p:txBody>
            </p:sp>
            <p:sp>
              <p:nvSpPr>
                <p:cNvPr id="399" name="Diamond 398"/>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chemeClr val="bg1"/>
                    </a:solidFill>
                    <a:latin typeface="+mj-lt"/>
                    <a:ea typeface="Segoe UI" pitchFamily="34" charset="0"/>
                    <a:cs typeface="Segoe UI" pitchFamily="34" charset="0"/>
                  </a:endParaRPr>
                </a:p>
              </p:txBody>
            </p:sp>
          </p:grpSp>
          <p:sp>
            <p:nvSpPr>
              <p:cNvPr id="403" name="Rounded Rectangle 402"/>
              <p:cNvSpPr/>
              <p:nvPr/>
            </p:nvSpPr>
            <p:spPr bwMode="auto">
              <a:xfrm>
                <a:off x="1410342" y="5288934"/>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chemeClr val="bg1"/>
                  </a:solidFill>
                  <a:latin typeface="+mj-lt"/>
                  <a:ea typeface="Segoe UI" pitchFamily="34" charset="0"/>
                  <a:cs typeface="Segoe UI" pitchFamily="34" charset="0"/>
                </a:endParaRPr>
              </a:p>
            </p:txBody>
          </p:sp>
          <p:grpSp>
            <p:nvGrpSpPr>
              <p:cNvPr id="404" name="Group 403"/>
              <p:cNvGrpSpPr/>
              <p:nvPr/>
            </p:nvGrpSpPr>
            <p:grpSpPr>
              <a:xfrm>
                <a:off x="1573839" y="5308987"/>
                <a:ext cx="97032" cy="104039"/>
                <a:chOff x="1286878" y="3925073"/>
                <a:chExt cx="291844" cy="312918"/>
              </a:xfrm>
              <a:solidFill>
                <a:schemeClr val="bg1"/>
              </a:solidFill>
            </p:grpSpPr>
            <p:sp>
              <p:nvSpPr>
                <p:cNvPr id="405" name="Diamond 404"/>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chemeClr val="bg1"/>
                    </a:solidFill>
                    <a:latin typeface="+mj-lt"/>
                    <a:ea typeface="Segoe UI" pitchFamily="34" charset="0"/>
                    <a:cs typeface="Segoe UI" pitchFamily="34" charset="0"/>
                  </a:endParaRPr>
                </a:p>
              </p:txBody>
            </p:sp>
            <p:sp>
              <p:nvSpPr>
                <p:cNvPr id="406" name="Diamond 405"/>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chemeClr val="bg1"/>
                    </a:solidFill>
                    <a:latin typeface="+mj-lt"/>
                    <a:ea typeface="Segoe UI" pitchFamily="34" charset="0"/>
                    <a:cs typeface="Segoe UI" pitchFamily="34" charset="0"/>
                  </a:endParaRPr>
                </a:p>
              </p:txBody>
            </p:sp>
            <p:sp>
              <p:nvSpPr>
                <p:cNvPr id="407" name="Diamond 406"/>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chemeClr val="bg1"/>
                    </a:solidFill>
                    <a:latin typeface="+mj-lt"/>
                    <a:ea typeface="Segoe UI" pitchFamily="34" charset="0"/>
                    <a:cs typeface="Segoe UI" pitchFamily="34" charset="0"/>
                  </a:endParaRPr>
                </a:p>
              </p:txBody>
            </p:sp>
          </p:grpSp>
          <p:grpSp>
            <p:nvGrpSpPr>
              <p:cNvPr id="408" name="Group 407"/>
              <p:cNvGrpSpPr/>
              <p:nvPr/>
            </p:nvGrpSpPr>
            <p:grpSpPr>
              <a:xfrm>
                <a:off x="1505369" y="5390438"/>
                <a:ext cx="97032" cy="104039"/>
                <a:chOff x="1286878" y="3925073"/>
                <a:chExt cx="291844" cy="312918"/>
              </a:xfrm>
              <a:solidFill>
                <a:schemeClr val="bg1"/>
              </a:solidFill>
            </p:grpSpPr>
            <p:sp>
              <p:nvSpPr>
                <p:cNvPr id="409" name="Diamond 408"/>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chemeClr val="bg1"/>
                    </a:solidFill>
                    <a:latin typeface="+mj-lt"/>
                    <a:ea typeface="Segoe UI" pitchFamily="34" charset="0"/>
                    <a:cs typeface="Segoe UI" pitchFamily="34" charset="0"/>
                  </a:endParaRPr>
                </a:p>
              </p:txBody>
            </p:sp>
            <p:sp>
              <p:nvSpPr>
                <p:cNvPr id="410" name="Diamond 409"/>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chemeClr val="bg1"/>
                    </a:solidFill>
                    <a:latin typeface="+mj-lt"/>
                    <a:ea typeface="Segoe UI" pitchFamily="34" charset="0"/>
                    <a:cs typeface="Segoe UI" pitchFamily="34" charset="0"/>
                  </a:endParaRPr>
                </a:p>
              </p:txBody>
            </p:sp>
            <p:sp>
              <p:nvSpPr>
                <p:cNvPr id="411" name="Diamond 410"/>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chemeClr val="bg1"/>
                    </a:solidFill>
                    <a:latin typeface="+mj-lt"/>
                    <a:ea typeface="Segoe UI" pitchFamily="34" charset="0"/>
                    <a:cs typeface="Segoe UI" pitchFamily="34" charset="0"/>
                  </a:endParaRPr>
                </a:p>
              </p:txBody>
            </p:sp>
          </p:grpSp>
        </p:grpSp>
      </p:grpSp>
      <p:grpSp>
        <p:nvGrpSpPr>
          <p:cNvPr id="23" name="Group 22"/>
          <p:cNvGrpSpPr/>
          <p:nvPr/>
        </p:nvGrpSpPr>
        <p:grpSpPr>
          <a:xfrm>
            <a:off x="7657563" y="5128638"/>
            <a:ext cx="677714" cy="339616"/>
            <a:chOff x="7811112" y="5230981"/>
            <a:chExt cx="691304" cy="346426"/>
          </a:xfrm>
        </p:grpSpPr>
        <p:sp>
          <p:nvSpPr>
            <p:cNvPr id="30" name="Rectangle 29"/>
            <p:cNvSpPr/>
            <p:nvPr/>
          </p:nvSpPr>
          <p:spPr bwMode="auto">
            <a:xfrm>
              <a:off x="7811112" y="5230981"/>
              <a:ext cx="691304"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DNS</a:t>
              </a:r>
            </a:p>
          </p:txBody>
        </p:sp>
        <p:pic>
          <p:nvPicPr>
            <p:cNvPr id="4" name="Picture 3"/>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7860724" y="5289060"/>
              <a:ext cx="211665" cy="211665"/>
            </a:xfrm>
            <a:prstGeom prst="rect">
              <a:avLst/>
            </a:prstGeom>
          </p:spPr>
        </p:pic>
      </p:grpSp>
      <p:grpSp>
        <p:nvGrpSpPr>
          <p:cNvPr id="240" name="Group 239"/>
          <p:cNvGrpSpPr/>
          <p:nvPr/>
        </p:nvGrpSpPr>
        <p:grpSpPr>
          <a:xfrm>
            <a:off x="10252661" y="5128638"/>
            <a:ext cx="853288" cy="339616"/>
            <a:chOff x="10458248" y="5230981"/>
            <a:chExt cx="870398" cy="346426"/>
          </a:xfrm>
        </p:grpSpPr>
        <p:sp>
          <p:nvSpPr>
            <p:cNvPr id="34" name="Rectangle 33"/>
            <p:cNvSpPr/>
            <p:nvPr/>
          </p:nvSpPr>
          <p:spPr bwMode="auto">
            <a:xfrm>
              <a:off x="10458248"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VPN Gateway</a:t>
              </a:r>
            </a:p>
          </p:txBody>
        </p:sp>
        <p:pic>
          <p:nvPicPr>
            <p:cNvPr id="10" name="Picture 9"/>
            <p:cNvPicPr>
              <a:picLocks noChangeAspect="1"/>
            </p:cNvPicPr>
            <p:nvPr/>
          </p:nvPicPr>
          <p:blipFill>
            <a:blip r:embed="rId41" cstate="print">
              <a:biLevel thresh="25000"/>
              <a:extLst>
                <a:ext uri="{28A0092B-C50C-407E-A947-70E740481C1C}">
                  <a14:useLocalDpi xmlns:a14="http://schemas.microsoft.com/office/drawing/2010/main" val="0"/>
                </a:ext>
              </a:extLst>
            </a:blip>
            <a:stretch>
              <a:fillRect/>
            </a:stretch>
          </p:blipFill>
          <p:spPr>
            <a:xfrm>
              <a:off x="10460633" y="5267779"/>
              <a:ext cx="241495" cy="241495"/>
            </a:xfrm>
            <a:prstGeom prst="rect">
              <a:avLst/>
            </a:prstGeom>
          </p:spPr>
        </p:pic>
      </p:grpSp>
      <p:grpSp>
        <p:nvGrpSpPr>
          <p:cNvPr id="21" name="Group 20"/>
          <p:cNvGrpSpPr/>
          <p:nvPr/>
        </p:nvGrpSpPr>
        <p:grpSpPr>
          <a:xfrm>
            <a:off x="6812467" y="5128963"/>
            <a:ext cx="813311" cy="339375"/>
            <a:chOff x="6949070" y="5231313"/>
            <a:chExt cx="829620" cy="346180"/>
          </a:xfrm>
        </p:grpSpPr>
        <p:sp>
          <p:nvSpPr>
            <p:cNvPr id="29" name="Rectangle 28"/>
            <p:cNvSpPr/>
            <p:nvPr/>
          </p:nvSpPr>
          <p:spPr bwMode="auto">
            <a:xfrm>
              <a:off x="6949070" y="5231313"/>
              <a:ext cx="829620"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pPr>
              <a:r>
                <a:rPr lang="en-US" sz="784" kern="0" dirty="0">
                  <a:gradFill>
                    <a:gsLst>
                      <a:gs pos="0">
                        <a:srgbClr val="FFFFFF"/>
                      </a:gs>
                      <a:gs pos="100000">
                        <a:srgbClr val="FFFFFF"/>
                      </a:gs>
                    </a:gsLst>
                    <a:lin ang="5400000" scaled="0"/>
                  </a:gradFill>
                  <a:ea typeface="Segoe UI" pitchFamily="34" charset="0"/>
                  <a:cs typeface="Segoe UI" pitchFamily="34" charset="0"/>
                </a:rPr>
                <a:t>Load Balancer</a:t>
              </a:r>
            </a:p>
          </p:txBody>
        </p:sp>
        <p:pic>
          <p:nvPicPr>
            <p:cNvPr id="12" name="Picture 11"/>
            <p:cNvPicPr>
              <a:picLocks noChangeAspect="1"/>
            </p:cNvPicPr>
            <p:nvPr/>
          </p:nvPicPr>
          <p:blipFill>
            <a:blip r:embed="rId42" cstate="print">
              <a:biLevel thresh="25000"/>
              <a:extLst>
                <a:ext uri="{28A0092B-C50C-407E-A947-70E740481C1C}">
                  <a14:useLocalDpi xmlns:a14="http://schemas.microsoft.com/office/drawing/2010/main" val="0"/>
                </a:ext>
              </a:extLst>
            </a:blip>
            <a:stretch>
              <a:fillRect/>
            </a:stretch>
          </p:blipFill>
          <p:spPr>
            <a:xfrm>
              <a:off x="6988668" y="5270432"/>
              <a:ext cx="238842" cy="238842"/>
            </a:xfrm>
            <a:prstGeom prst="rect">
              <a:avLst/>
            </a:prstGeom>
          </p:spPr>
        </p:pic>
      </p:grpSp>
      <p:grpSp>
        <p:nvGrpSpPr>
          <p:cNvPr id="243" name="Group 242"/>
          <p:cNvGrpSpPr/>
          <p:nvPr/>
        </p:nvGrpSpPr>
        <p:grpSpPr>
          <a:xfrm>
            <a:off x="10497842" y="2011498"/>
            <a:ext cx="992677" cy="315111"/>
            <a:chOff x="6813227" y="457506"/>
            <a:chExt cx="1012582" cy="321430"/>
          </a:xfrm>
        </p:grpSpPr>
        <p:sp>
          <p:nvSpPr>
            <p:cNvPr id="244" name="TextBox 243"/>
            <p:cNvSpPr txBox="1"/>
            <p:nvPr/>
          </p:nvSpPr>
          <p:spPr>
            <a:xfrm>
              <a:off x="7166653" y="477831"/>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main Services </a:t>
              </a:r>
              <a:b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45" name="Picture 244"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63" name="Group 62"/>
          <p:cNvGrpSpPr/>
          <p:nvPr/>
        </p:nvGrpSpPr>
        <p:grpSpPr>
          <a:xfrm>
            <a:off x="6613768" y="2422038"/>
            <a:ext cx="3645276" cy="1943177"/>
            <a:chOff x="6746387" y="2470108"/>
            <a:chExt cx="3718371" cy="1982142"/>
          </a:xfrm>
        </p:grpSpPr>
        <p:sp>
          <p:nvSpPr>
            <p:cNvPr id="39" name="Rectangle 38"/>
            <p:cNvSpPr/>
            <p:nvPr/>
          </p:nvSpPr>
          <p:spPr bwMode="auto">
            <a:xfrm>
              <a:off x="6746387" y="2470108"/>
              <a:ext cx="3525541" cy="1982142"/>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176" b="1" kern="0" dirty="0">
                  <a:gradFill>
                    <a:gsLst>
                      <a:gs pos="0">
                        <a:srgbClr val="FFFFFF"/>
                      </a:gs>
                      <a:gs pos="100000">
                        <a:srgbClr val="FFFFFF"/>
                      </a:gs>
                    </a:gsLst>
                    <a:lin ang="5400000" scaled="0"/>
                  </a:gradFill>
                  <a:ea typeface="Segoe UI" pitchFamily="34" charset="0"/>
                  <a:cs typeface="Segoe UI" pitchFamily="34" charset="0"/>
                </a:rPr>
                <a:t>Analytics &amp; </a:t>
              </a:r>
              <a:r>
                <a:rPr lang="en-US" sz="1176" b="1" kern="0" dirty="0" err="1">
                  <a:gradFill>
                    <a:gsLst>
                      <a:gs pos="0">
                        <a:srgbClr val="FFFFFF"/>
                      </a:gs>
                      <a:gs pos="100000">
                        <a:srgbClr val="FFFFFF"/>
                      </a:gs>
                    </a:gsLst>
                    <a:lin ang="5400000" scaled="0"/>
                  </a:gradFill>
                  <a:ea typeface="Segoe UI" pitchFamily="34" charset="0"/>
                  <a:cs typeface="Segoe UI" pitchFamily="34" charset="0"/>
                </a:rPr>
                <a:t>IoT</a:t>
              </a:r>
              <a:endParaRPr lang="en-US" sz="1176" b="1"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381" name="Group 380"/>
            <p:cNvGrpSpPr/>
            <p:nvPr/>
          </p:nvGrpSpPr>
          <p:grpSpPr>
            <a:xfrm>
              <a:off x="6882162" y="2915123"/>
              <a:ext cx="1011681" cy="347362"/>
              <a:chOff x="6000733" y="3432032"/>
              <a:chExt cx="1011681" cy="347362"/>
            </a:xfrm>
          </p:grpSpPr>
          <p:sp>
            <p:nvSpPr>
              <p:cNvPr id="181" name="TextBox 180"/>
              <p:cNvSpPr txBox="1"/>
              <p:nvPr/>
            </p:nvSpPr>
            <p:spPr>
              <a:xfrm>
                <a:off x="6353258" y="3478289"/>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DInsight</a:t>
                </a:r>
              </a:p>
            </p:txBody>
          </p:sp>
          <p:pic>
            <p:nvPicPr>
              <p:cNvPr id="182" name="Picture 181"/>
              <p:cNvPicPr>
                <a:picLocks noChangeAspect="1"/>
              </p:cNvPicPr>
              <p:nvPr/>
            </p:nvPicPr>
            <p:blipFill>
              <a:blip r:embed="rId43" cstate="print">
                <a:biLevel thresh="25000"/>
                <a:extLst>
                  <a:ext uri="{28A0092B-C50C-407E-A947-70E740481C1C}">
                    <a14:useLocalDpi xmlns:a14="http://schemas.microsoft.com/office/drawing/2010/main" val="0"/>
                  </a:ext>
                </a:extLst>
              </a:blip>
              <a:stretch>
                <a:fillRect/>
              </a:stretch>
            </p:blipFill>
            <p:spPr>
              <a:xfrm>
                <a:off x="6000733" y="3432032"/>
                <a:ext cx="296813" cy="296813"/>
              </a:xfrm>
              <a:prstGeom prst="rect">
                <a:avLst/>
              </a:prstGeom>
            </p:spPr>
          </p:pic>
        </p:grpSp>
        <p:grpSp>
          <p:nvGrpSpPr>
            <p:cNvPr id="382" name="Group 381"/>
            <p:cNvGrpSpPr/>
            <p:nvPr/>
          </p:nvGrpSpPr>
          <p:grpSpPr>
            <a:xfrm>
              <a:off x="7737159" y="2963510"/>
              <a:ext cx="951185" cy="301105"/>
              <a:chOff x="6855730" y="3480419"/>
              <a:chExt cx="951185" cy="301105"/>
            </a:xfrm>
          </p:grpSpPr>
          <p:sp>
            <p:nvSpPr>
              <p:cNvPr id="183" name="TextBox 182"/>
              <p:cNvSpPr txBox="1"/>
              <p:nvPr/>
            </p:nvSpPr>
            <p:spPr>
              <a:xfrm>
                <a:off x="7147759" y="3480419"/>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chin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44" cstate="print">
                <a:biLevel thresh="25000"/>
                <a:extLst>
                  <a:ext uri="{28A0092B-C50C-407E-A947-70E740481C1C}">
                    <a14:useLocalDpi xmlns:a14="http://schemas.microsoft.com/office/drawing/2010/main" val="0"/>
                  </a:ext>
                </a:extLst>
              </a:blip>
              <a:stretch>
                <a:fillRect/>
              </a:stretch>
            </p:blipFill>
            <p:spPr>
              <a:xfrm>
                <a:off x="6855730" y="3501575"/>
                <a:ext cx="248544" cy="248544"/>
              </a:xfrm>
              <a:prstGeom prst="rect">
                <a:avLst/>
              </a:prstGeom>
            </p:spPr>
          </p:pic>
        </p:grpSp>
        <p:grpSp>
          <p:nvGrpSpPr>
            <p:cNvPr id="7" name="Group 6"/>
            <p:cNvGrpSpPr/>
            <p:nvPr/>
          </p:nvGrpSpPr>
          <p:grpSpPr>
            <a:xfrm>
              <a:off x="8577295" y="2946728"/>
              <a:ext cx="1002732" cy="320341"/>
              <a:chOff x="8577295" y="3022928"/>
              <a:chExt cx="1002732" cy="320341"/>
            </a:xfrm>
          </p:grpSpPr>
          <p:sp>
            <p:nvSpPr>
              <p:cNvPr id="185" name="TextBox 184"/>
              <p:cNvSpPr txBox="1"/>
              <p:nvPr/>
            </p:nvSpPr>
            <p:spPr>
              <a:xfrm>
                <a:off x="8920871" y="3042164"/>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ream</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186" name="Picture 185"/>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8577295" y="3022928"/>
                <a:ext cx="310547" cy="310546"/>
              </a:xfrm>
              <a:prstGeom prst="rect">
                <a:avLst/>
              </a:prstGeom>
            </p:spPr>
          </p:pic>
        </p:grpSp>
        <p:grpSp>
          <p:nvGrpSpPr>
            <p:cNvPr id="14" name="Group 13"/>
            <p:cNvGrpSpPr/>
            <p:nvPr/>
          </p:nvGrpSpPr>
          <p:grpSpPr>
            <a:xfrm>
              <a:off x="7143622" y="3482597"/>
              <a:ext cx="1002965" cy="334571"/>
              <a:chOff x="6886447" y="3615947"/>
              <a:chExt cx="1002965" cy="334571"/>
            </a:xfrm>
          </p:grpSpPr>
          <p:sp>
            <p:nvSpPr>
              <p:cNvPr id="187" name="TextBox 186"/>
              <p:cNvSpPr txBox="1"/>
              <p:nvPr/>
            </p:nvSpPr>
            <p:spPr>
              <a:xfrm>
                <a:off x="7230256" y="3649413"/>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46" cstate="print">
                <a:biLevel thresh="25000"/>
                <a:extLst>
                  <a:ext uri="{28A0092B-C50C-407E-A947-70E740481C1C}">
                    <a14:useLocalDpi xmlns:a14="http://schemas.microsoft.com/office/drawing/2010/main" val="0"/>
                  </a:ext>
                </a:extLst>
              </a:blip>
              <a:stretch>
                <a:fillRect/>
              </a:stretch>
            </p:blipFill>
            <p:spPr>
              <a:xfrm>
                <a:off x="6886447" y="3615947"/>
                <a:ext cx="302121" cy="302121"/>
              </a:xfrm>
              <a:prstGeom prst="rect">
                <a:avLst/>
              </a:prstGeom>
            </p:spPr>
          </p:pic>
        </p:grpSp>
        <p:grpSp>
          <p:nvGrpSpPr>
            <p:cNvPr id="385" name="Group 384"/>
            <p:cNvGrpSpPr/>
            <p:nvPr/>
          </p:nvGrpSpPr>
          <p:grpSpPr>
            <a:xfrm>
              <a:off x="7981457" y="3490536"/>
              <a:ext cx="1005670" cy="327678"/>
              <a:chOff x="6842853" y="4064595"/>
              <a:chExt cx="1005670" cy="327678"/>
            </a:xfrm>
          </p:grpSpPr>
          <p:sp>
            <p:nvSpPr>
              <p:cNvPr id="189" name="TextBox 188"/>
              <p:cNvSpPr txBox="1"/>
              <p:nvPr/>
            </p:nvSpPr>
            <p:spPr>
              <a:xfrm>
                <a:off x="7189367" y="4091168"/>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vent</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47" cstate="print">
                <a:biLevel thresh="25000"/>
                <a:extLst>
                  <a:ext uri="{28A0092B-C50C-407E-A947-70E740481C1C}">
                    <a14:useLocalDpi xmlns:a14="http://schemas.microsoft.com/office/drawing/2010/main" val="0"/>
                  </a:ext>
                </a:extLst>
              </a:blip>
              <a:stretch>
                <a:fillRect/>
              </a:stretch>
            </p:blipFill>
            <p:spPr>
              <a:xfrm>
                <a:off x="6842853" y="4064595"/>
                <a:ext cx="296417" cy="296417"/>
              </a:xfrm>
              <a:prstGeom prst="rect">
                <a:avLst/>
              </a:prstGeom>
            </p:spPr>
          </p:pic>
        </p:grpSp>
        <p:grpSp>
          <p:nvGrpSpPr>
            <p:cNvPr id="386" name="Group 385"/>
            <p:cNvGrpSpPr/>
            <p:nvPr/>
          </p:nvGrpSpPr>
          <p:grpSpPr>
            <a:xfrm>
              <a:off x="8607766" y="4012490"/>
              <a:ext cx="989338" cy="296656"/>
              <a:chOff x="7373912" y="4453199"/>
              <a:chExt cx="989338" cy="296656"/>
            </a:xfrm>
          </p:grpSpPr>
          <p:sp>
            <p:nvSpPr>
              <p:cNvPr id="191" name="TextBox 190"/>
              <p:cNvSpPr txBox="1"/>
              <p:nvPr/>
            </p:nvSpPr>
            <p:spPr>
              <a:xfrm>
                <a:off x="7704094" y="4468694"/>
                <a:ext cx="659156" cy="258458"/>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ngagement</a:t>
                </a:r>
              </a:p>
            </p:txBody>
          </p:sp>
          <p:pic>
            <p:nvPicPr>
              <p:cNvPr id="192" name="Picture 191"/>
              <p:cNvPicPr>
                <a:picLocks noChangeAspect="1"/>
              </p:cNvPicPr>
              <p:nvPr/>
            </p:nvPicPr>
            <p:blipFill>
              <a:blip r:embed="rId48" cstate="print">
                <a:biLevel thresh="25000"/>
                <a:extLst>
                  <a:ext uri="{28A0092B-C50C-407E-A947-70E740481C1C}">
                    <a14:useLocalDpi xmlns:a14="http://schemas.microsoft.com/office/drawing/2010/main" val="0"/>
                  </a:ext>
                </a:extLst>
              </a:blip>
              <a:stretch>
                <a:fillRect/>
              </a:stretch>
            </p:blipFill>
            <p:spPr>
              <a:xfrm>
                <a:off x="7373912" y="4453199"/>
                <a:ext cx="296656" cy="296656"/>
              </a:xfrm>
              <a:prstGeom prst="rect">
                <a:avLst/>
              </a:prstGeom>
            </p:spPr>
          </p:pic>
        </p:grpSp>
        <p:grpSp>
          <p:nvGrpSpPr>
            <p:cNvPr id="8" name="Group 7"/>
            <p:cNvGrpSpPr/>
            <p:nvPr/>
          </p:nvGrpSpPr>
          <p:grpSpPr>
            <a:xfrm>
              <a:off x="9565545" y="2966401"/>
              <a:ext cx="899213" cy="301105"/>
              <a:chOff x="9565545" y="3042601"/>
              <a:chExt cx="899213" cy="301105"/>
            </a:xfrm>
          </p:grpSpPr>
          <p:sp>
            <p:nvSpPr>
              <p:cNvPr id="251" name="TextBox 250"/>
              <p:cNvSpPr txBox="1"/>
              <p:nvPr/>
            </p:nvSpPr>
            <p:spPr>
              <a:xfrm>
                <a:off x="9805602" y="3042601"/>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ake</a:t>
                </a:r>
              </a:p>
            </p:txBody>
          </p:sp>
          <p:sp>
            <p:nvSpPr>
              <p:cNvPr id="250" name="Freeform 249"/>
              <p:cNvSpPr/>
              <p:nvPr/>
            </p:nvSpPr>
            <p:spPr bwMode="auto">
              <a:xfrm>
                <a:off x="9565545" y="3050497"/>
                <a:ext cx="197023" cy="271168"/>
              </a:xfrm>
              <a:custGeom>
                <a:avLst/>
                <a:gdLst>
                  <a:gd name="connsiteX0" fmla="*/ 438796 w 667945"/>
                  <a:gd name="connsiteY0" fmla="*/ 474896 h 919312"/>
                  <a:gd name="connsiteX1" fmla="*/ 457731 w 667945"/>
                  <a:gd name="connsiteY1" fmla="*/ 501690 h 919312"/>
                  <a:gd name="connsiteX2" fmla="*/ 503146 w 667945"/>
                  <a:gd name="connsiteY2" fmla="*/ 530902 h 919312"/>
                  <a:gd name="connsiteX3" fmla="*/ 556703 w 667945"/>
                  <a:gd name="connsiteY3" fmla="*/ 541217 h 919312"/>
                  <a:gd name="connsiteX4" fmla="*/ 560815 w 667945"/>
                  <a:gd name="connsiteY4" fmla="*/ 541217 h 919312"/>
                  <a:gd name="connsiteX5" fmla="*/ 614373 w 667945"/>
                  <a:gd name="connsiteY5" fmla="*/ 530902 h 919312"/>
                  <a:gd name="connsiteX6" fmla="*/ 659787 w 667945"/>
                  <a:gd name="connsiteY6" fmla="*/ 501690 h 919312"/>
                  <a:gd name="connsiteX7" fmla="*/ 667943 w 667945"/>
                  <a:gd name="connsiteY7" fmla="*/ 490150 h 919312"/>
                  <a:gd name="connsiteX8" fmla="*/ 667943 w 667945"/>
                  <a:gd name="connsiteY8" fmla="*/ 804964 h 919312"/>
                  <a:gd name="connsiteX9" fmla="*/ 665702 w 667945"/>
                  <a:gd name="connsiteY9" fmla="*/ 804964 h 919312"/>
                  <a:gd name="connsiteX10" fmla="*/ 667944 w 667945"/>
                  <a:gd name="connsiteY10" fmla="*/ 812105 h 919312"/>
                  <a:gd name="connsiteX11" fmla="*/ 333972 w 667945"/>
                  <a:gd name="connsiteY11" fmla="*/ 919312 h 919312"/>
                  <a:gd name="connsiteX12" fmla="*/ 0 w 667945"/>
                  <a:gd name="connsiteY12" fmla="*/ 812105 h 919312"/>
                  <a:gd name="connsiteX13" fmla="*/ 2243 w 667945"/>
                  <a:gd name="connsiteY13" fmla="*/ 804964 h 919312"/>
                  <a:gd name="connsiteX14" fmla="*/ 0 w 667945"/>
                  <a:gd name="connsiteY14" fmla="*/ 804964 h 919312"/>
                  <a:gd name="connsiteX15" fmla="*/ 0 w 667945"/>
                  <a:gd name="connsiteY15" fmla="*/ 506436 h 919312"/>
                  <a:gd name="connsiteX16" fmla="*/ 38038 w 667945"/>
                  <a:gd name="connsiteY16" fmla="*/ 530902 h 919312"/>
                  <a:gd name="connsiteX17" fmla="*/ 91595 w 667945"/>
                  <a:gd name="connsiteY17" fmla="*/ 541217 h 919312"/>
                  <a:gd name="connsiteX18" fmla="*/ 95707 w 667945"/>
                  <a:gd name="connsiteY18" fmla="*/ 541217 h 919312"/>
                  <a:gd name="connsiteX19" fmla="*/ 149265 w 667945"/>
                  <a:gd name="connsiteY19" fmla="*/ 530902 h 919312"/>
                  <a:gd name="connsiteX20" fmla="*/ 194679 w 667945"/>
                  <a:gd name="connsiteY20" fmla="*/ 501690 h 919312"/>
                  <a:gd name="connsiteX21" fmla="*/ 206242 w 667945"/>
                  <a:gd name="connsiteY21" fmla="*/ 485329 h 919312"/>
                  <a:gd name="connsiteX22" fmla="*/ 217804 w 667945"/>
                  <a:gd name="connsiteY22" fmla="*/ 501690 h 919312"/>
                  <a:gd name="connsiteX23" fmla="*/ 263219 w 667945"/>
                  <a:gd name="connsiteY23" fmla="*/ 530902 h 919312"/>
                  <a:gd name="connsiteX24" fmla="*/ 316776 w 667945"/>
                  <a:gd name="connsiteY24" fmla="*/ 541217 h 919312"/>
                  <a:gd name="connsiteX25" fmla="*/ 320888 w 667945"/>
                  <a:gd name="connsiteY25" fmla="*/ 541217 h 919312"/>
                  <a:gd name="connsiteX26" fmla="*/ 374446 w 667945"/>
                  <a:gd name="connsiteY26" fmla="*/ 530902 h 919312"/>
                  <a:gd name="connsiteX27" fmla="*/ 419860 w 667945"/>
                  <a:gd name="connsiteY27" fmla="*/ 501690 h 919312"/>
                  <a:gd name="connsiteX28" fmla="*/ 333973 w 667945"/>
                  <a:gd name="connsiteY28" fmla="*/ 35821 h 919312"/>
                  <a:gd name="connsiteX29" fmla="*/ 95251 w 667945"/>
                  <a:gd name="connsiteY29" fmla="*/ 106570 h 919312"/>
                  <a:gd name="connsiteX30" fmla="*/ 333973 w 667945"/>
                  <a:gd name="connsiteY30" fmla="*/ 177319 h 919312"/>
                  <a:gd name="connsiteX31" fmla="*/ 572695 w 667945"/>
                  <a:gd name="connsiteY31" fmla="*/ 106570 h 919312"/>
                  <a:gd name="connsiteX32" fmla="*/ 333973 w 667945"/>
                  <a:gd name="connsiteY32" fmla="*/ 35821 h 919312"/>
                  <a:gd name="connsiteX33" fmla="*/ 333973 w 667945"/>
                  <a:gd name="connsiteY33" fmla="*/ 0 h 919312"/>
                  <a:gd name="connsiteX34" fmla="*/ 661160 w 667945"/>
                  <a:gd name="connsiteY34" fmla="*/ 85601 h 919312"/>
                  <a:gd name="connsiteX35" fmla="*/ 667213 w 667945"/>
                  <a:gd name="connsiteY35" fmla="*/ 104877 h 919312"/>
                  <a:gd name="connsiteX36" fmla="*/ 667943 w 667945"/>
                  <a:gd name="connsiteY36" fmla="*/ 104877 h 919312"/>
                  <a:gd name="connsiteX37" fmla="*/ 667943 w 667945"/>
                  <a:gd name="connsiteY37" fmla="*/ 107201 h 919312"/>
                  <a:gd name="connsiteX38" fmla="*/ 667945 w 667945"/>
                  <a:gd name="connsiteY38" fmla="*/ 107207 h 919312"/>
                  <a:gd name="connsiteX39" fmla="*/ 667943 w 667945"/>
                  <a:gd name="connsiteY39" fmla="*/ 107214 h 919312"/>
                  <a:gd name="connsiteX40" fmla="*/ 667943 w 667945"/>
                  <a:gd name="connsiteY40" fmla="*/ 410649 h 919312"/>
                  <a:gd name="connsiteX41" fmla="*/ 659788 w 667945"/>
                  <a:gd name="connsiteY41" fmla="*/ 422188 h 919312"/>
                  <a:gd name="connsiteX42" fmla="*/ 558760 w 667945"/>
                  <a:gd name="connsiteY42" fmla="*/ 462111 h 919312"/>
                  <a:gd name="connsiteX43" fmla="*/ 457732 w 667945"/>
                  <a:gd name="connsiteY43" fmla="*/ 422188 h 919312"/>
                  <a:gd name="connsiteX44" fmla="*/ 438797 w 667945"/>
                  <a:gd name="connsiteY44" fmla="*/ 395394 h 919312"/>
                  <a:gd name="connsiteX45" fmla="*/ 419861 w 667945"/>
                  <a:gd name="connsiteY45" fmla="*/ 422188 h 919312"/>
                  <a:gd name="connsiteX46" fmla="*/ 318833 w 667945"/>
                  <a:gd name="connsiteY46" fmla="*/ 462111 h 919312"/>
                  <a:gd name="connsiteX47" fmla="*/ 217805 w 667945"/>
                  <a:gd name="connsiteY47" fmla="*/ 422188 h 919312"/>
                  <a:gd name="connsiteX48" fmla="*/ 206243 w 667945"/>
                  <a:gd name="connsiteY48" fmla="*/ 405827 h 919312"/>
                  <a:gd name="connsiteX49" fmla="*/ 194680 w 667945"/>
                  <a:gd name="connsiteY49" fmla="*/ 422188 h 919312"/>
                  <a:gd name="connsiteX50" fmla="*/ 93652 w 667945"/>
                  <a:gd name="connsiteY50" fmla="*/ 462111 h 919312"/>
                  <a:gd name="connsiteX51" fmla="*/ 38039 w 667945"/>
                  <a:gd name="connsiteY51" fmla="*/ 451400 h 919312"/>
                  <a:gd name="connsiteX52" fmla="*/ 0 w 667945"/>
                  <a:gd name="connsiteY52" fmla="*/ 426933 h 919312"/>
                  <a:gd name="connsiteX53" fmla="*/ 0 w 667945"/>
                  <a:gd name="connsiteY53" fmla="*/ 104877 h 919312"/>
                  <a:gd name="connsiteX54" fmla="*/ 733 w 667945"/>
                  <a:gd name="connsiteY54" fmla="*/ 104877 h 919312"/>
                  <a:gd name="connsiteX55" fmla="*/ 6786 w 667945"/>
                  <a:gd name="connsiteY55" fmla="*/ 85601 h 919312"/>
                  <a:gd name="connsiteX56" fmla="*/ 333973 w 667945"/>
                  <a:gd name="connsiteY56" fmla="*/ 0 h 919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67945" h="919312">
                    <a:moveTo>
                      <a:pt x="438796" y="474896"/>
                    </a:moveTo>
                    <a:lnTo>
                      <a:pt x="457731" y="501690"/>
                    </a:lnTo>
                    <a:cubicBezTo>
                      <a:pt x="470659" y="514024"/>
                      <a:pt x="486052" y="524004"/>
                      <a:pt x="503146" y="530902"/>
                    </a:cubicBezTo>
                    <a:lnTo>
                      <a:pt x="556703" y="541217"/>
                    </a:lnTo>
                    <a:lnTo>
                      <a:pt x="560815" y="541217"/>
                    </a:lnTo>
                    <a:lnTo>
                      <a:pt x="614373" y="530902"/>
                    </a:lnTo>
                    <a:cubicBezTo>
                      <a:pt x="631466" y="524004"/>
                      <a:pt x="646860" y="514024"/>
                      <a:pt x="659787" y="501690"/>
                    </a:cubicBezTo>
                    <a:lnTo>
                      <a:pt x="667943" y="490150"/>
                    </a:lnTo>
                    <a:lnTo>
                      <a:pt x="667943" y="804964"/>
                    </a:lnTo>
                    <a:lnTo>
                      <a:pt x="665702" y="804964"/>
                    </a:lnTo>
                    <a:lnTo>
                      <a:pt x="667944" y="812105"/>
                    </a:lnTo>
                    <a:cubicBezTo>
                      <a:pt x="667944" y="871314"/>
                      <a:pt x="518420" y="919312"/>
                      <a:pt x="333972" y="919312"/>
                    </a:cubicBezTo>
                    <a:cubicBezTo>
                      <a:pt x="149524" y="919312"/>
                      <a:pt x="0" y="871314"/>
                      <a:pt x="0" y="812105"/>
                    </a:cubicBezTo>
                    <a:lnTo>
                      <a:pt x="2243" y="804964"/>
                    </a:lnTo>
                    <a:lnTo>
                      <a:pt x="0" y="804964"/>
                    </a:lnTo>
                    <a:lnTo>
                      <a:pt x="0" y="506436"/>
                    </a:lnTo>
                    <a:lnTo>
                      <a:pt x="38038" y="530902"/>
                    </a:lnTo>
                    <a:lnTo>
                      <a:pt x="91595" y="541217"/>
                    </a:lnTo>
                    <a:lnTo>
                      <a:pt x="95707" y="541217"/>
                    </a:lnTo>
                    <a:lnTo>
                      <a:pt x="149265" y="530902"/>
                    </a:lnTo>
                    <a:cubicBezTo>
                      <a:pt x="166358" y="524004"/>
                      <a:pt x="181752" y="514024"/>
                      <a:pt x="194679" y="501690"/>
                    </a:cubicBezTo>
                    <a:lnTo>
                      <a:pt x="206242" y="485329"/>
                    </a:lnTo>
                    <a:lnTo>
                      <a:pt x="217804" y="501690"/>
                    </a:lnTo>
                    <a:cubicBezTo>
                      <a:pt x="230732" y="514024"/>
                      <a:pt x="246125" y="524004"/>
                      <a:pt x="263219" y="530902"/>
                    </a:cubicBezTo>
                    <a:lnTo>
                      <a:pt x="316776" y="541217"/>
                    </a:lnTo>
                    <a:lnTo>
                      <a:pt x="320888" y="541217"/>
                    </a:lnTo>
                    <a:lnTo>
                      <a:pt x="374446" y="530902"/>
                    </a:lnTo>
                    <a:cubicBezTo>
                      <a:pt x="391539" y="524004"/>
                      <a:pt x="406933" y="514024"/>
                      <a:pt x="419860" y="501690"/>
                    </a:cubicBezTo>
                    <a:close/>
                    <a:moveTo>
                      <a:pt x="333973" y="35821"/>
                    </a:moveTo>
                    <a:cubicBezTo>
                      <a:pt x="202130" y="35821"/>
                      <a:pt x="95251" y="67496"/>
                      <a:pt x="95251" y="106570"/>
                    </a:cubicBezTo>
                    <a:cubicBezTo>
                      <a:pt x="95251" y="145644"/>
                      <a:pt x="202130" y="177319"/>
                      <a:pt x="333973" y="177319"/>
                    </a:cubicBezTo>
                    <a:cubicBezTo>
                      <a:pt x="465816" y="177319"/>
                      <a:pt x="572695" y="145644"/>
                      <a:pt x="572695" y="106570"/>
                    </a:cubicBezTo>
                    <a:cubicBezTo>
                      <a:pt x="572695" y="67496"/>
                      <a:pt x="465816" y="35821"/>
                      <a:pt x="333973" y="35821"/>
                    </a:cubicBezTo>
                    <a:close/>
                    <a:moveTo>
                      <a:pt x="333973" y="0"/>
                    </a:moveTo>
                    <a:cubicBezTo>
                      <a:pt x="495365" y="0"/>
                      <a:pt x="630018" y="36748"/>
                      <a:pt x="661160" y="85601"/>
                    </a:cubicBezTo>
                    <a:lnTo>
                      <a:pt x="667213" y="104877"/>
                    </a:lnTo>
                    <a:lnTo>
                      <a:pt x="667943" y="104877"/>
                    </a:lnTo>
                    <a:lnTo>
                      <a:pt x="667943" y="107201"/>
                    </a:lnTo>
                    <a:lnTo>
                      <a:pt x="667945" y="107207"/>
                    </a:lnTo>
                    <a:lnTo>
                      <a:pt x="667943" y="107214"/>
                    </a:lnTo>
                    <a:lnTo>
                      <a:pt x="667943" y="410649"/>
                    </a:lnTo>
                    <a:lnTo>
                      <a:pt x="659788" y="422188"/>
                    </a:lnTo>
                    <a:cubicBezTo>
                      <a:pt x="633933" y="446855"/>
                      <a:pt x="598214" y="462111"/>
                      <a:pt x="558760" y="462111"/>
                    </a:cubicBezTo>
                    <a:cubicBezTo>
                      <a:pt x="519306" y="462111"/>
                      <a:pt x="483587" y="446855"/>
                      <a:pt x="457732" y="422188"/>
                    </a:cubicBezTo>
                    <a:lnTo>
                      <a:pt x="438797" y="395394"/>
                    </a:lnTo>
                    <a:lnTo>
                      <a:pt x="419861" y="422188"/>
                    </a:lnTo>
                    <a:cubicBezTo>
                      <a:pt x="394006" y="446855"/>
                      <a:pt x="358287" y="462111"/>
                      <a:pt x="318833" y="462111"/>
                    </a:cubicBezTo>
                    <a:cubicBezTo>
                      <a:pt x="279379" y="462111"/>
                      <a:pt x="243660" y="446855"/>
                      <a:pt x="217805" y="422188"/>
                    </a:cubicBezTo>
                    <a:lnTo>
                      <a:pt x="206243" y="405827"/>
                    </a:lnTo>
                    <a:lnTo>
                      <a:pt x="194680" y="422188"/>
                    </a:lnTo>
                    <a:cubicBezTo>
                      <a:pt x="168825" y="446855"/>
                      <a:pt x="133106" y="462111"/>
                      <a:pt x="93652" y="462111"/>
                    </a:cubicBezTo>
                    <a:cubicBezTo>
                      <a:pt x="73925" y="462111"/>
                      <a:pt x="55132" y="458297"/>
                      <a:pt x="38039" y="451400"/>
                    </a:cubicBezTo>
                    <a:lnTo>
                      <a:pt x="0" y="426933"/>
                    </a:lnTo>
                    <a:lnTo>
                      <a:pt x="0" y="104877"/>
                    </a:lnTo>
                    <a:lnTo>
                      <a:pt x="733" y="104877"/>
                    </a:lnTo>
                    <a:lnTo>
                      <a:pt x="6786" y="85601"/>
                    </a:lnTo>
                    <a:cubicBezTo>
                      <a:pt x="37928" y="36748"/>
                      <a:pt x="172581" y="0"/>
                      <a:pt x="333973"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b="1" dirty="0">
                  <a:solidFill>
                    <a:schemeClr val="bg1"/>
                  </a:solidFill>
                  <a:latin typeface="+mj-lt"/>
                  <a:ea typeface="Segoe UI" pitchFamily="34" charset="0"/>
                  <a:cs typeface="Segoe UI" pitchFamily="34" charset="0"/>
                </a:endParaRPr>
              </a:p>
            </p:txBody>
          </p:sp>
        </p:grpSp>
        <p:grpSp>
          <p:nvGrpSpPr>
            <p:cNvPr id="255" name="Group 254"/>
            <p:cNvGrpSpPr/>
            <p:nvPr/>
          </p:nvGrpSpPr>
          <p:grpSpPr>
            <a:xfrm>
              <a:off x="7681297" y="3997243"/>
              <a:ext cx="737589" cy="366384"/>
              <a:chOff x="7328872" y="3997243"/>
              <a:chExt cx="737589" cy="366384"/>
            </a:xfrm>
          </p:grpSpPr>
          <p:pic>
            <p:nvPicPr>
              <p:cNvPr id="6" name="Picture 5"/>
              <p:cNvPicPr>
                <a:picLocks noChangeAspect="1"/>
              </p:cNvPicPr>
              <p:nvPr/>
            </p:nvPicPr>
            <p:blipFill>
              <a:blip r:embed="rId49" cstate="print">
                <a:biLevel thresh="25000"/>
                <a:extLst>
                  <a:ext uri="{28A0092B-C50C-407E-A947-70E740481C1C}">
                    <a14:useLocalDpi xmlns:a14="http://schemas.microsoft.com/office/drawing/2010/main" val="0"/>
                  </a:ext>
                </a:extLst>
              </a:blip>
              <a:stretch>
                <a:fillRect/>
              </a:stretch>
            </p:blipFill>
            <p:spPr>
              <a:xfrm>
                <a:off x="7328872" y="3997243"/>
                <a:ext cx="309231" cy="309231"/>
              </a:xfrm>
              <a:prstGeom prst="rect">
                <a:avLst/>
              </a:prstGeom>
            </p:spPr>
          </p:pic>
          <p:sp>
            <p:nvSpPr>
              <p:cNvPr id="248" name="TextBox 247"/>
              <p:cNvSpPr txBox="1"/>
              <p:nvPr/>
            </p:nvSpPr>
            <p:spPr>
              <a:xfrm>
                <a:off x="7699610" y="4049446"/>
                <a:ext cx="366851" cy="314181"/>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oT</a:t>
                </a: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 Hub</a:t>
                </a:r>
              </a:p>
            </p:txBody>
          </p:sp>
        </p:grpSp>
        <p:grpSp>
          <p:nvGrpSpPr>
            <p:cNvPr id="259" name="Group 258"/>
            <p:cNvGrpSpPr/>
            <p:nvPr/>
          </p:nvGrpSpPr>
          <p:grpSpPr>
            <a:xfrm>
              <a:off x="8911462" y="3483686"/>
              <a:ext cx="1033650" cy="325042"/>
              <a:chOff x="8882887" y="3483686"/>
              <a:chExt cx="1033650" cy="325042"/>
            </a:xfrm>
          </p:grpSpPr>
          <p:sp>
            <p:nvSpPr>
              <p:cNvPr id="260" name="TextBox 259"/>
              <p:cNvSpPr txBox="1"/>
              <p:nvPr/>
            </p:nvSpPr>
            <p:spPr>
              <a:xfrm>
                <a:off x="9257381" y="3502246"/>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talog</a:t>
                </a:r>
              </a:p>
            </p:txBody>
          </p:sp>
          <p:pic>
            <p:nvPicPr>
              <p:cNvPr id="261" name="Picture 260"/>
              <p:cNvPicPr>
                <a:picLocks noChangeAspect="1"/>
              </p:cNvPicPr>
              <p:nvPr/>
            </p:nvPicPr>
            <p:blipFill>
              <a:blip r:embed="rId50" cstate="print">
                <a:biLevel thresh="25000"/>
                <a:extLst>
                  <a:ext uri="{28A0092B-C50C-407E-A947-70E740481C1C}">
                    <a14:useLocalDpi xmlns:a14="http://schemas.microsoft.com/office/drawing/2010/main" val="0"/>
                  </a:ext>
                </a:extLst>
              </a:blip>
              <a:stretch>
                <a:fillRect/>
              </a:stretch>
            </p:blipFill>
            <p:spPr>
              <a:xfrm>
                <a:off x="8882887" y="3483686"/>
                <a:ext cx="325042" cy="325042"/>
              </a:xfrm>
              <a:prstGeom prst="rect">
                <a:avLst/>
              </a:prstGeom>
            </p:spPr>
          </p:pic>
        </p:grpSp>
      </p:grpSp>
      <p:sp>
        <p:nvSpPr>
          <p:cNvPr id="75" name="Rectangle 74"/>
          <p:cNvSpPr/>
          <p:nvPr/>
        </p:nvSpPr>
        <p:spPr bwMode="auto">
          <a:xfrm>
            <a:off x="348143" y="522379"/>
            <a:ext cx="1517289" cy="4072492"/>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pPr>
            <a:r>
              <a:rPr lang="en-US" sz="1372" b="1" kern="0" dirty="0">
                <a:solidFill>
                  <a:schemeClr val="bg1"/>
                </a:solidFill>
                <a:ea typeface="Segoe UI" pitchFamily="34" charset="0"/>
                <a:cs typeface="Segoe UI" pitchFamily="34" charset="0"/>
              </a:rPr>
              <a:t>Security &amp; Management</a:t>
            </a:r>
          </a:p>
        </p:txBody>
      </p:sp>
      <p:grpSp>
        <p:nvGrpSpPr>
          <p:cNvPr id="334" name="Group 333"/>
          <p:cNvGrpSpPr/>
          <p:nvPr/>
        </p:nvGrpSpPr>
        <p:grpSpPr>
          <a:xfrm>
            <a:off x="548432" y="1484549"/>
            <a:ext cx="992677" cy="315111"/>
            <a:chOff x="6813227" y="457506"/>
            <a:chExt cx="1012582" cy="321430"/>
          </a:xfrm>
        </p:grpSpPr>
        <p:sp>
          <p:nvSpPr>
            <p:cNvPr id="193" name="TextBox 192"/>
            <p:cNvSpPr txBox="1"/>
            <p:nvPr/>
          </p:nvSpPr>
          <p:spPr>
            <a:xfrm>
              <a:off x="7166653" y="477831"/>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ctiv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94" name="Picture 193"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335" name="Group 334"/>
          <p:cNvGrpSpPr/>
          <p:nvPr/>
        </p:nvGrpSpPr>
        <p:grpSpPr>
          <a:xfrm>
            <a:off x="548432" y="2297696"/>
            <a:ext cx="955414" cy="304907"/>
            <a:chOff x="7922427" y="464301"/>
            <a:chExt cx="974572" cy="311021"/>
          </a:xfrm>
        </p:grpSpPr>
        <p:sp>
          <p:nvSpPr>
            <p:cNvPr id="195" name="TextBox 194"/>
            <p:cNvSpPr txBox="1"/>
            <p:nvPr/>
          </p:nvSpPr>
          <p:spPr>
            <a:xfrm>
              <a:off x="8237843" y="474217"/>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ulti-Factor</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51" cstate="print">
              <a:biLevel thresh="25000"/>
              <a:extLst>
                <a:ext uri="{28A0092B-C50C-407E-A947-70E740481C1C}">
                  <a14:useLocalDpi xmlns:a14="http://schemas.microsoft.com/office/drawing/2010/main" val="0"/>
                </a:ext>
              </a:extLst>
            </a:blip>
            <a:stretch>
              <a:fillRect/>
            </a:stretch>
          </p:blipFill>
          <p:spPr>
            <a:xfrm>
              <a:off x="7922427" y="464301"/>
              <a:ext cx="288019" cy="288019"/>
            </a:xfrm>
            <a:prstGeom prst="rect">
              <a:avLst/>
            </a:prstGeom>
          </p:spPr>
        </p:pic>
      </p:grpSp>
      <p:grpSp>
        <p:nvGrpSpPr>
          <p:cNvPr id="331" name="Group 330"/>
          <p:cNvGrpSpPr/>
          <p:nvPr/>
        </p:nvGrpSpPr>
        <p:grpSpPr>
          <a:xfrm>
            <a:off x="548432" y="2679018"/>
            <a:ext cx="988673" cy="330512"/>
            <a:chOff x="2492088" y="428524"/>
            <a:chExt cx="1008498" cy="337139"/>
          </a:xfrm>
        </p:grpSpPr>
        <p:sp>
          <p:nvSpPr>
            <p:cNvPr id="198" name="TextBox 197"/>
            <p:cNvSpPr txBox="1"/>
            <p:nvPr/>
          </p:nvSpPr>
          <p:spPr>
            <a:xfrm>
              <a:off x="2841430" y="464557"/>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52" cstate="print">
              <a:biLevel thresh="25000"/>
              <a:extLst>
                <a:ext uri="{28A0092B-C50C-407E-A947-70E740481C1C}">
                  <a14:useLocalDpi xmlns:a14="http://schemas.microsoft.com/office/drawing/2010/main" val="0"/>
                </a:ext>
              </a:extLst>
            </a:blip>
            <a:stretch>
              <a:fillRect/>
            </a:stretch>
          </p:blipFill>
          <p:spPr>
            <a:xfrm>
              <a:off x="2492088" y="428524"/>
              <a:ext cx="289607" cy="289607"/>
            </a:xfrm>
            <a:prstGeom prst="rect">
              <a:avLst/>
            </a:prstGeom>
          </p:spPr>
        </p:pic>
      </p:grpSp>
      <p:grpSp>
        <p:nvGrpSpPr>
          <p:cNvPr id="332" name="Group 331"/>
          <p:cNvGrpSpPr/>
          <p:nvPr/>
        </p:nvGrpSpPr>
        <p:grpSpPr>
          <a:xfrm>
            <a:off x="548433" y="1106428"/>
            <a:ext cx="980472" cy="341210"/>
            <a:chOff x="3528269" y="417611"/>
            <a:chExt cx="1000133" cy="348052"/>
          </a:xfrm>
        </p:grpSpPr>
        <p:sp>
          <p:nvSpPr>
            <p:cNvPr id="200" name="TextBox 199"/>
            <p:cNvSpPr txBox="1"/>
            <p:nvPr/>
          </p:nvSpPr>
          <p:spPr>
            <a:xfrm>
              <a:off x="3869246" y="464557"/>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53" cstate="print">
              <a:biLevel thresh="25000"/>
              <a:extLst>
                <a:ext uri="{28A0092B-C50C-407E-A947-70E740481C1C}">
                  <a14:useLocalDpi xmlns:a14="http://schemas.microsoft.com/office/drawing/2010/main" val="0"/>
                </a:ext>
              </a:extLst>
            </a:blip>
            <a:stretch>
              <a:fillRect/>
            </a:stretch>
          </p:blipFill>
          <p:spPr>
            <a:xfrm>
              <a:off x="3528269" y="417611"/>
              <a:ext cx="286236" cy="286236"/>
            </a:xfrm>
            <a:prstGeom prst="rect">
              <a:avLst/>
            </a:prstGeom>
          </p:spPr>
        </p:pic>
      </p:grpSp>
      <p:grpSp>
        <p:nvGrpSpPr>
          <p:cNvPr id="333" name="Group 332"/>
          <p:cNvGrpSpPr/>
          <p:nvPr/>
        </p:nvGrpSpPr>
        <p:grpSpPr>
          <a:xfrm>
            <a:off x="548432" y="3441019"/>
            <a:ext cx="986875" cy="353353"/>
            <a:chOff x="4552624" y="449871"/>
            <a:chExt cx="1006664" cy="360438"/>
          </a:xfrm>
        </p:grpSpPr>
        <p:sp>
          <p:nvSpPr>
            <p:cNvPr id="204" name="TextBox 203"/>
            <p:cNvSpPr txBox="1"/>
            <p:nvPr/>
          </p:nvSpPr>
          <p:spPr>
            <a:xfrm>
              <a:off x="4900132" y="509203"/>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205" name="Picture 204" descr="AzureKeyVault_icon_white.png"/>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4552624" y="449871"/>
              <a:ext cx="235263" cy="261402"/>
            </a:xfrm>
            <a:prstGeom prst="rect">
              <a:avLst/>
            </a:prstGeom>
          </p:spPr>
        </p:pic>
      </p:grpSp>
      <p:grpSp>
        <p:nvGrpSpPr>
          <p:cNvPr id="336" name="Group 335"/>
          <p:cNvGrpSpPr/>
          <p:nvPr/>
        </p:nvGrpSpPr>
        <p:grpSpPr>
          <a:xfrm>
            <a:off x="548432" y="3811345"/>
            <a:ext cx="1004508" cy="311036"/>
            <a:chOff x="9096923" y="436026"/>
            <a:chExt cx="1024650" cy="317273"/>
          </a:xfrm>
        </p:grpSpPr>
        <p:sp>
          <p:nvSpPr>
            <p:cNvPr id="230" name="TextBox 229"/>
            <p:cNvSpPr txBox="1"/>
            <p:nvPr/>
          </p:nvSpPr>
          <p:spPr>
            <a:xfrm>
              <a:off x="9462417" y="452194"/>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e/</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55" cstate="print">
              <a:biLevel thresh="25000"/>
              <a:extLst>
                <a:ext uri="{28A0092B-C50C-407E-A947-70E740481C1C}">
                  <a14:useLocalDpi xmlns:a14="http://schemas.microsoft.com/office/drawing/2010/main" val="0"/>
                </a:ext>
              </a:extLst>
            </a:blip>
            <a:stretch>
              <a:fillRect/>
            </a:stretch>
          </p:blipFill>
          <p:spPr>
            <a:xfrm>
              <a:off x="9096923" y="436026"/>
              <a:ext cx="291303" cy="291303"/>
            </a:xfrm>
            <a:prstGeom prst="rect">
              <a:avLst/>
            </a:prstGeom>
          </p:spPr>
        </p:pic>
      </p:grpSp>
      <p:grpSp>
        <p:nvGrpSpPr>
          <p:cNvPr id="417" name="Group 416"/>
          <p:cNvGrpSpPr/>
          <p:nvPr/>
        </p:nvGrpSpPr>
        <p:grpSpPr>
          <a:xfrm>
            <a:off x="548432" y="4271266"/>
            <a:ext cx="988565" cy="303165"/>
            <a:chOff x="559429" y="4065187"/>
            <a:chExt cx="1008388" cy="309244"/>
          </a:xfrm>
        </p:grpSpPr>
        <p:pic>
          <p:nvPicPr>
            <p:cNvPr id="413" name="Picture 412"/>
            <p:cNvPicPr>
              <a:picLocks noChangeAspect="1"/>
            </p:cNvPicPr>
            <p:nvPr/>
          </p:nvPicPr>
          <p:blipFill>
            <a:blip r:embed="rId56" cstate="print">
              <a:biLevel thresh="25000"/>
              <a:extLst>
                <a:ext uri="{28A0092B-C50C-407E-A947-70E740481C1C}">
                  <a14:useLocalDpi xmlns:a14="http://schemas.microsoft.com/office/drawing/2010/main" val="0"/>
                </a:ext>
              </a:extLst>
            </a:blip>
            <a:stretch>
              <a:fillRect/>
            </a:stretch>
          </p:blipFill>
          <p:spPr>
            <a:xfrm>
              <a:off x="559429" y="4065187"/>
              <a:ext cx="252028" cy="252028"/>
            </a:xfrm>
            <a:prstGeom prst="rect">
              <a:avLst/>
            </a:prstGeom>
          </p:spPr>
        </p:pic>
        <p:sp>
          <p:nvSpPr>
            <p:cNvPr id="414" name="TextBox 413"/>
            <p:cNvSpPr txBox="1"/>
            <p:nvPr/>
          </p:nvSpPr>
          <p:spPr>
            <a:xfrm>
              <a:off x="908661" y="4073326"/>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M Image Gallery</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grpSp>
      <p:grpSp>
        <p:nvGrpSpPr>
          <p:cNvPr id="256" name="Group 255"/>
          <p:cNvGrpSpPr/>
          <p:nvPr/>
        </p:nvGrpSpPr>
        <p:grpSpPr>
          <a:xfrm>
            <a:off x="548432" y="1867292"/>
            <a:ext cx="992677" cy="315111"/>
            <a:chOff x="6813227" y="457506"/>
            <a:chExt cx="1012582" cy="321430"/>
          </a:xfrm>
        </p:grpSpPr>
        <p:sp>
          <p:nvSpPr>
            <p:cNvPr id="257" name="TextBox 256"/>
            <p:cNvSpPr txBox="1"/>
            <p:nvPr/>
          </p:nvSpPr>
          <p:spPr>
            <a:xfrm>
              <a:off x="7166653" y="477831"/>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D</a:t>
              </a:r>
            </a:p>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2C</a:t>
              </a:r>
            </a:p>
          </p:txBody>
        </p:sp>
        <p:pic>
          <p:nvPicPr>
            <p:cNvPr id="258" name="Picture 257"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44" name="Group 43"/>
          <p:cNvGrpSpPr/>
          <p:nvPr/>
        </p:nvGrpSpPr>
        <p:grpSpPr>
          <a:xfrm>
            <a:off x="522129" y="3046525"/>
            <a:ext cx="1005357" cy="326778"/>
            <a:chOff x="532599" y="3107117"/>
            <a:chExt cx="1025516" cy="333331"/>
          </a:xfrm>
        </p:grpSpPr>
        <p:pic>
          <p:nvPicPr>
            <p:cNvPr id="262" name="Picture 261"/>
            <p:cNvPicPr>
              <a:picLocks noChangeAspect="1"/>
            </p:cNvPicPr>
            <p:nvPr/>
          </p:nvPicPr>
          <p:blipFill>
            <a:blip r:embed="rId57" cstate="print">
              <a:biLevel thresh="25000"/>
              <a:extLst>
                <a:ext uri="{28A0092B-C50C-407E-A947-70E740481C1C}">
                  <a14:useLocalDpi xmlns:a14="http://schemas.microsoft.com/office/drawing/2010/main" val="0"/>
                </a:ext>
              </a:extLst>
            </a:blip>
            <a:stretch>
              <a:fillRect/>
            </a:stretch>
          </p:blipFill>
          <p:spPr>
            <a:xfrm>
              <a:off x="532599" y="3107117"/>
              <a:ext cx="333331" cy="333331"/>
            </a:xfrm>
            <a:prstGeom prst="rect">
              <a:avLst/>
            </a:prstGeom>
          </p:spPr>
        </p:pic>
        <p:sp>
          <p:nvSpPr>
            <p:cNvPr id="263" name="TextBox 262"/>
            <p:cNvSpPr txBox="1"/>
            <p:nvPr/>
          </p:nvSpPr>
          <p:spPr>
            <a:xfrm>
              <a:off x="898959" y="3138949"/>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cheduler</a:t>
              </a:r>
            </a:p>
          </p:txBody>
        </p:sp>
      </p:grpSp>
    </p:spTree>
    <p:extLst>
      <p:ext uri="{BB962C8B-B14F-4D97-AF65-F5344CB8AC3E}">
        <p14:creationId xmlns:p14="http://schemas.microsoft.com/office/powerpoint/2010/main" val="79906103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250"/>
                                        <p:tgtEl>
                                          <p:spTgt spid="5"/>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56"/>
                                        </p:tgtEl>
                                        <p:attrNameLst>
                                          <p:attrName>style.visibility</p:attrName>
                                        </p:attrNameLst>
                                      </p:cBhvr>
                                      <p:to>
                                        <p:strVal val="visible"/>
                                      </p:to>
                                    </p:set>
                                    <p:animEffect transition="in" filter="wipe(down)">
                                      <p:cBhvr>
                                        <p:cTn id="10" dur="250"/>
                                        <p:tgtEl>
                                          <p:spTgt spid="56"/>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87"/>
                                        </p:tgtEl>
                                        <p:attrNameLst>
                                          <p:attrName>style.visibility</p:attrName>
                                        </p:attrNameLst>
                                      </p:cBhvr>
                                      <p:to>
                                        <p:strVal val="visible"/>
                                      </p:to>
                                    </p:set>
                                    <p:animEffect transition="in" filter="wipe(down)">
                                      <p:cBhvr>
                                        <p:cTn id="15" dur="500"/>
                                        <p:tgtEl>
                                          <p:spTgt spid="87"/>
                                        </p:tgtEl>
                                      </p:cBhvr>
                                    </p:animEffect>
                                  </p:childTnLst>
                                </p:cTn>
                              </p:par>
                            </p:childTnLst>
                          </p:cTn>
                        </p:par>
                        <p:par>
                          <p:cTn id="16" fill="hold">
                            <p:stCondLst>
                              <p:cond delay="500"/>
                            </p:stCondLst>
                            <p:childTnLst>
                              <p:par>
                                <p:cTn id="17" presetID="10" presetClass="entr" presetSubtype="0" fill="hold" grpId="0" nodeType="after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500"/>
                                        <p:tgtEl>
                                          <p:spTgt spid="31"/>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32"/>
                                        </p:tgtEl>
                                        <p:attrNameLst>
                                          <p:attrName>style.visibility</p:attrName>
                                        </p:attrNameLst>
                                      </p:cBhvr>
                                      <p:to>
                                        <p:strVal val="visible"/>
                                      </p:to>
                                    </p:set>
                                    <p:animEffect transition="in" filter="fade">
                                      <p:cBhvr>
                                        <p:cTn id="23" dur="500"/>
                                        <p:tgtEl>
                                          <p:spTgt spid="32"/>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childTnLst>
                          </p:cTn>
                        </p:par>
                        <p:par>
                          <p:cTn id="28" fill="hold">
                            <p:stCondLst>
                              <p:cond delay="2000"/>
                            </p:stCondLst>
                            <p:childTnLst>
                              <p:par>
                                <p:cTn id="29" presetID="10" presetClass="entr" presetSubtype="0" fill="hold" nodeType="after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300"/>
                                        <p:tgtEl>
                                          <p:spTgt spid="13"/>
                                        </p:tgtEl>
                                      </p:cBhvr>
                                    </p:animEffect>
                                  </p:childTnLst>
                                </p:cTn>
                              </p:par>
                            </p:childTnLst>
                          </p:cTn>
                        </p:par>
                        <p:par>
                          <p:cTn id="32" fill="hold">
                            <p:stCondLst>
                              <p:cond delay="2300"/>
                            </p:stCondLst>
                            <p:childTnLst>
                              <p:par>
                                <p:cTn id="33" presetID="10" presetClass="entr" presetSubtype="0" fill="hold" nodeType="after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fade">
                                      <p:cBhvr>
                                        <p:cTn id="35" dur="300"/>
                                        <p:tgtEl>
                                          <p:spTgt spid="15"/>
                                        </p:tgtEl>
                                      </p:cBhvr>
                                    </p:animEffect>
                                  </p:childTnLst>
                                </p:cTn>
                              </p:par>
                            </p:childTnLst>
                          </p:cTn>
                        </p:par>
                        <p:par>
                          <p:cTn id="36" fill="hold">
                            <p:stCondLst>
                              <p:cond delay="2600"/>
                            </p:stCondLst>
                            <p:childTnLst>
                              <p:par>
                                <p:cTn id="37" presetID="10" presetClass="entr" presetSubtype="0" fill="hold" nodeType="after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300"/>
                                        <p:tgtEl>
                                          <p:spTgt spid="16"/>
                                        </p:tgtEl>
                                      </p:cBhvr>
                                    </p:animEffect>
                                  </p:childTnLst>
                                </p:cTn>
                              </p:par>
                            </p:childTnLst>
                          </p:cTn>
                        </p:par>
                        <p:par>
                          <p:cTn id="40" fill="hold">
                            <p:stCondLst>
                              <p:cond delay="2900"/>
                            </p:stCondLst>
                            <p:childTnLst>
                              <p:par>
                                <p:cTn id="41" presetID="10" presetClass="entr" presetSubtype="0" fill="hold" nodeType="afterEffect">
                                  <p:stCondLst>
                                    <p:cond delay="0"/>
                                  </p:stCondLst>
                                  <p:childTnLst>
                                    <p:set>
                                      <p:cBhvr>
                                        <p:cTn id="42" dur="1" fill="hold">
                                          <p:stCondLst>
                                            <p:cond delay="0"/>
                                          </p:stCondLst>
                                        </p:cTn>
                                        <p:tgtEl>
                                          <p:spTgt spid="18"/>
                                        </p:tgtEl>
                                        <p:attrNameLst>
                                          <p:attrName>style.visibility</p:attrName>
                                        </p:attrNameLst>
                                      </p:cBhvr>
                                      <p:to>
                                        <p:strVal val="visible"/>
                                      </p:to>
                                    </p:set>
                                    <p:animEffect transition="in" filter="fade">
                                      <p:cBhvr>
                                        <p:cTn id="43" dur="300"/>
                                        <p:tgtEl>
                                          <p:spTgt spid="18"/>
                                        </p:tgtEl>
                                      </p:cBhvr>
                                    </p:animEffect>
                                  </p:childTnLst>
                                </p:cTn>
                              </p:par>
                            </p:childTnLst>
                          </p:cTn>
                        </p:par>
                        <p:par>
                          <p:cTn id="44" fill="hold">
                            <p:stCondLst>
                              <p:cond delay="3200"/>
                            </p:stCondLst>
                            <p:childTnLst>
                              <p:par>
                                <p:cTn id="45" presetID="10" presetClass="entr" presetSubtype="0" fill="hold" nodeType="afterEffect">
                                  <p:stCondLst>
                                    <p:cond delay="0"/>
                                  </p:stCondLst>
                                  <p:childTnLst>
                                    <p:set>
                                      <p:cBhvr>
                                        <p:cTn id="46" dur="1" fill="hold">
                                          <p:stCondLst>
                                            <p:cond delay="0"/>
                                          </p:stCondLst>
                                        </p:cTn>
                                        <p:tgtEl>
                                          <p:spTgt spid="19"/>
                                        </p:tgtEl>
                                        <p:attrNameLst>
                                          <p:attrName>style.visibility</p:attrName>
                                        </p:attrNameLst>
                                      </p:cBhvr>
                                      <p:to>
                                        <p:strVal val="visible"/>
                                      </p:to>
                                    </p:set>
                                    <p:animEffect transition="in" filter="fade">
                                      <p:cBhvr>
                                        <p:cTn id="47" dur="300"/>
                                        <p:tgtEl>
                                          <p:spTgt spid="19"/>
                                        </p:tgtEl>
                                      </p:cBhvr>
                                    </p:animEffect>
                                  </p:childTnLst>
                                </p:cTn>
                              </p:par>
                            </p:childTnLst>
                          </p:cTn>
                        </p:par>
                        <p:par>
                          <p:cTn id="48" fill="hold">
                            <p:stCondLst>
                              <p:cond delay="3500"/>
                            </p:stCondLst>
                            <p:childTnLst>
                              <p:par>
                                <p:cTn id="49" presetID="10" presetClass="entr" presetSubtype="0" fill="hold" nodeType="afterEffect">
                                  <p:stCondLst>
                                    <p:cond delay="0"/>
                                  </p:stCondLst>
                                  <p:childTnLst>
                                    <p:set>
                                      <p:cBhvr>
                                        <p:cTn id="50" dur="1" fill="hold">
                                          <p:stCondLst>
                                            <p:cond delay="0"/>
                                          </p:stCondLst>
                                        </p:cTn>
                                        <p:tgtEl>
                                          <p:spTgt spid="20"/>
                                        </p:tgtEl>
                                        <p:attrNameLst>
                                          <p:attrName>style.visibility</p:attrName>
                                        </p:attrNameLst>
                                      </p:cBhvr>
                                      <p:to>
                                        <p:strVal val="visible"/>
                                      </p:to>
                                    </p:set>
                                    <p:animEffect transition="in" filter="fade">
                                      <p:cBhvr>
                                        <p:cTn id="51" dur="300"/>
                                        <p:tgtEl>
                                          <p:spTgt spid="20"/>
                                        </p:tgtEl>
                                      </p:cBhvr>
                                    </p:animEffect>
                                  </p:childTnLst>
                                </p:cTn>
                              </p:par>
                            </p:childTnLst>
                          </p:cTn>
                        </p:par>
                        <p:par>
                          <p:cTn id="52" fill="hold">
                            <p:stCondLst>
                              <p:cond delay="3800"/>
                            </p:stCondLst>
                            <p:childTnLst>
                              <p:par>
                                <p:cTn id="53" presetID="10" presetClass="entr" presetSubtype="0" fill="hold" nodeType="afterEffect">
                                  <p:stCondLst>
                                    <p:cond delay="0"/>
                                  </p:stCondLst>
                                  <p:childTnLst>
                                    <p:set>
                                      <p:cBhvr>
                                        <p:cTn id="54" dur="1" fill="hold">
                                          <p:stCondLst>
                                            <p:cond delay="0"/>
                                          </p:stCondLst>
                                        </p:cTn>
                                        <p:tgtEl>
                                          <p:spTgt spid="21"/>
                                        </p:tgtEl>
                                        <p:attrNameLst>
                                          <p:attrName>style.visibility</p:attrName>
                                        </p:attrNameLst>
                                      </p:cBhvr>
                                      <p:to>
                                        <p:strVal val="visible"/>
                                      </p:to>
                                    </p:set>
                                    <p:animEffect transition="in" filter="fade">
                                      <p:cBhvr>
                                        <p:cTn id="55" dur="300"/>
                                        <p:tgtEl>
                                          <p:spTgt spid="21"/>
                                        </p:tgtEl>
                                      </p:cBhvr>
                                    </p:animEffect>
                                  </p:childTnLst>
                                </p:cTn>
                              </p:par>
                            </p:childTnLst>
                          </p:cTn>
                        </p:par>
                        <p:par>
                          <p:cTn id="56" fill="hold">
                            <p:stCondLst>
                              <p:cond delay="4100"/>
                            </p:stCondLst>
                            <p:childTnLst>
                              <p:par>
                                <p:cTn id="57" presetID="10" presetClass="entr" presetSubtype="0" fill="hold" nodeType="afterEffect">
                                  <p:stCondLst>
                                    <p:cond delay="0"/>
                                  </p:stCondLst>
                                  <p:childTnLst>
                                    <p:set>
                                      <p:cBhvr>
                                        <p:cTn id="58" dur="1" fill="hold">
                                          <p:stCondLst>
                                            <p:cond delay="0"/>
                                          </p:stCondLst>
                                        </p:cTn>
                                        <p:tgtEl>
                                          <p:spTgt spid="23"/>
                                        </p:tgtEl>
                                        <p:attrNameLst>
                                          <p:attrName>style.visibility</p:attrName>
                                        </p:attrNameLst>
                                      </p:cBhvr>
                                      <p:to>
                                        <p:strVal val="visible"/>
                                      </p:to>
                                    </p:set>
                                    <p:animEffect transition="in" filter="fade">
                                      <p:cBhvr>
                                        <p:cTn id="59" dur="300"/>
                                        <p:tgtEl>
                                          <p:spTgt spid="23"/>
                                        </p:tgtEl>
                                      </p:cBhvr>
                                    </p:animEffect>
                                  </p:childTnLst>
                                </p:cTn>
                              </p:par>
                            </p:childTnLst>
                          </p:cTn>
                        </p:par>
                        <p:par>
                          <p:cTn id="60" fill="hold">
                            <p:stCondLst>
                              <p:cond delay="4400"/>
                            </p:stCondLst>
                            <p:childTnLst>
                              <p:par>
                                <p:cTn id="61" presetID="10" presetClass="entr" presetSubtype="0" fill="hold" nodeType="afterEffect">
                                  <p:stCondLst>
                                    <p:cond delay="0"/>
                                  </p:stCondLst>
                                  <p:childTnLst>
                                    <p:set>
                                      <p:cBhvr>
                                        <p:cTn id="62" dur="1" fill="hold">
                                          <p:stCondLst>
                                            <p:cond delay="0"/>
                                          </p:stCondLst>
                                        </p:cTn>
                                        <p:tgtEl>
                                          <p:spTgt spid="237"/>
                                        </p:tgtEl>
                                        <p:attrNameLst>
                                          <p:attrName>style.visibility</p:attrName>
                                        </p:attrNameLst>
                                      </p:cBhvr>
                                      <p:to>
                                        <p:strVal val="visible"/>
                                      </p:to>
                                    </p:set>
                                    <p:animEffect transition="in" filter="fade">
                                      <p:cBhvr>
                                        <p:cTn id="63" dur="300"/>
                                        <p:tgtEl>
                                          <p:spTgt spid="237"/>
                                        </p:tgtEl>
                                      </p:cBhvr>
                                    </p:animEffect>
                                  </p:childTnLst>
                                </p:cTn>
                              </p:par>
                            </p:childTnLst>
                          </p:cTn>
                        </p:par>
                        <p:par>
                          <p:cTn id="64" fill="hold">
                            <p:stCondLst>
                              <p:cond delay="4700"/>
                            </p:stCondLst>
                            <p:childTnLst>
                              <p:par>
                                <p:cTn id="65" presetID="10" presetClass="entr" presetSubtype="0" fill="hold" nodeType="afterEffect">
                                  <p:stCondLst>
                                    <p:cond delay="0"/>
                                  </p:stCondLst>
                                  <p:childTnLst>
                                    <p:set>
                                      <p:cBhvr>
                                        <p:cTn id="66" dur="1" fill="hold">
                                          <p:stCondLst>
                                            <p:cond delay="0"/>
                                          </p:stCondLst>
                                        </p:cTn>
                                        <p:tgtEl>
                                          <p:spTgt spid="238"/>
                                        </p:tgtEl>
                                        <p:attrNameLst>
                                          <p:attrName>style.visibility</p:attrName>
                                        </p:attrNameLst>
                                      </p:cBhvr>
                                      <p:to>
                                        <p:strVal val="visible"/>
                                      </p:to>
                                    </p:set>
                                    <p:animEffect transition="in" filter="fade">
                                      <p:cBhvr>
                                        <p:cTn id="67" dur="300"/>
                                        <p:tgtEl>
                                          <p:spTgt spid="238"/>
                                        </p:tgtEl>
                                      </p:cBhvr>
                                    </p:animEffect>
                                  </p:childTnLst>
                                </p:cTn>
                              </p:par>
                            </p:childTnLst>
                          </p:cTn>
                        </p:par>
                        <p:par>
                          <p:cTn id="68" fill="hold">
                            <p:stCondLst>
                              <p:cond delay="5000"/>
                            </p:stCondLst>
                            <p:childTnLst>
                              <p:par>
                                <p:cTn id="69" presetID="10" presetClass="entr" presetSubtype="0" fill="hold" nodeType="afterEffect">
                                  <p:stCondLst>
                                    <p:cond delay="0"/>
                                  </p:stCondLst>
                                  <p:childTnLst>
                                    <p:set>
                                      <p:cBhvr>
                                        <p:cTn id="70" dur="1" fill="hold">
                                          <p:stCondLst>
                                            <p:cond delay="0"/>
                                          </p:stCondLst>
                                        </p:cTn>
                                        <p:tgtEl>
                                          <p:spTgt spid="240"/>
                                        </p:tgtEl>
                                        <p:attrNameLst>
                                          <p:attrName>style.visibility</p:attrName>
                                        </p:attrNameLst>
                                      </p:cBhvr>
                                      <p:to>
                                        <p:strVal val="visible"/>
                                      </p:to>
                                    </p:set>
                                    <p:animEffect transition="in" filter="fade">
                                      <p:cBhvr>
                                        <p:cTn id="71" dur="300"/>
                                        <p:tgtEl>
                                          <p:spTgt spid="240"/>
                                        </p:tgtEl>
                                      </p:cBhvr>
                                    </p:animEffect>
                                  </p:childTnLst>
                                </p:cTn>
                              </p:par>
                            </p:childTnLst>
                          </p:cTn>
                        </p:par>
                        <p:par>
                          <p:cTn id="72" fill="hold">
                            <p:stCondLst>
                              <p:cond delay="5300"/>
                            </p:stCondLst>
                            <p:childTnLst>
                              <p:par>
                                <p:cTn id="73" presetID="10" presetClass="entr" presetSubtype="0" fill="hold" nodeType="afterEffect">
                                  <p:stCondLst>
                                    <p:cond delay="0"/>
                                  </p:stCondLst>
                                  <p:childTnLst>
                                    <p:set>
                                      <p:cBhvr>
                                        <p:cTn id="74" dur="1" fill="hold">
                                          <p:stCondLst>
                                            <p:cond delay="0"/>
                                          </p:stCondLst>
                                        </p:cTn>
                                        <p:tgtEl>
                                          <p:spTgt spid="241"/>
                                        </p:tgtEl>
                                        <p:attrNameLst>
                                          <p:attrName>style.visibility</p:attrName>
                                        </p:attrNameLst>
                                      </p:cBhvr>
                                      <p:to>
                                        <p:strVal val="visible"/>
                                      </p:to>
                                    </p:set>
                                    <p:animEffect transition="in" filter="fade">
                                      <p:cBhvr>
                                        <p:cTn id="75" dur="300"/>
                                        <p:tgtEl>
                                          <p:spTgt spid="241"/>
                                        </p:tgtEl>
                                      </p:cBhvr>
                                    </p:animEffect>
                                  </p:childTnLst>
                                </p:cTn>
                              </p:par>
                            </p:childTnLst>
                          </p:cTn>
                        </p:par>
                      </p:childTnLst>
                    </p:cTn>
                  </p:par>
                  <p:par>
                    <p:cTn id="76" fill="hold">
                      <p:stCondLst>
                        <p:cond delay="indefinite"/>
                      </p:stCondLst>
                      <p:childTnLst>
                        <p:par>
                          <p:cTn id="77" fill="hold">
                            <p:stCondLst>
                              <p:cond delay="0"/>
                            </p:stCondLst>
                            <p:childTnLst>
                              <p:par>
                                <p:cTn id="78" presetID="22" presetClass="entr" presetSubtype="4" fill="hold" grpId="0" nodeType="clickEffect">
                                  <p:stCondLst>
                                    <p:cond delay="0"/>
                                  </p:stCondLst>
                                  <p:childTnLst>
                                    <p:set>
                                      <p:cBhvr>
                                        <p:cTn id="79" dur="1" fill="hold">
                                          <p:stCondLst>
                                            <p:cond delay="0"/>
                                          </p:stCondLst>
                                        </p:cTn>
                                        <p:tgtEl>
                                          <p:spTgt spid="78"/>
                                        </p:tgtEl>
                                        <p:attrNameLst>
                                          <p:attrName>style.visibility</p:attrName>
                                        </p:attrNameLst>
                                      </p:cBhvr>
                                      <p:to>
                                        <p:strVal val="visible"/>
                                      </p:to>
                                    </p:set>
                                    <p:animEffect transition="in" filter="wipe(down)">
                                      <p:cBhvr>
                                        <p:cTn id="80" dur="500"/>
                                        <p:tgtEl>
                                          <p:spTgt spid="78"/>
                                        </p:tgtEl>
                                      </p:cBhvr>
                                    </p:animEffect>
                                  </p:childTnLst>
                                </p:cTn>
                              </p:par>
                            </p:childTnLst>
                          </p:cTn>
                        </p:par>
                        <p:par>
                          <p:cTn id="81" fill="hold">
                            <p:stCondLst>
                              <p:cond delay="500"/>
                            </p:stCondLst>
                            <p:childTnLst>
                              <p:par>
                                <p:cTn id="82" presetID="10" presetClass="entr" presetSubtype="0" fill="hold" nodeType="afterEffect">
                                  <p:stCondLst>
                                    <p:cond delay="500"/>
                                  </p:stCondLst>
                                  <p:childTnLst>
                                    <p:set>
                                      <p:cBhvr>
                                        <p:cTn id="83" dur="1" fill="hold">
                                          <p:stCondLst>
                                            <p:cond delay="0"/>
                                          </p:stCondLst>
                                        </p:cTn>
                                        <p:tgtEl>
                                          <p:spTgt spid="136"/>
                                        </p:tgtEl>
                                        <p:attrNameLst>
                                          <p:attrName>style.visibility</p:attrName>
                                        </p:attrNameLst>
                                      </p:cBhvr>
                                      <p:to>
                                        <p:strVal val="visible"/>
                                      </p:to>
                                    </p:set>
                                    <p:animEffect transition="in" filter="fade">
                                      <p:cBhvr>
                                        <p:cTn id="84" dur="500"/>
                                        <p:tgtEl>
                                          <p:spTgt spid="136"/>
                                        </p:tgtEl>
                                      </p:cBhvr>
                                    </p:animEffect>
                                  </p:childTnLst>
                                </p:cTn>
                              </p:par>
                            </p:childTnLst>
                          </p:cTn>
                        </p:par>
                        <p:par>
                          <p:cTn id="85" fill="hold">
                            <p:stCondLst>
                              <p:cond delay="1500"/>
                            </p:stCondLst>
                            <p:childTnLst>
                              <p:par>
                                <p:cTn id="86" presetID="10" presetClass="entr" presetSubtype="0" fill="hold" nodeType="afterEffect">
                                  <p:stCondLst>
                                    <p:cond delay="0"/>
                                  </p:stCondLst>
                                  <p:childTnLst>
                                    <p:set>
                                      <p:cBhvr>
                                        <p:cTn id="87" dur="1" fill="hold">
                                          <p:stCondLst>
                                            <p:cond delay="0"/>
                                          </p:stCondLst>
                                        </p:cTn>
                                        <p:tgtEl>
                                          <p:spTgt spid="143"/>
                                        </p:tgtEl>
                                        <p:attrNameLst>
                                          <p:attrName>style.visibility</p:attrName>
                                        </p:attrNameLst>
                                      </p:cBhvr>
                                      <p:to>
                                        <p:strVal val="visible"/>
                                      </p:to>
                                    </p:set>
                                    <p:animEffect transition="in" filter="fade">
                                      <p:cBhvr>
                                        <p:cTn id="88" dur="500"/>
                                        <p:tgtEl>
                                          <p:spTgt spid="143"/>
                                        </p:tgtEl>
                                      </p:cBhvr>
                                    </p:animEffect>
                                  </p:childTnLst>
                                </p:cTn>
                              </p:par>
                            </p:childTnLst>
                          </p:cTn>
                        </p:par>
                        <p:par>
                          <p:cTn id="89" fill="hold">
                            <p:stCondLst>
                              <p:cond delay="2000"/>
                            </p:stCondLst>
                            <p:childTnLst>
                              <p:par>
                                <p:cTn id="90" presetID="10" presetClass="entr" presetSubtype="0" fill="hold" nodeType="afterEffect">
                                  <p:stCondLst>
                                    <p:cond delay="0"/>
                                  </p:stCondLst>
                                  <p:childTnLst>
                                    <p:set>
                                      <p:cBhvr>
                                        <p:cTn id="91" dur="1" fill="hold">
                                          <p:stCondLst>
                                            <p:cond delay="0"/>
                                          </p:stCondLst>
                                        </p:cTn>
                                        <p:tgtEl>
                                          <p:spTgt spid="375"/>
                                        </p:tgtEl>
                                        <p:attrNameLst>
                                          <p:attrName>style.visibility</p:attrName>
                                        </p:attrNameLst>
                                      </p:cBhvr>
                                      <p:to>
                                        <p:strVal val="visible"/>
                                      </p:to>
                                    </p:set>
                                    <p:animEffect transition="in" filter="fade">
                                      <p:cBhvr>
                                        <p:cTn id="92" dur="500"/>
                                        <p:tgtEl>
                                          <p:spTgt spid="375"/>
                                        </p:tgtEl>
                                      </p:cBhvr>
                                    </p:animEffect>
                                  </p:childTnLst>
                                </p:cTn>
                              </p:par>
                            </p:childTnLst>
                          </p:cTn>
                        </p:par>
                        <p:par>
                          <p:cTn id="93" fill="hold">
                            <p:stCondLst>
                              <p:cond delay="2500"/>
                            </p:stCondLst>
                            <p:childTnLst>
                              <p:par>
                                <p:cTn id="94" presetID="10" presetClass="entr" presetSubtype="0" fill="hold" nodeType="afterEffect">
                                  <p:stCondLst>
                                    <p:cond delay="0"/>
                                  </p:stCondLst>
                                  <p:childTnLst>
                                    <p:set>
                                      <p:cBhvr>
                                        <p:cTn id="95" dur="1" fill="hold">
                                          <p:stCondLst>
                                            <p:cond delay="0"/>
                                          </p:stCondLst>
                                        </p:cTn>
                                        <p:tgtEl>
                                          <p:spTgt spid="380"/>
                                        </p:tgtEl>
                                        <p:attrNameLst>
                                          <p:attrName>style.visibility</p:attrName>
                                        </p:attrNameLst>
                                      </p:cBhvr>
                                      <p:to>
                                        <p:strVal val="visible"/>
                                      </p:to>
                                    </p:set>
                                    <p:animEffect transition="in" filter="fade">
                                      <p:cBhvr>
                                        <p:cTn id="96" dur="500"/>
                                        <p:tgtEl>
                                          <p:spTgt spid="380"/>
                                        </p:tgtEl>
                                      </p:cBhvr>
                                    </p:animEffect>
                                  </p:childTnLst>
                                </p:cTn>
                              </p:par>
                            </p:childTnLst>
                          </p:cTn>
                        </p:par>
                        <p:par>
                          <p:cTn id="97" fill="hold">
                            <p:stCondLst>
                              <p:cond delay="3000"/>
                            </p:stCondLst>
                            <p:childTnLst>
                              <p:par>
                                <p:cTn id="98" presetID="10" presetClass="entr" presetSubtype="0" fill="hold" nodeType="afterEffect">
                                  <p:stCondLst>
                                    <p:cond delay="0"/>
                                  </p:stCondLst>
                                  <p:childTnLst>
                                    <p:set>
                                      <p:cBhvr>
                                        <p:cTn id="99" dur="1" fill="hold">
                                          <p:stCondLst>
                                            <p:cond delay="0"/>
                                          </p:stCondLst>
                                        </p:cTn>
                                        <p:tgtEl>
                                          <p:spTgt spid="395"/>
                                        </p:tgtEl>
                                        <p:attrNameLst>
                                          <p:attrName>style.visibility</p:attrName>
                                        </p:attrNameLst>
                                      </p:cBhvr>
                                      <p:to>
                                        <p:strVal val="visible"/>
                                      </p:to>
                                    </p:set>
                                    <p:animEffect transition="in" filter="fade">
                                      <p:cBhvr>
                                        <p:cTn id="100" dur="500"/>
                                        <p:tgtEl>
                                          <p:spTgt spid="395"/>
                                        </p:tgtEl>
                                      </p:cBhvr>
                                    </p:animEffect>
                                  </p:childTnLst>
                                </p:cTn>
                              </p:par>
                            </p:childTnLst>
                          </p:cTn>
                        </p:par>
                        <p:par>
                          <p:cTn id="101" fill="hold">
                            <p:stCondLst>
                              <p:cond delay="3500"/>
                            </p:stCondLst>
                            <p:childTnLst>
                              <p:par>
                                <p:cTn id="102" presetID="10" presetClass="entr" presetSubtype="0" fill="hold" nodeType="afterEffect">
                                  <p:stCondLst>
                                    <p:cond delay="0"/>
                                  </p:stCondLst>
                                  <p:childTnLst>
                                    <p:set>
                                      <p:cBhvr>
                                        <p:cTn id="103" dur="1" fill="hold">
                                          <p:stCondLst>
                                            <p:cond delay="0"/>
                                          </p:stCondLst>
                                        </p:cTn>
                                        <p:tgtEl>
                                          <p:spTgt spid="394"/>
                                        </p:tgtEl>
                                        <p:attrNameLst>
                                          <p:attrName>style.visibility</p:attrName>
                                        </p:attrNameLst>
                                      </p:cBhvr>
                                      <p:to>
                                        <p:strVal val="visible"/>
                                      </p:to>
                                    </p:set>
                                    <p:animEffect transition="in" filter="fade">
                                      <p:cBhvr>
                                        <p:cTn id="104" dur="500"/>
                                        <p:tgtEl>
                                          <p:spTgt spid="394"/>
                                        </p:tgtEl>
                                      </p:cBhvr>
                                    </p:animEffect>
                                  </p:childTnLst>
                                </p:cTn>
                              </p:par>
                            </p:childTnLst>
                          </p:cTn>
                        </p:par>
                        <p:par>
                          <p:cTn id="105" fill="hold">
                            <p:stCondLst>
                              <p:cond delay="4000"/>
                            </p:stCondLst>
                            <p:childTnLst>
                              <p:par>
                                <p:cTn id="106" presetID="10" presetClass="entr" presetSubtype="0" fill="hold" nodeType="afterEffect">
                                  <p:stCondLst>
                                    <p:cond delay="0"/>
                                  </p:stCondLst>
                                  <p:childTnLst>
                                    <p:set>
                                      <p:cBhvr>
                                        <p:cTn id="107" dur="1" fill="hold">
                                          <p:stCondLst>
                                            <p:cond delay="0"/>
                                          </p:stCondLst>
                                        </p:cTn>
                                        <p:tgtEl>
                                          <p:spTgt spid="63"/>
                                        </p:tgtEl>
                                        <p:attrNameLst>
                                          <p:attrName>style.visibility</p:attrName>
                                        </p:attrNameLst>
                                      </p:cBhvr>
                                      <p:to>
                                        <p:strVal val="visible"/>
                                      </p:to>
                                    </p:set>
                                    <p:animEffect transition="in" filter="fade">
                                      <p:cBhvr>
                                        <p:cTn id="108" dur="500"/>
                                        <p:tgtEl>
                                          <p:spTgt spid="63"/>
                                        </p:tgtEl>
                                      </p:cBhvr>
                                    </p:animEffect>
                                  </p:childTnLst>
                                </p:cTn>
                              </p:par>
                            </p:childTnLst>
                          </p:cTn>
                        </p:par>
                        <p:par>
                          <p:cTn id="109" fill="hold">
                            <p:stCondLst>
                              <p:cond delay="4500"/>
                            </p:stCondLst>
                            <p:childTnLst>
                              <p:par>
                                <p:cTn id="110" presetID="22" presetClass="entr" presetSubtype="8" fill="hold" grpId="0" nodeType="afterEffect">
                                  <p:stCondLst>
                                    <p:cond delay="0"/>
                                  </p:stCondLst>
                                  <p:childTnLst>
                                    <p:set>
                                      <p:cBhvr>
                                        <p:cTn id="111" dur="1" fill="hold">
                                          <p:stCondLst>
                                            <p:cond delay="0"/>
                                          </p:stCondLst>
                                        </p:cTn>
                                        <p:tgtEl>
                                          <p:spTgt spid="75"/>
                                        </p:tgtEl>
                                        <p:attrNameLst>
                                          <p:attrName>style.visibility</p:attrName>
                                        </p:attrNameLst>
                                      </p:cBhvr>
                                      <p:to>
                                        <p:strVal val="visible"/>
                                      </p:to>
                                    </p:set>
                                    <p:animEffect transition="in" filter="wipe(left)">
                                      <p:cBhvr>
                                        <p:cTn id="112" dur="500"/>
                                        <p:tgtEl>
                                          <p:spTgt spid="75"/>
                                        </p:tgtEl>
                                      </p:cBhvr>
                                    </p:animEffect>
                                  </p:childTnLst>
                                </p:cTn>
                              </p:par>
                            </p:childTnLst>
                          </p:cTn>
                        </p:par>
                        <p:par>
                          <p:cTn id="113" fill="hold">
                            <p:stCondLst>
                              <p:cond delay="5000"/>
                            </p:stCondLst>
                            <p:childTnLst>
                              <p:par>
                                <p:cTn id="114" presetID="10" presetClass="entr" presetSubtype="0" fill="hold" nodeType="afterEffect">
                                  <p:stCondLst>
                                    <p:cond delay="0"/>
                                  </p:stCondLst>
                                  <p:childTnLst>
                                    <p:set>
                                      <p:cBhvr>
                                        <p:cTn id="115" dur="1" fill="hold">
                                          <p:stCondLst>
                                            <p:cond delay="0"/>
                                          </p:stCondLst>
                                        </p:cTn>
                                        <p:tgtEl>
                                          <p:spTgt spid="332"/>
                                        </p:tgtEl>
                                        <p:attrNameLst>
                                          <p:attrName>style.visibility</p:attrName>
                                        </p:attrNameLst>
                                      </p:cBhvr>
                                      <p:to>
                                        <p:strVal val="visible"/>
                                      </p:to>
                                    </p:set>
                                    <p:animEffect transition="in" filter="fade">
                                      <p:cBhvr>
                                        <p:cTn id="116" dur="500"/>
                                        <p:tgtEl>
                                          <p:spTgt spid="332"/>
                                        </p:tgtEl>
                                      </p:cBhvr>
                                    </p:animEffect>
                                  </p:childTnLst>
                                </p:cTn>
                              </p:par>
                              <p:par>
                                <p:cTn id="117" presetID="10" presetClass="entr" presetSubtype="0" fill="hold" nodeType="withEffect">
                                  <p:stCondLst>
                                    <p:cond delay="0"/>
                                  </p:stCondLst>
                                  <p:childTnLst>
                                    <p:set>
                                      <p:cBhvr>
                                        <p:cTn id="118" dur="1" fill="hold">
                                          <p:stCondLst>
                                            <p:cond delay="0"/>
                                          </p:stCondLst>
                                        </p:cTn>
                                        <p:tgtEl>
                                          <p:spTgt spid="334"/>
                                        </p:tgtEl>
                                        <p:attrNameLst>
                                          <p:attrName>style.visibility</p:attrName>
                                        </p:attrNameLst>
                                      </p:cBhvr>
                                      <p:to>
                                        <p:strVal val="visible"/>
                                      </p:to>
                                    </p:set>
                                    <p:animEffect transition="in" filter="fade">
                                      <p:cBhvr>
                                        <p:cTn id="119" dur="500"/>
                                        <p:tgtEl>
                                          <p:spTgt spid="334"/>
                                        </p:tgtEl>
                                      </p:cBhvr>
                                    </p:animEffect>
                                  </p:childTnLst>
                                </p:cTn>
                              </p:par>
                              <p:par>
                                <p:cTn id="120" presetID="10" presetClass="entr" presetSubtype="0" fill="hold" nodeType="withEffect">
                                  <p:stCondLst>
                                    <p:cond delay="0"/>
                                  </p:stCondLst>
                                  <p:childTnLst>
                                    <p:set>
                                      <p:cBhvr>
                                        <p:cTn id="121" dur="1" fill="hold">
                                          <p:stCondLst>
                                            <p:cond delay="0"/>
                                          </p:stCondLst>
                                        </p:cTn>
                                        <p:tgtEl>
                                          <p:spTgt spid="256"/>
                                        </p:tgtEl>
                                        <p:attrNameLst>
                                          <p:attrName>style.visibility</p:attrName>
                                        </p:attrNameLst>
                                      </p:cBhvr>
                                      <p:to>
                                        <p:strVal val="visible"/>
                                      </p:to>
                                    </p:set>
                                    <p:animEffect transition="in" filter="fade">
                                      <p:cBhvr>
                                        <p:cTn id="122" dur="500"/>
                                        <p:tgtEl>
                                          <p:spTgt spid="256"/>
                                        </p:tgtEl>
                                      </p:cBhvr>
                                    </p:animEffect>
                                  </p:childTnLst>
                                </p:cTn>
                              </p:par>
                              <p:par>
                                <p:cTn id="123" presetID="10" presetClass="entr" presetSubtype="0" fill="hold" nodeType="withEffect">
                                  <p:stCondLst>
                                    <p:cond delay="0"/>
                                  </p:stCondLst>
                                  <p:childTnLst>
                                    <p:set>
                                      <p:cBhvr>
                                        <p:cTn id="124" dur="1" fill="hold">
                                          <p:stCondLst>
                                            <p:cond delay="0"/>
                                          </p:stCondLst>
                                        </p:cTn>
                                        <p:tgtEl>
                                          <p:spTgt spid="335"/>
                                        </p:tgtEl>
                                        <p:attrNameLst>
                                          <p:attrName>style.visibility</p:attrName>
                                        </p:attrNameLst>
                                      </p:cBhvr>
                                      <p:to>
                                        <p:strVal val="visible"/>
                                      </p:to>
                                    </p:set>
                                    <p:animEffect transition="in" filter="fade">
                                      <p:cBhvr>
                                        <p:cTn id="125" dur="500"/>
                                        <p:tgtEl>
                                          <p:spTgt spid="335"/>
                                        </p:tgtEl>
                                      </p:cBhvr>
                                    </p:animEffect>
                                  </p:childTnLst>
                                </p:cTn>
                              </p:par>
                              <p:par>
                                <p:cTn id="126" presetID="10" presetClass="entr" presetSubtype="0" fill="hold" nodeType="withEffect">
                                  <p:stCondLst>
                                    <p:cond delay="0"/>
                                  </p:stCondLst>
                                  <p:childTnLst>
                                    <p:set>
                                      <p:cBhvr>
                                        <p:cTn id="127" dur="1" fill="hold">
                                          <p:stCondLst>
                                            <p:cond delay="0"/>
                                          </p:stCondLst>
                                        </p:cTn>
                                        <p:tgtEl>
                                          <p:spTgt spid="331"/>
                                        </p:tgtEl>
                                        <p:attrNameLst>
                                          <p:attrName>style.visibility</p:attrName>
                                        </p:attrNameLst>
                                      </p:cBhvr>
                                      <p:to>
                                        <p:strVal val="visible"/>
                                      </p:to>
                                    </p:set>
                                    <p:animEffect transition="in" filter="fade">
                                      <p:cBhvr>
                                        <p:cTn id="128" dur="500"/>
                                        <p:tgtEl>
                                          <p:spTgt spid="331"/>
                                        </p:tgtEl>
                                      </p:cBhvr>
                                    </p:animEffect>
                                  </p:childTnLst>
                                </p:cTn>
                              </p:par>
                            </p:childTnLst>
                          </p:cTn>
                        </p:par>
                        <p:par>
                          <p:cTn id="129" fill="hold">
                            <p:stCondLst>
                              <p:cond delay="5500"/>
                            </p:stCondLst>
                            <p:childTnLst>
                              <p:par>
                                <p:cTn id="130" presetID="10" presetClass="entr" presetSubtype="0" fill="hold" nodeType="afterEffect">
                                  <p:stCondLst>
                                    <p:cond delay="0"/>
                                  </p:stCondLst>
                                  <p:childTnLst>
                                    <p:set>
                                      <p:cBhvr>
                                        <p:cTn id="131" dur="1" fill="hold">
                                          <p:stCondLst>
                                            <p:cond delay="0"/>
                                          </p:stCondLst>
                                        </p:cTn>
                                        <p:tgtEl>
                                          <p:spTgt spid="44"/>
                                        </p:tgtEl>
                                        <p:attrNameLst>
                                          <p:attrName>style.visibility</p:attrName>
                                        </p:attrNameLst>
                                      </p:cBhvr>
                                      <p:to>
                                        <p:strVal val="visible"/>
                                      </p:to>
                                    </p:set>
                                    <p:animEffect transition="in" filter="fade">
                                      <p:cBhvr>
                                        <p:cTn id="132" dur="500"/>
                                        <p:tgtEl>
                                          <p:spTgt spid="44"/>
                                        </p:tgtEl>
                                      </p:cBhvr>
                                    </p:animEffect>
                                  </p:childTnLst>
                                </p:cTn>
                              </p:par>
                              <p:par>
                                <p:cTn id="133" presetID="10" presetClass="entr" presetSubtype="0" fill="hold" nodeType="withEffect">
                                  <p:stCondLst>
                                    <p:cond delay="0"/>
                                  </p:stCondLst>
                                  <p:childTnLst>
                                    <p:set>
                                      <p:cBhvr>
                                        <p:cTn id="134" dur="1" fill="hold">
                                          <p:stCondLst>
                                            <p:cond delay="0"/>
                                          </p:stCondLst>
                                        </p:cTn>
                                        <p:tgtEl>
                                          <p:spTgt spid="333"/>
                                        </p:tgtEl>
                                        <p:attrNameLst>
                                          <p:attrName>style.visibility</p:attrName>
                                        </p:attrNameLst>
                                      </p:cBhvr>
                                      <p:to>
                                        <p:strVal val="visible"/>
                                      </p:to>
                                    </p:set>
                                    <p:animEffect transition="in" filter="fade">
                                      <p:cBhvr>
                                        <p:cTn id="135" dur="500"/>
                                        <p:tgtEl>
                                          <p:spTgt spid="333"/>
                                        </p:tgtEl>
                                      </p:cBhvr>
                                    </p:animEffect>
                                  </p:childTnLst>
                                </p:cTn>
                              </p:par>
                              <p:par>
                                <p:cTn id="136" presetID="10" presetClass="entr" presetSubtype="0" fill="hold" nodeType="withEffect">
                                  <p:stCondLst>
                                    <p:cond delay="0"/>
                                  </p:stCondLst>
                                  <p:childTnLst>
                                    <p:set>
                                      <p:cBhvr>
                                        <p:cTn id="137" dur="1" fill="hold">
                                          <p:stCondLst>
                                            <p:cond delay="0"/>
                                          </p:stCondLst>
                                        </p:cTn>
                                        <p:tgtEl>
                                          <p:spTgt spid="336"/>
                                        </p:tgtEl>
                                        <p:attrNameLst>
                                          <p:attrName>style.visibility</p:attrName>
                                        </p:attrNameLst>
                                      </p:cBhvr>
                                      <p:to>
                                        <p:strVal val="visible"/>
                                      </p:to>
                                    </p:set>
                                    <p:animEffect transition="in" filter="fade">
                                      <p:cBhvr>
                                        <p:cTn id="138" dur="500"/>
                                        <p:tgtEl>
                                          <p:spTgt spid="336"/>
                                        </p:tgtEl>
                                      </p:cBhvr>
                                    </p:animEffect>
                                  </p:childTnLst>
                                </p:cTn>
                              </p:par>
                              <p:par>
                                <p:cTn id="139" presetID="10" presetClass="entr" presetSubtype="0" fill="hold" nodeType="withEffect">
                                  <p:stCondLst>
                                    <p:cond delay="0"/>
                                  </p:stCondLst>
                                  <p:childTnLst>
                                    <p:set>
                                      <p:cBhvr>
                                        <p:cTn id="140" dur="1" fill="hold">
                                          <p:stCondLst>
                                            <p:cond delay="0"/>
                                          </p:stCondLst>
                                        </p:cTn>
                                        <p:tgtEl>
                                          <p:spTgt spid="417"/>
                                        </p:tgtEl>
                                        <p:attrNameLst>
                                          <p:attrName>style.visibility</p:attrName>
                                        </p:attrNameLst>
                                      </p:cBhvr>
                                      <p:to>
                                        <p:strVal val="visible"/>
                                      </p:to>
                                    </p:set>
                                    <p:animEffect transition="in" filter="fade">
                                      <p:cBhvr>
                                        <p:cTn id="141" dur="500"/>
                                        <p:tgtEl>
                                          <p:spTgt spid="417"/>
                                        </p:tgtEl>
                                      </p:cBhvr>
                                    </p:animEffect>
                                  </p:childTnLst>
                                </p:cTn>
                              </p:par>
                            </p:childTnLst>
                          </p:cTn>
                        </p:par>
                        <p:par>
                          <p:cTn id="142" fill="hold">
                            <p:stCondLst>
                              <p:cond delay="6000"/>
                            </p:stCondLst>
                            <p:childTnLst>
                              <p:par>
                                <p:cTn id="143" presetID="22" presetClass="entr" presetSubtype="2" fill="hold" grpId="0" nodeType="afterEffect">
                                  <p:stCondLst>
                                    <p:cond delay="0"/>
                                  </p:stCondLst>
                                  <p:childTnLst>
                                    <p:set>
                                      <p:cBhvr>
                                        <p:cTn id="144" dur="1" fill="hold">
                                          <p:stCondLst>
                                            <p:cond delay="0"/>
                                          </p:stCondLst>
                                        </p:cTn>
                                        <p:tgtEl>
                                          <p:spTgt spid="71"/>
                                        </p:tgtEl>
                                        <p:attrNameLst>
                                          <p:attrName>style.visibility</p:attrName>
                                        </p:attrNameLst>
                                      </p:cBhvr>
                                      <p:to>
                                        <p:strVal val="visible"/>
                                      </p:to>
                                    </p:set>
                                    <p:animEffect transition="in" filter="wipe(right)">
                                      <p:cBhvr>
                                        <p:cTn id="145" dur="500"/>
                                        <p:tgtEl>
                                          <p:spTgt spid="71"/>
                                        </p:tgtEl>
                                      </p:cBhvr>
                                    </p:animEffect>
                                  </p:childTnLst>
                                </p:cTn>
                              </p:par>
                            </p:childTnLst>
                          </p:cTn>
                        </p:par>
                        <p:par>
                          <p:cTn id="146" fill="hold">
                            <p:stCondLst>
                              <p:cond delay="6500"/>
                            </p:stCondLst>
                            <p:childTnLst>
                              <p:par>
                                <p:cTn id="147" presetID="10" presetClass="entr" presetSubtype="0" fill="hold" nodeType="afterEffect">
                                  <p:stCondLst>
                                    <p:cond delay="0"/>
                                  </p:stCondLst>
                                  <p:childTnLst>
                                    <p:set>
                                      <p:cBhvr>
                                        <p:cTn id="148" dur="1" fill="hold">
                                          <p:stCondLst>
                                            <p:cond delay="0"/>
                                          </p:stCondLst>
                                        </p:cTn>
                                        <p:tgtEl>
                                          <p:spTgt spid="337"/>
                                        </p:tgtEl>
                                        <p:attrNameLst>
                                          <p:attrName>style.visibility</p:attrName>
                                        </p:attrNameLst>
                                      </p:cBhvr>
                                      <p:to>
                                        <p:strVal val="visible"/>
                                      </p:to>
                                    </p:set>
                                    <p:animEffect transition="in" filter="fade">
                                      <p:cBhvr>
                                        <p:cTn id="149" dur="500"/>
                                        <p:tgtEl>
                                          <p:spTgt spid="337"/>
                                        </p:tgtEl>
                                      </p:cBhvr>
                                    </p:animEffect>
                                  </p:childTnLst>
                                </p:cTn>
                              </p:par>
                              <p:par>
                                <p:cTn id="150" presetID="10" presetClass="entr" presetSubtype="0" fill="hold" nodeType="withEffect">
                                  <p:stCondLst>
                                    <p:cond delay="0"/>
                                  </p:stCondLst>
                                  <p:childTnLst>
                                    <p:set>
                                      <p:cBhvr>
                                        <p:cTn id="151" dur="1" fill="hold">
                                          <p:stCondLst>
                                            <p:cond delay="0"/>
                                          </p:stCondLst>
                                        </p:cTn>
                                        <p:tgtEl>
                                          <p:spTgt spid="328"/>
                                        </p:tgtEl>
                                        <p:attrNameLst>
                                          <p:attrName>style.visibility</p:attrName>
                                        </p:attrNameLst>
                                      </p:cBhvr>
                                      <p:to>
                                        <p:strVal val="visible"/>
                                      </p:to>
                                    </p:set>
                                    <p:animEffect transition="in" filter="fade">
                                      <p:cBhvr>
                                        <p:cTn id="152" dur="500"/>
                                        <p:tgtEl>
                                          <p:spTgt spid="328"/>
                                        </p:tgtEl>
                                      </p:cBhvr>
                                    </p:animEffect>
                                  </p:childTnLst>
                                </p:cTn>
                              </p:par>
                              <p:par>
                                <p:cTn id="153" presetID="10" presetClass="entr" presetSubtype="0" fill="hold" nodeType="withEffect">
                                  <p:stCondLst>
                                    <p:cond delay="0"/>
                                  </p:stCondLst>
                                  <p:childTnLst>
                                    <p:set>
                                      <p:cBhvr>
                                        <p:cTn id="154" dur="1" fill="hold">
                                          <p:stCondLst>
                                            <p:cond delay="0"/>
                                          </p:stCondLst>
                                        </p:cTn>
                                        <p:tgtEl>
                                          <p:spTgt spid="243"/>
                                        </p:tgtEl>
                                        <p:attrNameLst>
                                          <p:attrName>style.visibility</p:attrName>
                                        </p:attrNameLst>
                                      </p:cBhvr>
                                      <p:to>
                                        <p:strVal val="visible"/>
                                      </p:to>
                                    </p:set>
                                    <p:animEffect transition="in" filter="fade">
                                      <p:cBhvr>
                                        <p:cTn id="155" dur="500"/>
                                        <p:tgtEl>
                                          <p:spTgt spid="243"/>
                                        </p:tgtEl>
                                      </p:cBhvr>
                                    </p:animEffect>
                                  </p:childTnLst>
                                </p:cTn>
                              </p:par>
                            </p:childTnLst>
                          </p:cTn>
                        </p:par>
                        <p:par>
                          <p:cTn id="156" fill="hold">
                            <p:stCondLst>
                              <p:cond delay="7000"/>
                            </p:stCondLst>
                            <p:childTnLst>
                              <p:par>
                                <p:cTn id="157" presetID="10" presetClass="entr" presetSubtype="0" fill="hold" nodeType="afterEffect">
                                  <p:stCondLst>
                                    <p:cond delay="0"/>
                                  </p:stCondLst>
                                  <p:childTnLst>
                                    <p:set>
                                      <p:cBhvr>
                                        <p:cTn id="158" dur="1" fill="hold">
                                          <p:stCondLst>
                                            <p:cond delay="0"/>
                                          </p:stCondLst>
                                        </p:cTn>
                                        <p:tgtEl>
                                          <p:spTgt spid="338"/>
                                        </p:tgtEl>
                                        <p:attrNameLst>
                                          <p:attrName>style.visibility</p:attrName>
                                        </p:attrNameLst>
                                      </p:cBhvr>
                                      <p:to>
                                        <p:strVal val="visible"/>
                                      </p:to>
                                    </p:set>
                                    <p:animEffect transition="in" filter="fade">
                                      <p:cBhvr>
                                        <p:cTn id="159" dur="500"/>
                                        <p:tgtEl>
                                          <p:spTgt spid="338"/>
                                        </p:tgtEl>
                                      </p:cBhvr>
                                    </p:animEffect>
                                  </p:childTnLst>
                                </p:cTn>
                              </p:par>
                              <p:par>
                                <p:cTn id="160" presetID="10" presetClass="entr" presetSubtype="0" fill="hold" nodeType="withEffect">
                                  <p:stCondLst>
                                    <p:cond delay="0"/>
                                  </p:stCondLst>
                                  <p:childTnLst>
                                    <p:set>
                                      <p:cBhvr>
                                        <p:cTn id="161" dur="1" fill="hold">
                                          <p:stCondLst>
                                            <p:cond delay="0"/>
                                          </p:stCondLst>
                                        </p:cTn>
                                        <p:tgtEl>
                                          <p:spTgt spid="339"/>
                                        </p:tgtEl>
                                        <p:attrNameLst>
                                          <p:attrName>style.visibility</p:attrName>
                                        </p:attrNameLst>
                                      </p:cBhvr>
                                      <p:to>
                                        <p:strVal val="visible"/>
                                      </p:to>
                                    </p:set>
                                    <p:animEffect transition="in" filter="fade">
                                      <p:cBhvr>
                                        <p:cTn id="162" dur="500"/>
                                        <p:tgtEl>
                                          <p:spTgt spid="339"/>
                                        </p:tgtEl>
                                      </p:cBhvr>
                                    </p:animEffect>
                                  </p:childTnLst>
                                </p:cTn>
                              </p:par>
                              <p:par>
                                <p:cTn id="163" presetID="10" presetClass="entr" presetSubtype="0" fill="hold" nodeType="withEffect">
                                  <p:stCondLst>
                                    <p:cond delay="0"/>
                                  </p:stCondLst>
                                  <p:childTnLst>
                                    <p:set>
                                      <p:cBhvr>
                                        <p:cTn id="164" dur="1" fill="hold">
                                          <p:stCondLst>
                                            <p:cond delay="0"/>
                                          </p:stCondLst>
                                        </p:cTn>
                                        <p:tgtEl>
                                          <p:spTgt spid="340"/>
                                        </p:tgtEl>
                                        <p:attrNameLst>
                                          <p:attrName>style.visibility</p:attrName>
                                        </p:attrNameLst>
                                      </p:cBhvr>
                                      <p:to>
                                        <p:strVal val="visible"/>
                                      </p:to>
                                    </p:set>
                                    <p:animEffect transition="in" filter="fade">
                                      <p:cBhvr>
                                        <p:cTn id="165" dur="500"/>
                                        <p:tgtEl>
                                          <p:spTgt spid="340"/>
                                        </p:tgtEl>
                                      </p:cBhvr>
                                    </p:animEffect>
                                  </p:childTnLst>
                                </p:cTn>
                              </p:par>
                            </p:childTnLst>
                          </p:cTn>
                        </p:par>
                        <p:par>
                          <p:cTn id="166" fill="hold">
                            <p:stCondLst>
                              <p:cond delay="7500"/>
                            </p:stCondLst>
                            <p:childTnLst>
                              <p:par>
                                <p:cTn id="167" presetID="10" presetClass="entr" presetSubtype="0" fill="hold" nodeType="afterEffect">
                                  <p:stCondLst>
                                    <p:cond delay="0"/>
                                  </p:stCondLst>
                                  <p:childTnLst>
                                    <p:set>
                                      <p:cBhvr>
                                        <p:cTn id="168" dur="1" fill="hold">
                                          <p:stCondLst>
                                            <p:cond delay="0"/>
                                          </p:stCondLst>
                                        </p:cTn>
                                        <p:tgtEl>
                                          <p:spTgt spid="341"/>
                                        </p:tgtEl>
                                        <p:attrNameLst>
                                          <p:attrName>style.visibility</p:attrName>
                                        </p:attrNameLst>
                                      </p:cBhvr>
                                      <p:to>
                                        <p:strVal val="visible"/>
                                      </p:to>
                                    </p:set>
                                    <p:animEffect transition="in" filter="fade">
                                      <p:cBhvr>
                                        <p:cTn id="169" dur="500"/>
                                        <p:tgtEl>
                                          <p:spTgt spid="341"/>
                                        </p:tgtEl>
                                      </p:cBhvr>
                                    </p:animEffect>
                                  </p:childTnLst>
                                </p:cTn>
                              </p:par>
                              <p:par>
                                <p:cTn id="170" presetID="10" presetClass="entr" presetSubtype="0" fill="hold" nodeType="withEffect">
                                  <p:stCondLst>
                                    <p:cond delay="0"/>
                                  </p:stCondLst>
                                  <p:childTnLst>
                                    <p:set>
                                      <p:cBhvr>
                                        <p:cTn id="171" dur="1" fill="hold">
                                          <p:stCondLst>
                                            <p:cond delay="0"/>
                                          </p:stCondLst>
                                        </p:cTn>
                                        <p:tgtEl>
                                          <p:spTgt spid="242"/>
                                        </p:tgtEl>
                                        <p:attrNameLst>
                                          <p:attrName>style.visibility</p:attrName>
                                        </p:attrNameLst>
                                      </p:cBhvr>
                                      <p:to>
                                        <p:strVal val="visible"/>
                                      </p:to>
                                    </p:set>
                                    <p:animEffect transition="in" filter="fade">
                                      <p:cBhvr>
                                        <p:cTn id="172" dur="500"/>
                                        <p:tgtEl>
                                          <p:spTgt spid="2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87" grpId="0" animBg="1"/>
      <p:bldP spid="31" grpId="0" animBg="1"/>
      <p:bldP spid="32" grpId="0" animBg="1"/>
      <p:bldP spid="56" grpId="0" animBg="1"/>
      <p:bldP spid="71" grpId="0" animBg="1"/>
      <p:bldP spid="33" grpId="0" animBg="1"/>
      <p:bldP spid="75"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rive Customer Profitability and Retention</a:t>
            </a:r>
          </a:p>
        </p:txBody>
      </p:sp>
      <p:sp>
        <p:nvSpPr>
          <p:cNvPr id="98" name="Text Placeholder 97"/>
          <p:cNvSpPr>
            <a:spLocks noGrp="1"/>
          </p:cNvSpPr>
          <p:nvPr>
            <p:ph type="body" sz="quarter" idx="13"/>
          </p:nvPr>
        </p:nvSpPr>
        <p:spPr/>
        <p:txBody>
          <a:bodyPr/>
          <a:lstStyle/>
          <a:p>
            <a:r>
              <a:rPr lang="en-US" dirty="0"/>
              <a:t>Solution Process</a:t>
            </a:r>
          </a:p>
        </p:txBody>
      </p:sp>
      <p:sp>
        <p:nvSpPr>
          <p:cNvPr id="5" name="Text Box 4"/>
          <p:cNvSpPr txBox="1">
            <a:spLocks noChangeArrowheads="1"/>
          </p:cNvSpPr>
          <p:nvPr/>
        </p:nvSpPr>
        <p:spPr bwMode="gray">
          <a:xfrm>
            <a:off x="304800" y="4968240"/>
            <a:ext cx="2944876" cy="1508760"/>
          </a:xfrm>
          <a:prstGeom prst="rect">
            <a:avLst/>
          </a:prstGeom>
          <a:solidFill>
            <a:schemeClr val="bg1">
              <a:lumMod val="95000"/>
            </a:schemeClr>
          </a:solidFill>
          <a:ln w="3175" cap="flat" cmpd="sng" algn="ctr">
            <a:no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37160" indent="-137160">
              <a:spcBef>
                <a:spcPts val="100"/>
              </a:spcBef>
              <a:spcAft>
                <a:spcPts val="200"/>
              </a:spcAft>
              <a:buFont typeface="Arial" panose="020B0604020202020204" pitchFamily="34" charset="0"/>
              <a:buChar char="•"/>
              <a:defRPr/>
            </a:pPr>
            <a:r>
              <a:rPr lang="en-US" sz="1050" dirty="0">
                <a:ln>
                  <a:noFill/>
                </a:ln>
                <a:solidFill>
                  <a:schemeClr val="tx1"/>
                </a:solidFill>
              </a:rPr>
              <a:t>Improved marketing and sales effectiveness</a:t>
            </a:r>
          </a:p>
          <a:p>
            <a:pPr marL="137160" indent="-137160">
              <a:spcBef>
                <a:spcPts val="100"/>
              </a:spcBef>
              <a:spcAft>
                <a:spcPts val="200"/>
              </a:spcAft>
              <a:buFont typeface="Arial" panose="020B0604020202020204" pitchFamily="34" charset="0"/>
              <a:buChar char="•"/>
              <a:defRPr/>
            </a:pPr>
            <a:r>
              <a:rPr lang="en-US" sz="1050" dirty="0">
                <a:ln>
                  <a:noFill/>
                </a:ln>
                <a:solidFill>
                  <a:schemeClr val="tx1"/>
                </a:solidFill>
              </a:rPr>
              <a:t>Increased market share</a:t>
            </a:r>
          </a:p>
          <a:p>
            <a:pPr marL="137160" indent="-137160">
              <a:spcBef>
                <a:spcPts val="100"/>
              </a:spcBef>
              <a:spcAft>
                <a:spcPts val="200"/>
              </a:spcAft>
              <a:buFont typeface="Arial" panose="020B0604020202020204" pitchFamily="34" charset="0"/>
              <a:buChar char="•"/>
              <a:defRPr/>
            </a:pPr>
            <a:r>
              <a:rPr lang="en-US" sz="1050" dirty="0">
                <a:ln>
                  <a:noFill/>
                </a:ln>
                <a:solidFill>
                  <a:schemeClr val="tx1"/>
                </a:solidFill>
              </a:rPr>
              <a:t>Improved product and pricing strategies</a:t>
            </a:r>
          </a:p>
          <a:p>
            <a:pPr marL="137160" indent="-137160">
              <a:spcBef>
                <a:spcPts val="100"/>
              </a:spcBef>
              <a:spcAft>
                <a:spcPts val="200"/>
              </a:spcAft>
              <a:buFont typeface="Arial" panose="020B0604020202020204" pitchFamily="34" charset="0"/>
              <a:buChar char="•"/>
              <a:defRPr/>
            </a:pPr>
            <a:r>
              <a:rPr lang="en-US" sz="1050" dirty="0">
                <a:ln>
                  <a:noFill/>
                </a:ln>
                <a:solidFill>
                  <a:schemeClr val="tx1"/>
                </a:solidFill>
              </a:rPr>
              <a:t>Improved brand and shareholder satisfaction</a:t>
            </a:r>
          </a:p>
          <a:p>
            <a:pPr marL="137160" indent="-137160">
              <a:spcBef>
                <a:spcPts val="100"/>
              </a:spcBef>
              <a:spcAft>
                <a:spcPts val="200"/>
              </a:spcAft>
              <a:buFont typeface="Arial" panose="020B0604020202020204" pitchFamily="34" charset="0"/>
              <a:buChar char="•"/>
              <a:defRPr/>
            </a:pPr>
            <a:r>
              <a:rPr lang="en-US" sz="1050" dirty="0">
                <a:ln>
                  <a:noFill/>
                </a:ln>
                <a:solidFill>
                  <a:schemeClr val="tx1"/>
                </a:solidFill>
              </a:rPr>
              <a:t>Improved speed to market</a:t>
            </a:r>
          </a:p>
          <a:p>
            <a:pPr marL="137160" indent="-137160">
              <a:spcBef>
                <a:spcPts val="100"/>
              </a:spcBef>
              <a:spcAft>
                <a:spcPts val="200"/>
              </a:spcAft>
              <a:buFont typeface="Arial" panose="020B0604020202020204" pitchFamily="34" charset="0"/>
              <a:buChar char="•"/>
              <a:defRPr/>
            </a:pPr>
            <a:r>
              <a:rPr lang="en-US" sz="1050" dirty="0">
                <a:ln>
                  <a:noFill/>
                </a:ln>
                <a:solidFill>
                  <a:schemeClr val="tx1"/>
                </a:solidFill>
              </a:rPr>
              <a:t>Open new cross-sell / up-sell opportunities</a:t>
            </a:r>
          </a:p>
        </p:txBody>
      </p:sp>
      <p:sp>
        <p:nvSpPr>
          <p:cNvPr id="6" name="Rectangle 5"/>
          <p:cNvSpPr/>
          <p:nvPr/>
        </p:nvSpPr>
        <p:spPr>
          <a:xfrm>
            <a:off x="304800" y="4705018"/>
            <a:ext cx="2944876" cy="270843"/>
          </a:xfrm>
          <a:prstGeom prst="rect">
            <a:avLst/>
          </a:prstGeom>
          <a:solidFill>
            <a:schemeClr val="bg2"/>
          </a:solidFill>
          <a:ln w="3175" cap="flat" cmpd="sng" algn="ctr">
            <a:noFill/>
            <a:prstDash val="solid"/>
          </a:ln>
          <a:effectLst/>
        </p:spPr>
        <p:txBody>
          <a:bodyPr wrap="square" lIns="91440" tIns="27432" rIns="91440" bIns="27432" rtlCol="0" anchor="ctr">
            <a:spAutoFit/>
          </a:bodyPr>
          <a:lstStyle/>
          <a:p>
            <a:pPr marL="0" lvl="1" algn="ctr" defTabSz="1218106" fontAlgn="base">
              <a:buClr>
                <a:srgbClr val="FFFF99"/>
              </a:buClr>
              <a:buSzPct val="90000"/>
              <a:defRPr/>
            </a:pPr>
            <a:r>
              <a:rPr lang="en-US" sz="1400" dirty="0">
                <a:solidFill>
                  <a:schemeClr val="bg1"/>
                </a:solidFill>
                <a:latin typeface="Segoe UI Semibold" panose="020B0702040204020203" pitchFamily="34" charset="0"/>
                <a:ea typeface="Segoe UI" pitchFamily="34" charset="0"/>
                <a:cs typeface="Segoe UI" pitchFamily="34" charset="0"/>
              </a:rPr>
              <a:t>Benefits</a:t>
            </a:r>
          </a:p>
        </p:txBody>
      </p:sp>
      <p:sp>
        <p:nvSpPr>
          <p:cNvPr id="7" name="Text Box 4"/>
          <p:cNvSpPr txBox="1">
            <a:spLocks noChangeArrowheads="1"/>
          </p:cNvSpPr>
          <p:nvPr/>
        </p:nvSpPr>
        <p:spPr bwMode="gray">
          <a:xfrm>
            <a:off x="3310902" y="4968240"/>
            <a:ext cx="2759364" cy="1508760"/>
          </a:xfrm>
          <a:prstGeom prst="rect">
            <a:avLst/>
          </a:prstGeom>
          <a:solidFill>
            <a:schemeClr val="bg1">
              <a:lumMod val="95000"/>
            </a:schemeClr>
          </a:solidFill>
          <a:ln w="3175" cap="flat" cmpd="sng" algn="ctr">
            <a:no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37160" indent="-137160">
              <a:spcBef>
                <a:spcPts val="100"/>
              </a:spcBef>
              <a:spcAft>
                <a:spcPts val="200"/>
              </a:spcAft>
              <a:buFont typeface="Arial" panose="020B0604020202020204" pitchFamily="34" charset="0"/>
              <a:buChar char="•"/>
              <a:defRPr/>
            </a:pPr>
            <a:r>
              <a:rPr lang="en-US" sz="1050" dirty="0">
                <a:ln>
                  <a:noFill/>
                </a:ln>
                <a:solidFill>
                  <a:schemeClr val="tx1"/>
                </a:solidFill>
              </a:rPr>
              <a:t>Design marketing campaigns with the help of social listening analytics</a:t>
            </a:r>
          </a:p>
          <a:p>
            <a:pPr marL="137160" indent="-137160">
              <a:spcBef>
                <a:spcPts val="100"/>
              </a:spcBef>
              <a:spcAft>
                <a:spcPts val="200"/>
              </a:spcAft>
              <a:buFont typeface="Arial" panose="020B0604020202020204" pitchFamily="34" charset="0"/>
              <a:buChar char="•"/>
              <a:defRPr/>
            </a:pPr>
            <a:r>
              <a:rPr lang="en-US" sz="1050" dirty="0">
                <a:ln>
                  <a:noFill/>
                </a:ln>
                <a:solidFill>
                  <a:schemeClr val="tx1"/>
                </a:solidFill>
              </a:rPr>
              <a:t>Evaluate device telemetry to identify new marketing opportunities</a:t>
            </a:r>
          </a:p>
          <a:p>
            <a:pPr marL="137160" indent="-137160">
              <a:spcBef>
                <a:spcPts val="100"/>
              </a:spcBef>
              <a:spcAft>
                <a:spcPts val="200"/>
              </a:spcAft>
              <a:buFont typeface="Arial" panose="020B0604020202020204" pitchFamily="34" charset="0"/>
              <a:buChar char="•"/>
              <a:defRPr/>
            </a:pPr>
            <a:r>
              <a:rPr lang="en-US" sz="1050" dirty="0">
                <a:ln>
                  <a:noFill/>
                </a:ln>
                <a:solidFill>
                  <a:schemeClr val="tx1"/>
                </a:solidFill>
              </a:rPr>
              <a:t>Using customer analytics to connect customers with the most pertinent products and services</a:t>
            </a:r>
          </a:p>
          <a:p>
            <a:pPr marL="137160" indent="-137160">
              <a:spcBef>
                <a:spcPts val="100"/>
              </a:spcBef>
              <a:spcAft>
                <a:spcPts val="200"/>
              </a:spcAft>
              <a:buFont typeface="Arial" panose="020B0604020202020204" pitchFamily="34" charset="0"/>
              <a:buChar char="•"/>
              <a:defRPr/>
            </a:pPr>
            <a:r>
              <a:rPr lang="en-US" sz="1050" dirty="0">
                <a:ln>
                  <a:noFill/>
                </a:ln>
                <a:solidFill>
                  <a:schemeClr val="tx1"/>
                </a:solidFill>
              </a:rPr>
              <a:t>Personalizing mobile marketing</a:t>
            </a:r>
          </a:p>
        </p:txBody>
      </p:sp>
      <p:sp>
        <p:nvSpPr>
          <p:cNvPr id="8" name="Rectangle 7"/>
          <p:cNvSpPr/>
          <p:nvPr/>
        </p:nvSpPr>
        <p:spPr>
          <a:xfrm>
            <a:off x="3310902" y="4705018"/>
            <a:ext cx="2759364" cy="270843"/>
          </a:xfrm>
          <a:prstGeom prst="rect">
            <a:avLst/>
          </a:prstGeom>
          <a:solidFill>
            <a:schemeClr val="tx2"/>
          </a:solidFill>
          <a:ln w="3175" cap="flat" cmpd="sng" algn="ctr">
            <a:noFill/>
            <a:prstDash val="solid"/>
          </a:ln>
          <a:effectLst/>
        </p:spPr>
        <p:txBody>
          <a:bodyPr wrap="square" lIns="91440" tIns="27432" rIns="91440" bIns="27432" rtlCol="0" anchor="ctr">
            <a:spAutoFit/>
          </a:bodyPr>
          <a:lstStyle/>
          <a:p>
            <a:pPr marL="0" lvl="1" algn="ctr" defTabSz="1218106" fontAlgn="base">
              <a:spcBef>
                <a:spcPts val="200"/>
              </a:spcBef>
              <a:buClr>
                <a:srgbClr val="FFFF99"/>
              </a:buClr>
              <a:buSzPct val="90000"/>
              <a:defRPr/>
            </a:pPr>
            <a:r>
              <a:rPr lang="en-US" sz="1400" dirty="0">
                <a:solidFill>
                  <a:schemeClr val="bg1"/>
                </a:solidFill>
                <a:latin typeface="Segoe UI Semibold" panose="020B0702040204020203" pitchFamily="34" charset="0"/>
                <a:ea typeface="Segoe UI" pitchFamily="34" charset="0"/>
                <a:cs typeface="Segoe UI" pitchFamily="34" charset="0"/>
              </a:rPr>
              <a:t>Start </a:t>
            </a:r>
          </a:p>
        </p:txBody>
      </p:sp>
      <p:sp>
        <p:nvSpPr>
          <p:cNvPr id="9" name="Text Box 4"/>
          <p:cNvSpPr txBox="1">
            <a:spLocks noChangeArrowheads="1"/>
          </p:cNvSpPr>
          <p:nvPr/>
        </p:nvSpPr>
        <p:spPr bwMode="gray">
          <a:xfrm>
            <a:off x="6131493" y="4968240"/>
            <a:ext cx="2749603" cy="1508760"/>
          </a:xfrm>
          <a:prstGeom prst="rect">
            <a:avLst/>
          </a:prstGeom>
          <a:solidFill>
            <a:schemeClr val="bg1">
              <a:lumMod val="95000"/>
            </a:schemeClr>
          </a:solidFill>
          <a:ln w="3175" cap="flat" cmpd="sng" algn="ctr">
            <a:no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37160" indent="-137160">
              <a:spcBef>
                <a:spcPts val="100"/>
              </a:spcBef>
              <a:spcAft>
                <a:spcPts val="200"/>
              </a:spcAft>
              <a:buFont typeface="Arial" panose="020B0604020202020204" pitchFamily="34" charset="0"/>
              <a:buChar char="•"/>
              <a:defRPr/>
            </a:pPr>
            <a:r>
              <a:rPr lang="en-US" sz="1050" dirty="0">
                <a:ln>
                  <a:noFill/>
                </a:ln>
                <a:solidFill>
                  <a:schemeClr val="tx1"/>
                </a:solidFill>
              </a:rPr>
              <a:t>Restrict listening to only brand and not beyond (Competitors)</a:t>
            </a:r>
          </a:p>
          <a:p>
            <a:pPr marL="137160" indent="-137160">
              <a:spcBef>
                <a:spcPts val="100"/>
              </a:spcBef>
              <a:spcAft>
                <a:spcPts val="200"/>
              </a:spcAft>
              <a:buFont typeface="Arial" panose="020B0604020202020204" pitchFamily="34" charset="0"/>
              <a:buChar char="•"/>
              <a:defRPr/>
            </a:pPr>
            <a:r>
              <a:rPr lang="en-US" sz="1050" dirty="0">
                <a:ln>
                  <a:noFill/>
                </a:ln>
                <a:solidFill>
                  <a:schemeClr val="tx1"/>
                </a:solidFill>
              </a:rPr>
              <a:t>Restrict sharing sentiment analysis data throughout the organization</a:t>
            </a:r>
          </a:p>
          <a:p>
            <a:pPr marL="137160" indent="-137160">
              <a:spcBef>
                <a:spcPts val="100"/>
              </a:spcBef>
              <a:spcAft>
                <a:spcPts val="200"/>
              </a:spcAft>
              <a:buFont typeface="Arial" panose="020B0604020202020204" pitchFamily="34" charset="0"/>
              <a:buChar char="•"/>
              <a:defRPr/>
            </a:pPr>
            <a:r>
              <a:rPr lang="en-US" sz="1050" dirty="0">
                <a:ln>
                  <a:noFill/>
                </a:ln>
                <a:solidFill>
                  <a:schemeClr val="tx1"/>
                </a:solidFill>
              </a:rPr>
              <a:t>Making product decisions on hunches and after competitors have already won the market</a:t>
            </a:r>
          </a:p>
        </p:txBody>
      </p:sp>
      <p:sp>
        <p:nvSpPr>
          <p:cNvPr id="10" name="Rectangle 9"/>
          <p:cNvSpPr/>
          <p:nvPr/>
        </p:nvSpPr>
        <p:spPr>
          <a:xfrm>
            <a:off x="6131493" y="4705018"/>
            <a:ext cx="2749603" cy="270843"/>
          </a:xfrm>
          <a:prstGeom prst="rect">
            <a:avLst/>
          </a:prstGeom>
          <a:solidFill>
            <a:schemeClr val="accent1"/>
          </a:solidFill>
          <a:ln w="3175" cap="flat" cmpd="sng" algn="ctr">
            <a:noFill/>
            <a:prstDash val="solid"/>
          </a:ln>
          <a:effectLst/>
        </p:spPr>
        <p:txBody>
          <a:bodyPr wrap="square" lIns="91440" tIns="27432" rIns="91440" bIns="27432" rtlCol="0" anchor="ctr">
            <a:spAutoFit/>
          </a:bodyPr>
          <a:lstStyle/>
          <a:p>
            <a:pPr marL="0" lvl="1" algn="ctr" defTabSz="1218106" fontAlgn="base">
              <a:spcBef>
                <a:spcPts val="200"/>
              </a:spcBef>
              <a:buClr>
                <a:srgbClr val="FFFF99"/>
              </a:buClr>
              <a:buSzPct val="90000"/>
              <a:defRPr/>
            </a:pPr>
            <a:r>
              <a:rPr lang="en-US" sz="1400" dirty="0">
                <a:solidFill>
                  <a:schemeClr val="bg1"/>
                </a:solidFill>
                <a:latin typeface="Segoe UI Semibold" panose="020B0702040204020203" pitchFamily="34" charset="0"/>
                <a:ea typeface="Segoe UI" pitchFamily="34" charset="0"/>
                <a:cs typeface="Segoe UI" pitchFamily="34" charset="0"/>
              </a:rPr>
              <a:t>Stop</a:t>
            </a:r>
          </a:p>
        </p:txBody>
      </p:sp>
      <p:sp>
        <p:nvSpPr>
          <p:cNvPr id="11" name="Text Box 4"/>
          <p:cNvSpPr txBox="1">
            <a:spLocks noChangeArrowheads="1"/>
          </p:cNvSpPr>
          <p:nvPr/>
        </p:nvSpPr>
        <p:spPr bwMode="gray">
          <a:xfrm>
            <a:off x="8942321" y="4968240"/>
            <a:ext cx="2944876" cy="1508760"/>
          </a:xfrm>
          <a:prstGeom prst="rect">
            <a:avLst/>
          </a:prstGeom>
          <a:solidFill>
            <a:schemeClr val="bg1">
              <a:lumMod val="95000"/>
            </a:schemeClr>
          </a:solidFill>
          <a:ln w="3175" cap="flat" cmpd="sng" algn="ctr">
            <a:no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37160" indent="-137160">
              <a:spcBef>
                <a:spcPts val="100"/>
              </a:spcBef>
              <a:spcAft>
                <a:spcPts val="200"/>
              </a:spcAft>
              <a:buFont typeface="Arial" panose="020B0604020202020204" pitchFamily="34" charset="0"/>
              <a:buChar char="•"/>
              <a:defRPr/>
            </a:pPr>
            <a:r>
              <a:rPr lang="en-US" sz="1050" dirty="0">
                <a:ln>
                  <a:noFill/>
                </a:ln>
                <a:solidFill>
                  <a:schemeClr val="tx1"/>
                </a:solidFill>
              </a:rPr>
              <a:t>Perform customer and market</a:t>
            </a:r>
            <a:br>
              <a:rPr lang="en-US" sz="1050" dirty="0">
                <a:ln>
                  <a:noFill/>
                </a:ln>
                <a:solidFill>
                  <a:schemeClr val="tx1"/>
                </a:solidFill>
              </a:rPr>
            </a:br>
            <a:r>
              <a:rPr lang="en-US" sz="1050" dirty="0">
                <a:ln>
                  <a:noFill/>
                </a:ln>
                <a:solidFill>
                  <a:schemeClr val="tx1"/>
                </a:solidFill>
              </a:rPr>
              <a:t>intelligence analysis</a:t>
            </a:r>
          </a:p>
          <a:p>
            <a:pPr marL="137160" indent="-137160">
              <a:spcBef>
                <a:spcPts val="100"/>
              </a:spcBef>
              <a:spcAft>
                <a:spcPts val="200"/>
              </a:spcAft>
              <a:buFont typeface="Arial" panose="020B0604020202020204" pitchFamily="34" charset="0"/>
              <a:buChar char="•"/>
              <a:defRPr/>
            </a:pPr>
            <a:r>
              <a:rPr lang="en-US" sz="1050" dirty="0">
                <a:ln>
                  <a:noFill/>
                </a:ln>
                <a:solidFill>
                  <a:schemeClr val="tx1"/>
                </a:solidFill>
              </a:rPr>
              <a:t>Develop and manage social media channels</a:t>
            </a:r>
          </a:p>
          <a:p>
            <a:pPr marL="137160" indent="-137160">
              <a:spcBef>
                <a:spcPts val="100"/>
              </a:spcBef>
              <a:spcAft>
                <a:spcPts val="200"/>
              </a:spcAft>
              <a:buFont typeface="Arial" panose="020B0604020202020204" pitchFamily="34" charset="0"/>
              <a:buChar char="•"/>
              <a:defRPr/>
            </a:pPr>
            <a:r>
              <a:rPr lang="en-US" sz="1050" dirty="0">
                <a:ln>
                  <a:noFill/>
                </a:ln>
                <a:solidFill>
                  <a:schemeClr val="tx1"/>
                </a:solidFill>
              </a:rPr>
              <a:t>Develop and manage promotional activities</a:t>
            </a:r>
          </a:p>
          <a:p>
            <a:pPr marL="137160" indent="-137160">
              <a:spcBef>
                <a:spcPts val="100"/>
              </a:spcBef>
              <a:spcAft>
                <a:spcPts val="200"/>
              </a:spcAft>
              <a:buFont typeface="Arial" panose="020B0604020202020204" pitchFamily="34" charset="0"/>
              <a:buChar char="•"/>
              <a:defRPr/>
            </a:pPr>
            <a:r>
              <a:rPr lang="en-US" sz="1050" dirty="0">
                <a:ln>
                  <a:noFill/>
                </a:ln>
                <a:solidFill>
                  <a:schemeClr val="tx1"/>
                </a:solidFill>
              </a:rPr>
              <a:t>Grow revenue opportunities across the organization (</a:t>
            </a:r>
            <a:r>
              <a:rPr lang="en-US" sz="1050" dirty="0" err="1">
                <a:ln>
                  <a:noFill/>
                </a:ln>
                <a:solidFill>
                  <a:schemeClr val="tx1"/>
                </a:solidFill>
              </a:rPr>
              <a:t>ie</a:t>
            </a:r>
            <a:r>
              <a:rPr lang="en-US" sz="1050" dirty="0">
                <a:ln>
                  <a:noFill/>
                </a:ln>
                <a:solidFill>
                  <a:schemeClr val="tx1"/>
                </a:solidFill>
              </a:rPr>
              <a:t> customer service, support), not just sales</a:t>
            </a:r>
          </a:p>
        </p:txBody>
      </p:sp>
      <p:sp>
        <p:nvSpPr>
          <p:cNvPr id="12" name="Rectangle 11"/>
          <p:cNvSpPr/>
          <p:nvPr/>
        </p:nvSpPr>
        <p:spPr>
          <a:xfrm>
            <a:off x="8942321" y="4705018"/>
            <a:ext cx="2944876" cy="270843"/>
          </a:xfrm>
          <a:prstGeom prst="rect">
            <a:avLst/>
          </a:prstGeom>
          <a:solidFill>
            <a:schemeClr val="accent2"/>
          </a:solidFill>
          <a:ln w="3175" cap="flat" cmpd="sng" algn="ctr">
            <a:noFill/>
            <a:prstDash val="solid"/>
          </a:ln>
          <a:effectLst/>
        </p:spPr>
        <p:txBody>
          <a:bodyPr wrap="square" lIns="91440" tIns="27432" rIns="91440" bIns="27432" rtlCol="0" anchor="ctr">
            <a:spAutoFit/>
          </a:bodyPr>
          <a:lstStyle/>
          <a:p>
            <a:pPr marL="0" lvl="1" algn="ctr" defTabSz="1218106" fontAlgn="base">
              <a:spcBef>
                <a:spcPts val="200"/>
              </a:spcBef>
              <a:buClr>
                <a:srgbClr val="FFFF99"/>
              </a:buClr>
              <a:buSzPct val="90000"/>
              <a:defRPr/>
            </a:pPr>
            <a:r>
              <a:rPr lang="en-US" sz="1400" dirty="0">
                <a:solidFill>
                  <a:srgbClr val="000000"/>
                </a:solidFill>
                <a:latin typeface="Segoe UI Semibold" panose="020B0702040204020203" pitchFamily="34" charset="0"/>
                <a:ea typeface="Segoe UI" pitchFamily="34" charset="0"/>
                <a:cs typeface="Segoe UI" pitchFamily="34" charset="0"/>
              </a:rPr>
              <a:t>Continue</a:t>
            </a:r>
          </a:p>
        </p:txBody>
      </p:sp>
      <p:sp>
        <p:nvSpPr>
          <p:cNvPr id="13" name="Rectangle 12"/>
          <p:cNvSpPr/>
          <p:nvPr/>
        </p:nvSpPr>
        <p:spPr>
          <a:xfrm>
            <a:off x="304800" y="4251761"/>
            <a:ext cx="11582400" cy="400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608884"/>
            <a:r>
              <a:rPr lang="en-US" sz="1400" dirty="0">
                <a:solidFill>
                  <a:schemeClr val="tx1"/>
                </a:solidFill>
                <a:latin typeface="Segoe UI Semibold" panose="020B0702040204020203" pitchFamily="34" charset="0"/>
                <a:cs typeface="Segoe UI Semibold" panose="020B0702040204020203" pitchFamily="34" charset="0"/>
              </a:rPr>
              <a:t>Top-line Impact</a:t>
            </a:r>
          </a:p>
          <a:p>
            <a:pPr defTabSz="608884"/>
            <a:r>
              <a:rPr lang="en-US" sz="1200" dirty="0">
                <a:solidFill>
                  <a:schemeClr val="tx1"/>
                </a:solidFill>
                <a:cs typeface="Segoe UI Semibold" panose="020B0702040204020203" pitchFamily="34" charset="0"/>
              </a:rPr>
              <a:t>Enhance and improve customer engagement and generate ongoing revenue with personalized, timely, and agile marketing campaigns and improved product roadmaps.</a:t>
            </a:r>
          </a:p>
        </p:txBody>
      </p:sp>
      <p:sp>
        <p:nvSpPr>
          <p:cNvPr id="14" name="Rectangle 13"/>
          <p:cNvSpPr/>
          <p:nvPr/>
        </p:nvSpPr>
        <p:spPr>
          <a:xfrm>
            <a:off x="303212" y="1295400"/>
            <a:ext cx="11582400" cy="276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200" dirty="0">
                <a:solidFill>
                  <a:schemeClr val="bg1"/>
                </a:solidFill>
                <a:latin typeface="Segoe UI Semibold" panose="020B0702040204020203" pitchFamily="34" charset="0"/>
                <a:cs typeface="Segoe UI Semibold" panose="020B0702040204020203" pitchFamily="34" charset="0"/>
              </a:rPr>
              <a:t>Understand customer profiles, customer segments, and customer behaviors. Assign lifetime value and customer value. </a:t>
            </a:r>
          </a:p>
        </p:txBody>
      </p:sp>
      <p:sp>
        <p:nvSpPr>
          <p:cNvPr id="15" name="Text Box 4"/>
          <p:cNvSpPr txBox="1">
            <a:spLocks noChangeArrowheads="1"/>
          </p:cNvSpPr>
          <p:nvPr/>
        </p:nvSpPr>
        <p:spPr bwMode="gray">
          <a:xfrm>
            <a:off x="3391166" y="1647388"/>
            <a:ext cx="5397016" cy="2551227"/>
          </a:xfrm>
          <a:prstGeom prst="rect">
            <a:avLst/>
          </a:prstGeom>
          <a:solidFill>
            <a:schemeClr val="bg1">
              <a:lumMod val="95000"/>
            </a:schemeClr>
          </a:solidFill>
          <a:ln w="3175" cap="flat" cmpd="sng" algn="ctr">
            <a:no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defRPr/>
            </a:pPr>
            <a:r>
              <a:rPr lang="en-US" sz="1200" dirty="0">
                <a:ln>
                  <a:noFill/>
                </a:ln>
                <a:solidFill>
                  <a:schemeClr val="tx1"/>
                </a:solidFill>
                <a:latin typeface="Segoe UI Semibold" panose="020B0702040204020203" pitchFamily="34" charset="0"/>
                <a:cs typeface="Segoe UI Semibold" panose="020B0702040204020203" pitchFamily="34" charset="0"/>
              </a:rPr>
              <a:t>Assign value and scoring to customer segments</a:t>
            </a:r>
          </a:p>
        </p:txBody>
      </p:sp>
      <p:sp>
        <p:nvSpPr>
          <p:cNvPr id="16" name="Text Box 4"/>
          <p:cNvSpPr txBox="1">
            <a:spLocks noChangeArrowheads="1"/>
          </p:cNvSpPr>
          <p:nvPr/>
        </p:nvSpPr>
        <p:spPr bwMode="gray">
          <a:xfrm>
            <a:off x="303212" y="1647388"/>
            <a:ext cx="2858806" cy="2551227"/>
          </a:xfrm>
          <a:prstGeom prst="rect">
            <a:avLst/>
          </a:prstGeom>
          <a:solidFill>
            <a:schemeClr val="bg1"/>
          </a:solidFill>
          <a:ln w="3175" cap="flat" cmpd="sng" algn="ctr">
            <a:solidFill>
              <a:schemeClr val="bg1">
                <a:lumMod val="75000"/>
              </a:schemeClr>
            </a:solid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defRPr/>
            </a:pPr>
            <a:r>
              <a:rPr lang="en-US" sz="1200" dirty="0">
                <a:ln>
                  <a:noFill/>
                </a:ln>
                <a:solidFill>
                  <a:schemeClr val="tx1"/>
                </a:solidFill>
                <a:latin typeface="Segoe UI Semibold" panose="020B0702040204020203" pitchFamily="34" charset="0"/>
                <a:cs typeface="Segoe UI Semibold" panose="020B0702040204020203" pitchFamily="34" charset="0"/>
              </a:rPr>
              <a:t>Gather Customer Attributes</a:t>
            </a:r>
          </a:p>
        </p:txBody>
      </p:sp>
      <p:sp>
        <p:nvSpPr>
          <p:cNvPr id="17" name="Text Box 4"/>
          <p:cNvSpPr txBox="1">
            <a:spLocks noChangeArrowheads="1"/>
          </p:cNvSpPr>
          <p:nvPr/>
        </p:nvSpPr>
        <p:spPr bwMode="gray">
          <a:xfrm>
            <a:off x="9023540" y="1647388"/>
            <a:ext cx="2862072" cy="2551227"/>
          </a:xfrm>
          <a:prstGeom prst="rect">
            <a:avLst/>
          </a:prstGeom>
          <a:solidFill>
            <a:schemeClr val="bg1"/>
          </a:solidFill>
          <a:ln w="3175" cap="flat" cmpd="sng" algn="ctr">
            <a:solidFill>
              <a:schemeClr val="bg1">
                <a:lumMod val="75000"/>
              </a:schemeClr>
            </a:solid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defRPr/>
            </a:pPr>
            <a:r>
              <a:rPr lang="en-US" sz="1200" dirty="0">
                <a:ln>
                  <a:noFill/>
                </a:ln>
                <a:solidFill>
                  <a:schemeClr val="tx1"/>
                </a:solidFill>
                <a:latin typeface="Segoe UI Semibold" panose="020B0702040204020203" pitchFamily="34" charset="0"/>
                <a:cs typeface="Segoe UI Semibold" panose="020B0702040204020203" pitchFamily="34" charset="0"/>
              </a:rPr>
              <a:t>Recommended product mix and marketing strategies</a:t>
            </a:r>
          </a:p>
        </p:txBody>
      </p:sp>
      <p:sp>
        <p:nvSpPr>
          <p:cNvPr id="18" name="Isosceles Triangle 17"/>
          <p:cNvSpPr/>
          <p:nvPr/>
        </p:nvSpPr>
        <p:spPr>
          <a:xfrm rot="5400000">
            <a:off x="3078217" y="2844888"/>
            <a:ext cx="396749" cy="156227"/>
          </a:xfrm>
          <a:prstGeom prst="triangle">
            <a:avLst/>
          </a:prstGeom>
          <a:solidFill>
            <a:schemeClr val="accent5"/>
          </a:solidFill>
        </p:spPr>
        <p:txBody>
          <a:bodyPr vert="horz" lIns="137160" tIns="91440" rIns="91440" bIns="91440" rtlCol="0" anchor="t" anchorCtr="0">
            <a:noAutofit/>
          </a:bodyPr>
          <a:lstStyle/>
          <a:p>
            <a:pPr algn="ctr" defTabSz="914241"/>
            <a:endParaRPr lang="en-US" sz="900" dirty="0">
              <a:cs typeface="Segoe UI Light"/>
            </a:endParaRPr>
          </a:p>
        </p:txBody>
      </p:sp>
      <p:sp>
        <p:nvSpPr>
          <p:cNvPr id="19" name="Isosceles Triangle 18"/>
          <p:cNvSpPr/>
          <p:nvPr/>
        </p:nvSpPr>
        <p:spPr>
          <a:xfrm rot="5400000">
            <a:off x="8707486" y="2844888"/>
            <a:ext cx="396749" cy="156227"/>
          </a:xfrm>
          <a:prstGeom prst="triangle">
            <a:avLst/>
          </a:prstGeom>
          <a:solidFill>
            <a:schemeClr val="accent5"/>
          </a:solidFill>
        </p:spPr>
        <p:txBody>
          <a:bodyPr vert="horz" lIns="137160" tIns="91440" rIns="91440" bIns="91440" rtlCol="0" anchor="t" anchorCtr="0">
            <a:noAutofit/>
          </a:bodyPr>
          <a:lstStyle/>
          <a:p>
            <a:pPr algn="ctr" defTabSz="914241"/>
            <a:endParaRPr lang="en-US" sz="900" dirty="0">
              <a:cs typeface="Segoe UI Light"/>
            </a:endParaRPr>
          </a:p>
        </p:txBody>
      </p:sp>
      <p:sp>
        <p:nvSpPr>
          <p:cNvPr id="107" name="TextBox 106"/>
          <p:cNvSpPr txBox="1"/>
          <p:nvPr/>
        </p:nvSpPr>
        <p:spPr>
          <a:xfrm>
            <a:off x="9284982" y="3286860"/>
            <a:ext cx="795090" cy="153888"/>
          </a:xfrm>
          <a:prstGeom prst="rect">
            <a:avLst/>
          </a:prstGeom>
        </p:spPr>
        <p:txBody>
          <a:bodyPr vert="horz" wrap="none" lIns="0" tIns="0" rIns="0" bIns="0" rtlCol="0" anchor="t">
            <a:spAutoFit/>
          </a:bodyPr>
          <a:lstStyle/>
          <a:p>
            <a:pPr algn="ctr" defTabSz="1088105"/>
            <a:r>
              <a:rPr lang="en-US" sz="1000" dirty="0">
                <a:latin typeface="Segoe UI Semibold" panose="020B0702040204020203" pitchFamily="34" charset="0"/>
                <a:ea typeface="Segoe UI" pitchFamily="34" charset="0"/>
                <a:cs typeface="Segoe UI Semibold" panose="020B0702040204020203" pitchFamily="34" charset="0"/>
              </a:rPr>
              <a:t>Increase sales</a:t>
            </a:r>
          </a:p>
        </p:txBody>
      </p:sp>
      <p:sp>
        <p:nvSpPr>
          <p:cNvPr id="108" name="TextBox 107"/>
          <p:cNvSpPr txBox="1"/>
          <p:nvPr/>
        </p:nvSpPr>
        <p:spPr>
          <a:xfrm>
            <a:off x="10924889" y="3286860"/>
            <a:ext cx="867225" cy="307777"/>
          </a:xfrm>
          <a:prstGeom prst="rect">
            <a:avLst/>
          </a:prstGeom>
        </p:spPr>
        <p:txBody>
          <a:bodyPr vert="horz" wrap="none" lIns="0" tIns="0" rIns="0" bIns="0" rtlCol="0" anchor="t">
            <a:spAutoFit/>
          </a:bodyPr>
          <a:lstStyle/>
          <a:p>
            <a:pPr algn="ctr" defTabSz="1088105"/>
            <a:r>
              <a:rPr lang="en-US" sz="1000" dirty="0">
                <a:latin typeface="Segoe UI Semibold" panose="020B0702040204020203" pitchFamily="34" charset="0"/>
                <a:ea typeface="Segoe UI" pitchFamily="34" charset="0"/>
                <a:cs typeface="Segoe UI Semibold" panose="020B0702040204020203" pitchFamily="34" charset="0"/>
              </a:rPr>
              <a:t>Offer desirable</a:t>
            </a:r>
            <a:br>
              <a:rPr lang="en-US" sz="1000" dirty="0">
                <a:latin typeface="Segoe UI Semibold" panose="020B0702040204020203" pitchFamily="34" charset="0"/>
                <a:ea typeface="Segoe UI" pitchFamily="34" charset="0"/>
                <a:cs typeface="Segoe UI Semibold" panose="020B0702040204020203" pitchFamily="34" charset="0"/>
              </a:rPr>
            </a:br>
            <a:r>
              <a:rPr lang="en-US" sz="1000" dirty="0">
                <a:latin typeface="Segoe UI Semibold" panose="020B0702040204020203" pitchFamily="34" charset="0"/>
                <a:ea typeface="Segoe UI" pitchFamily="34" charset="0"/>
                <a:cs typeface="Segoe UI Semibold" panose="020B0702040204020203" pitchFamily="34" charset="0"/>
              </a:rPr>
              <a:t>services</a:t>
            </a:r>
          </a:p>
        </p:txBody>
      </p:sp>
      <p:sp>
        <p:nvSpPr>
          <p:cNvPr id="109" name="TextBox 108"/>
          <p:cNvSpPr txBox="1"/>
          <p:nvPr/>
        </p:nvSpPr>
        <p:spPr>
          <a:xfrm>
            <a:off x="9820561" y="2707831"/>
            <a:ext cx="1268032" cy="153888"/>
          </a:xfrm>
          <a:prstGeom prst="rect">
            <a:avLst/>
          </a:prstGeom>
        </p:spPr>
        <p:txBody>
          <a:bodyPr vert="horz" wrap="square" lIns="0" tIns="0" rIns="0" bIns="0" rtlCol="0" anchor="t">
            <a:spAutoFit/>
          </a:bodyPr>
          <a:lstStyle/>
          <a:p>
            <a:pPr algn="ctr" defTabSz="1088105"/>
            <a:r>
              <a:rPr lang="en-US" sz="1000" dirty="0">
                <a:latin typeface="Segoe UI Semibold" panose="020B0702040204020203" pitchFamily="34" charset="0"/>
                <a:ea typeface="Segoe UI" pitchFamily="34" charset="0"/>
                <a:cs typeface="Segoe UI Semibold" panose="020B0702040204020203" pitchFamily="34" charset="0"/>
              </a:rPr>
              <a:t>Engage customers</a:t>
            </a:r>
          </a:p>
        </p:txBody>
      </p:sp>
      <p:sp>
        <p:nvSpPr>
          <p:cNvPr id="111" name="Freeform 25"/>
          <p:cNvSpPr>
            <a:spLocks noChangeAspect="1" noEditPoints="1"/>
          </p:cNvSpPr>
          <p:nvPr/>
        </p:nvSpPr>
        <p:spPr bwMode="black">
          <a:xfrm>
            <a:off x="11088593" y="2851583"/>
            <a:ext cx="437055" cy="372140"/>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bg1">
              <a:lumMod val="50000"/>
            </a:schemeClr>
          </a:solidFill>
          <a:ln>
            <a:noFill/>
          </a:ln>
        </p:spPr>
        <p:txBody>
          <a:bodyPr vert="horz" wrap="square" lIns="82305" tIns="41153" rIns="82305" bIns="41153" numCol="1" anchor="t" anchorCtr="0" compatLnSpc="1">
            <a:prstTxWarp prst="textNoShape">
              <a:avLst/>
            </a:prstTxWarp>
          </a:bodyPr>
          <a:lstStyle/>
          <a:p>
            <a:pPr defTabSz="914400"/>
            <a:endParaRPr lang="en-US" sz="1600" dirty="0"/>
          </a:p>
        </p:txBody>
      </p:sp>
      <p:sp>
        <p:nvSpPr>
          <p:cNvPr id="112" name="Oval 111"/>
          <p:cNvSpPr/>
          <p:nvPr/>
        </p:nvSpPr>
        <p:spPr>
          <a:xfrm>
            <a:off x="5644841" y="1963081"/>
            <a:ext cx="1798602" cy="2175286"/>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400"/>
            <a:endParaRPr lang="en-US" sz="1200" dirty="0">
              <a:solidFill>
                <a:schemeClr val="tx1"/>
              </a:solidFill>
            </a:endParaRPr>
          </a:p>
        </p:txBody>
      </p:sp>
      <p:grpSp>
        <p:nvGrpSpPr>
          <p:cNvPr id="115" name="Group 114"/>
          <p:cNvGrpSpPr>
            <a:grpSpLocks noChangeAspect="1"/>
          </p:cNvGrpSpPr>
          <p:nvPr/>
        </p:nvGrpSpPr>
        <p:grpSpPr bwMode="black">
          <a:xfrm>
            <a:off x="3615959" y="2660885"/>
            <a:ext cx="268326" cy="181072"/>
            <a:chOff x="1868488" y="569913"/>
            <a:chExt cx="8445500" cy="5700712"/>
          </a:xfrm>
          <a:solidFill>
            <a:schemeClr val="bg1">
              <a:lumMod val="50000"/>
            </a:schemeClr>
          </a:solidFill>
        </p:grpSpPr>
        <p:sp>
          <p:nvSpPr>
            <p:cNvPr id="116" name="Freeform 34"/>
            <p:cNvSpPr>
              <a:spLocks noEditPoints="1"/>
            </p:cNvSpPr>
            <p:nvPr/>
          </p:nvSpPr>
          <p:spPr bwMode="black">
            <a:xfrm>
              <a:off x="1868488" y="569913"/>
              <a:ext cx="8445500" cy="5700712"/>
            </a:xfrm>
            <a:custGeom>
              <a:avLst/>
              <a:gdLst>
                <a:gd name="T0" fmla="*/ 2163 w 2252"/>
                <a:gd name="T1" fmla="*/ 31 h 1520"/>
                <a:gd name="T2" fmla="*/ 390 w 2252"/>
                <a:gd name="T3" fmla="*/ 31 h 1520"/>
                <a:gd name="T4" fmla="*/ 90 w 2252"/>
                <a:gd name="T5" fmla="*/ 24 h 1520"/>
                <a:gd name="T6" fmla="*/ 0 w 2252"/>
                <a:gd name="T7" fmla="*/ 113 h 1520"/>
                <a:gd name="T8" fmla="*/ 0 w 2252"/>
                <a:gd name="T9" fmla="*/ 1418 h 1520"/>
                <a:gd name="T10" fmla="*/ 90 w 2252"/>
                <a:gd name="T11" fmla="*/ 1508 h 1520"/>
                <a:gd name="T12" fmla="*/ 463 w 2252"/>
                <a:gd name="T13" fmla="*/ 1478 h 1520"/>
                <a:gd name="T14" fmla="*/ 2163 w 2252"/>
                <a:gd name="T15" fmla="*/ 1478 h 1520"/>
                <a:gd name="T16" fmla="*/ 2252 w 2252"/>
                <a:gd name="T17" fmla="*/ 1388 h 1520"/>
                <a:gd name="T18" fmla="*/ 2252 w 2252"/>
                <a:gd name="T19" fmla="*/ 121 h 1520"/>
                <a:gd name="T20" fmla="*/ 2163 w 2252"/>
                <a:gd name="T21" fmla="*/ 31 h 1520"/>
                <a:gd name="T22" fmla="*/ 1635 w 2252"/>
                <a:gd name="T23" fmla="*/ 1391 h 1520"/>
                <a:gd name="T24" fmla="*/ 546 w 2252"/>
                <a:gd name="T25" fmla="*/ 1391 h 1520"/>
                <a:gd name="T26" fmla="*/ 512 w 2252"/>
                <a:gd name="T27" fmla="*/ 1354 h 1520"/>
                <a:gd name="T28" fmla="*/ 546 w 2252"/>
                <a:gd name="T29" fmla="*/ 1316 h 1520"/>
                <a:gd name="T30" fmla="*/ 1635 w 2252"/>
                <a:gd name="T31" fmla="*/ 1316 h 1520"/>
                <a:gd name="T32" fmla="*/ 1668 w 2252"/>
                <a:gd name="T33" fmla="*/ 1354 h 1520"/>
                <a:gd name="T34" fmla="*/ 1635 w 2252"/>
                <a:gd name="T35" fmla="*/ 1391 h 1520"/>
                <a:gd name="T36" fmla="*/ 1305 w 2252"/>
                <a:gd name="T37" fmla="*/ 1195 h 1520"/>
                <a:gd name="T38" fmla="*/ 877 w 2252"/>
                <a:gd name="T39" fmla="*/ 766 h 1520"/>
                <a:gd name="T40" fmla="*/ 1305 w 2252"/>
                <a:gd name="T41" fmla="*/ 337 h 1520"/>
                <a:gd name="T42" fmla="*/ 1734 w 2252"/>
                <a:gd name="T43" fmla="*/ 766 h 1520"/>
                <a:gd name="T44" fmla="*/ 1305 w 2252"/>
                <a:gd name="T45" fmla="*/ 1195 h 1520"/>
                <a:gd name="T46" fmla="*/ 1966 w 2252"/>
                <a:gd name="T47" fmla="*/ 325 h 1520"/>
                <a:gd name="T48" fmla="*/ 1810 w 2252"/>
                <a:gd name="T49" fmla="*/ 325 h 1520"/>
                <a:gd name="T50" fmla="*/ 1720 w 2252"/>
                <a:gd name="T51" fmla="*/ 235 h 1520"/>
                <a:gd name="T52" fmla="*/ 1810 w 2252"/>
                <a:gd name="T53" fmla="*/ 146 h 1520"/>
                <a:gd name="T54" fmla="*/ 1966 w 2252"/>
                <a:gd name="T55" fmla="*/ 146 h 1520"/>
                <a:gd name="T56" fmla="*/ 2056 w 2252"/>
                <a:gd name="T57" fmla="*/ 235 h 1520"/>
                <a:gd name="T58" fmla="*/ 1966 w 2252"/>
                <a:gd name="T59" fmla="*/ 325 h 1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52" h="1520">
                  <a:moveTo>
                    <a:pt x="2163" y="31"/>
                  </a:moveTo>
                  <a:cubicBezTo>
                    <a:pt x="390" y="31"/>
                    <a:pt x="390" y="31"/>
                    <a:pt x="390" y="31"/>
                  </a:cubicBezTo>
                  <a:cubicBezTo>
                    <a:pt x="247" y="0"/>
                    <a:pt x="126" y="24"/>
                    <a:pt x="90" y="24"/>
                  </a:cubicBezTo>
                  <a:cubicBezTo>
                    <a:pt x="40" y="24"/>
                    <a:pt x="0" y="64"/>
                    <a:pt x="0" y="113"/>
                  </a:cubicBezTo>
                  <a:cubicBezTo>
                    <a:pt x="0" y="1418"/>
                    <a:pt x="0" y="1418"/>
                    <a:pt x="0" y="1418"/>
                  </a:cubicBezTo>
                  <a:cubicBezTo>
                    <a:pt x="0" y="1468"/>
                    <a:pt x="40" y="1508"/>
                    <a:pt x="90" y="1508"/>
                  </a:cubicBezTo>
                  <a:cubicBezTo>
                    <a:pt x="134" y="1508"/>
                    <a:pt x="382" y="1520"/>
                    <a:pt x="463" y="1478"/>
                  </a:cubicBezTo>
                  <a:cubicBezTo>
                    <a:pt x="2163" y="1478"/>
                    <a:pt x="2163" y="1478"/>
                    <a:pt x="2163" y="1478"/>
                  </a:cubicBezTo>
                  <a:cubicBezTo>
                    <a:pt x="2212" y="1478"/>
                    <a:pt x="2252" y="1438"/>
                    <a:pt x="2252" y="1388"/>
                  </a:cubicBezTo>
                  <a:cubicBezTo>
                    <a:pt x="2252" y="121"/>
                    <a:pt x="2252" y="121"/>
                    <a:pt x="2252" y="121"/>
                  </a:cubicBezTo>
                  <a:cubicBezTo>
                    <a:pt x="2252" y="71"/>
                    <a:pt x="2212" y="31"/>
                    <a:pt x="2163" y="31"/>
                  </a:cubicBezTo>
                  <a:close/>
                  <a:moveTo>
                    <a:pt x="1635" y="1391"/>
                  </a:moveTo>
                  <a:cubicBezTo>
                    <a:pt x="546" y="1391"/>
                    <a:pt x="546" y="1391"/>
                    <a:pt x="546" y="1391"/>
                  </a:cubicBezTo>
                  <a:cubicBezTo>
                    <a:pt x="527" y="1391"/>
                    <a:pt x="512" y="1374"/>
                    <a:pt x="512" y="1354"/>
                  </a:cubicBezTo>
                  <a:cubicBezTo>
                    <a:pt x="512" y="1333"/>
                    <a:pt x="527" y="1316"/>
                    <a:pt x="546" y="1316"/>
                  </a:cubicBezTo>
                  <a:cubicBezTo>
                    <a:pt x="1635" y="1316"/>
                    <a:pt x="1635" y="1316"/>
                    <a:pt x="1635" y="1316"/>
                  </a:cubicBezTo>
                  <a:cubicBezTo>
                    <a:pt x="1653" y="1316"/>
                    <a:pt x="1668" y="1333"/>
                    <a:pt x="1668" y="1354"/>
                  </a:cubicBezTo>
                  <a:cubicBezTo>
                    <a:pt x="1668" y="1374"/>
                    <a:pt x="1653" y="1391"/>
                    <a:pt x="1635" y="1391"/>
                  </a:cubicBezTo>
                  <a:close/>
                  <a:moveTo>
                    <a:pt x="1305" y="1195"/>
                  </a:moveTo>
                  <a:cubicBezTo>
                    <a:pt x="1068" y="1195"/>
                    <a:pt x="877" y="1003"/>
                    <a:pt x="877" y="766"/>
                  </a:cubicBezTo>
                  <a:cubicBezTo>
                    <a:pt x="877" y="529"/>
                    <a:pt x="1068" y="337"/>
                    <a:pt x="1305" y="337"/>
                  </a:cubicBezTo>
                  <a:cubicBezTo>
                    <a:pt x="1542" y="337"/>
                    <a:pt x="1734" y="529"/>
                    <a:pt x="1734" y="766"/>
                  </a:cubicBezTo>
                  <a:cubicBezTo>
                    <a:pt x="1734" y="1003"/>
                    <a:pt x="1542" y="1195"/>
                    <a:pt x="1305" y="1195"/>
                  </a:cubicBezTo>
                  <a:close/>
                  <a:moveTo>
                    <a:pt x="1966" y="325"/>
                  </a:moveTo>
                  <a:cubicBezTo>
                    <a:pt x="1810" y="325"/>
                    <a:pt x="1810" y="325"/>
                    <a:pt x="1810" y="325"/>
                  </a:cubicBezTo>
                  <a:cubicBezTo>
                    <a:pt x="1760" y="325"/>
                    <a:pt x="1720" y="285"/>
                    <a:pt x="1720" y="235"/>
                  </a:cubicBezTo>
                  <a:cubicBezTo>
                    <a:pt x="1720" y="186"/>
                    <a:pt x="1760" y="146"/>
                    <a:pt x="1810" y="146"/>
                  </a:cubicBezTo>
                  <a:cubicBezTo>
                    <a:pt x="1966" y="146"/>
                    <a:pt x="1966" y="146"/>
                    <a:pt x="1966" y="146"/>
                  </a:cubicBezTo>
                  <a:cubicBezTo>
                    <a:pt x="2016" y="146"/>
                    <a:pt x="2056" y="186"/>
                    <a:pt x="2056" y="235"/>
                  </a:cubicBezTo>
                  <a:cubicBezTo>
                    <a:pt x="2056" y="285"/>
                    <a:pt x="2016" y="325"/>
                    <a:pt x="1966" y="325"/>
                  </a:cubicBezTo>
                  <a:close/>
                </a:path>
              </a:pathLst>
            </a:custGeom>
            <a:grpFill/>
            <a:ln w="2540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defTabSz="740740">
                <a:defRPr/>
              </a:pPr>
              <a:endParaRPr lang="en-US" dirty="0">
                <a:latin typeface="Segoe Light" pitchFamily="34" charset="0"/>
              </a:endParaRPr>
            </a:p>
          </p:txBody>
        </p:sp>
        <p:sp>
          <p:nvSpPr>
            <p:cNvPr id="117" name="Freeform 35"/>
            <p:cNvSpPr>
              <a:spLocks noEditPoints="1"/>
            </p:cNvSpPr>
            <p:nvPr/>
          </p:nvSpPr>
          <p:spPr bwMode="black">
            <a:xfrm>
              <a:off x="5603876" y="2279650"/>
              <a:ext cx="2320925" cy="2320925"/>
            </a:xfrm>
            <a:custGeom>
              <a:avLst/>
              <a:gdLst>
                <a:gd name="T0" fmla="*/ 309 w 619"/>
                <a:gd name="T1" fmla="*/ 0 h 619"/>
                <a:gd name="T2" fmla="*/ 0 w 619"/>
                <a:gd name="T3" fmla="*/ 310 h 619"/>
                <a:gd name="T4" fmla="*/ 309 w 619"/>
                <a:gd name="T5" fmla="*/ 619 h 619"/>
                <a:gd name="T6" fmla="*/ 619 w 619"/>
                <a:gd name="T7" fmla="*/ 310 h 619"/>
                <a:gd name="T8" fmla="*/ 309 w 619"/>
                <a:gd name="T9" fmla="*/ 0 h 619"/>
                <a:gd name="T10" fmla="*/ 313 w 619"/>
                <a:gd name="T11" fmla="*/ 507 h 619"/>
                <a:gd name="T12" fmla="*/ 112 w 619"/>
                <a:gd name="T13" fmla="*/ 306 h 619"/>
                <a:gd name="T14" fmla="*/ 313 w 619"/>
                <a:gd name="T15" fmla="*/ 105 h 619"/>
                <a:gd name="T16" fmla="*/ 514 w 619"/>
                <a:gd name="T17" fmla="*/ 306 h 619"/>
                <a:gd name="T18" fmla="*/ 313 w 619"/>
                <a:gd name="T19"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9" h="619">
                  <a:moveTo>
                    <a:pt x="309" y="0"/>
                  </a:moveTo>
                  <a:cubicBezTo>
                    <a:pt x="138" y="0"/>
                    <a:pt x="0" y="139"/>
                    <a:pt x="0" y="310"/>
                  </a:cubicBezTo>
                  <a:cubicBezTo>
                    <a:pt x="0" y="481"/>
                    <a:pt x="138" y="619"/>
                    <a:pt x="309" y="619"/>
                  </a:cubicBezTo>
                  <a:cubicBezTo>
                    <a:pt x="480" y="619"/>
                    <a:pt x="619" y="481"/>
                    <a:pt x="619" y="310"/>
                  </a:cubicBezTo>
                  <a:cubicBezTo>
                    <a:pt x="619" y="139"/>
                    <a:pt x="480" y="0"/>
                    <a:pt x="309" y="0"/>
                  </a:cubicBezTo>
                  <a:close/>
                  <a:moveTo>
                    <a:pt x="313" y="507"/>
                  </a:moveTo>
                  <a:cubicBezTo>
                    <a:pt x="202" y="507"/>
                    <a:pt x="112" y="417"/>
                    <a:pt x="112" y="306"/>
                  </a:cubicBezTo>
                  <a:cubicBezTo>
                    <a:pt x="112" y="195"/>
                    <a:pt x="202" y="105"/>
                    <a:pt x="313" y="105"/>
                  </a:cubicBezTo>
                  <a:cubicBezTo>
                    <a:pt x="424" y="105"/>
                    <a:pt x="514" y="195"/>
                    <a:pt x="514" y="306"/>
                  </a:cubicBezTo>
                  <a:cubicBezTo>
                    <a:pt x="514" y="417"/>
                    <a:pt x="424" y="507"/>
                    <a:pt x="313" y="507"/>
                  </a:cubicBezTo>
                  <a:close/>
                </a:path>
              </a:pathLst>
            </a:custGeom>
            <a:grpFill/>
            <a:ln w="2540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defTabSz="740740">
                <a:defRPr/>
              </a:pPr>
              <a:endParaRPr lang="en-US" dirty="0">
                <a:latin typeface="Segoe Light" pitchFamily="34" charset="0"/>
              </a:endParaRPr>
            </a:p>
          </p:txBody>
        </p:sp>
      </p:grpSp>
      <p:sp>
        <p:nvSpPr>
          <p:cNvPr id="120" name="Rectangle 119"/>
          <p:cNvSpPr/>
          <p:nvPr/>
        </p:nvSpPr>
        <p:spPr>
          <a:xfrm>
            <a:off x="6113133" y="3126634"/>
            <a:ext cx="847988" cy="307777"/>
          </a:xfrm>
          <a:prstGeom prst="rect">
            <a:avLst/>
          </a:prstGeom>
          <a:noFill/>
          <a:ln w="6350" cap="flat" cmpd="sng" algn="ctr">
            <a:noFill/>
            <a:prstDash val="solid"/>
          </a:ln>
          <a:effectLst/>
        </p:spPr>
        <p:txBody>
          <a:bodyPr wrap="none" lIns="0" tIns="0" rIns="0" bIns="0" rtlCol="0" anchor="ctr">
            <a:spAutoFit/>
          </a:bodyPr>
          <a:lstStyle/>
          <a:p>
            <a:pPr marL="0" lvl="1" algn="ctr" defTabSz="1218106" fontAlgn="base">
              <a:spcBef>
                <a:spcPts val="200"/>
              </a:spcBef>
              <a:buClr>
                <a:srgbClr val="FFFF99"/>
              </a:buClr>
              <a:buSzPct val="90000"/>
              <a:defRPr/>
            </a:pPr>
            <a:r>
              <a:rPr lang="en-US" sz="1000" dirty="0">
                <a:latin typeface="Segoe UI Semibold" panose="020B0702040204020203" pitchFamily="34" charset="0"/>
                <a:ea typeface="Segoe UI" pitchFamily="34" charset="0"/>
                <a:cs typeface="Segoe UI" pitchFamily="34" charset="0"/>
              </a:rPr>
              <a:t>Customer 360 </a:t>
            </a:r>
            <a:br>
              <a:rPr lang="en-US" sz="1000" dirty="0">
                <a:latin typeface="Segoe UI Semibold" panose="020B0702040204020203" pitchFamily="34" charset="0"/>
                <a:ea typeface="Segoe UI" pitchFamily="34" charset="0"/>
                <a:cs typeface="Segoe UI" pitchFamily="34" charset="0"/>
              </a:rPr>
            </a:br>
            <a:r>
              <a:rPr lang="en-US" sz="1000" dirty="0">
                <a:latin typeface="Segoe UI Semibold" panose="020B0702040204020203" pitchFamily="34" charset="0"/>
                <a:ea typeface="Segoe UI" pitchFamily="34" charset="0"/>
                <a:cs typeface="Segoe UI" pitchFamily="34" charset="0"/>
              </a:rPr>
              <a:t>degree view</a:t>
            </a:r>
          </a:p>
        </p:txBody>
      </p:sp>
      <p:grpSp>
        <p:nvGrpSpPr>
          <p:cNvPr id="258" name="Group 257"/>
          <p:cNvGrpSpPr/>
          <p:nvPr/>
        </p:nvGrpSpPr>
        <p:grpSpPr>
          <a:xfrm>
            <a:off x="6183270" y="2246413"/>
            <a:ext cx="721744" cy="723414"/>
            <a:chOff x="6147370" y="2193906"/>
            <a:chExt cx="826515" cy="828428"/>
          </a:xfrm>
        </p:grpSpPr>
        <p:sp>
          <p:nvSpPr>
            <p:cNvPr id="129" name="Freeform 128"/>
            <p:cNvSpPr>
              <a:spLocks noChangeAspect="1"/>
            </p:cNvSpPr>
            <p:nvPr/>
          </p:nvSpPr>
          <p:spPr bwMode="auto">
            <a:xfrm>
              <a:off x="6147370" y="2193906"/>
              <a:ext cx="826515" cy="828428"/>
            </a:xfrm>
            <a:custGeom>
              <a:avLst/>
              <a:gdLst/>
              <a:ahLst/>
              <a:cxnLst/>
              <a:rect l="l" t="t" r="r" b="b"/>
              <a:pathLst>
                <a:path w="4302474" h="4244921">
                  <a:moveTo>
                    <a:pt x="662474" y="3031306"/>
                  </a:moveTo>
                  <a:lnTo>
                    <a:pt x="1339698" y="3086511"/>
                  </a:lnTo>
                  <a:lnTo>
                    <a:pt x="1189316" y="3212867"/>
                  </a:lnTo>
                  <a:cubicBezTo>
                    <a:pt x="1361738" y="3339494"/>
                    <a:pt x="1899676" y="3610086"/>
                    <a:pt x="2421111" y="3521876"/>
                  </a:cubicBezTo>
                  <a:lnTo>
                    <a:pt x="2206882" y="3794685"/>
                  </a:lnTo>
                  <a:lnTo>
                    <a:pt x="2512604" y="4104137"/>
                  </a:lnTo>
                  <a:cubicBezTo>
                    <a:pt x="1778146" y="4225364"/>
                    <a:pt x="1188060" y="3987486"/>
                    <a:pt x="709988" y="3532493"/>
                  </a:cubicBezTo>
                  <a:lnTo>
                    <a:pt x="551662" y="3684753"/>
                  </a:lnTo>
                  <a:close/>
                  <a:moveTo>
                    <a:pt x="3525512" y="2472932"/>
                  </a:moveTo>
                  <a:lnTo>
                    <a:pt x="3736350" y="2855417"/>
                  </a:lnTo>
                  <a:lnTo>
                    <a:pt x="4067130" y="2735505"/>
                  </a:lnTo>
                  <a:cubicBezTo>
                    <a:pt x="3910343" y="3276383"/>
                    <a:pt x="3434822" y="3814468"/>
                    <a:pt x="2761327" y="4046261"/>
                  </a:cubicBezTo>
                  <a:lnTo>
                    <a:pt x="2775115" y="4244921"/>
                  </a:lnTo>
                  <a:lnTo>
                    <a:pt x="2336714" y="3800527"/>
                  </a:lnTo>
                  <a:lnTo>
                    <a:pt x="2699735" y="3292318"/>
                  </a:lnTo>
                  <a:lnTo>
                    <a:pt x="2716265" y="3448052"/>
                  </a:lnTo>
                  <a:cubicBezTo>
                    <a:pt x="2913217" y="3364543"/>
                    <a:pt x="3450254" y="3000009"/>
                    <a:pt x="3525512" y="2472932"/>
                  </a:cubicBezTo>
                  <a:close/>
                  <a:moveTo>
                    <a:pt x="647776" y="1318635"/>
                  </a:moveTo>
                  <a:lnTo>
                    <a:pt x="912024" y="1889568"/>
                  </a:lnTo>
                  <a:lnTo>
                    <a:pt x="724354" y="1824308"/>
                  </a:lnTo>
                  <a:cubicBezTo>
                    <a:pt x="680520" y="2033694"/>
                    <a:pt x="670035" y="2536527"/>
                    <a:pt x="988263" y="2969836"/>
                  </a:cubicBezTo>
                  <a:lnTo>
                    <a:pt x="578667" y="2940790"/>
                  </a:lnTo>
                  <a:lnTo>
                    <a:pt x="519757" y="3323386"/>
                  </a:lnTo>
                  <a:cubicBezTo>
                    <a:pt x="142529" y="2837302"/>
                    <a:pt x="74113" y="2104852"/>
                    <a:pt x="196686" y="1642899"/>
                  </a:cubicBezTo>
                  <a:lnTo>
                    <a:pt x="0" y="1594841"/>
                  </a:lnTo>
                  <a:close/>
                  <a:moveTo>
                    <a:pt x="3620260" y="730478"/>
                  </a:moveTo>
                  <a:cubicBezTo>
                    <a:pt x="4033733" y="1098029"/>
                    <a:pt x="4275138" y="1844086"/>
                    <a:pt x="4120540" y="2491437"/>
                  </a:cubicBezTo>
                  <a:lnTo>
                    <a:pt x="4302474" y="2563960"/>
                  </a:lnTo>
                  <a:lnTo>
                    <a:pt x="3798677" y="2749109"/>
                  </a:lnTo>
                  <a:lnTo>
                    <a:pt x="3472387" y="2208919"/>
                  </a:lnTo>
                  <a:lnTo>
                    <a:pt x="3585155" y="2254985"/>
                  </a:lnTo>
                  <a:cubicBezTo>
                    <a:pt x="3611001" y="1852129"/>
                    <a:pt x="3432844" y="1328610"/>
                    <a:pt x="3114005" y="1104075"/>
                  </a:cubicBezTo>
                  <a:lnTo>
                    <a:pt x="3585698" y="1050994"/>
                  </a:lnTo>
                  <a:close/>
                  <a:moveTo>
                    <a:pt x="1892533" y="133349"/>
                  </a:moveTo>
                  <a:cubicBezTo>
                    <a:pt x="2384988" y="60439"/>
                    <a:pt x="2955319" y="178992"/>
                    <a:pt x="3438386" y="560947"/>
                  </a:cubicBezTo>
                  <a:lnTo>
                    <a:pt x="3550393" y="467694"/>
                  </a:lnTo>
                  <a:lnTo>
                    <a:pt x="3502246" y="970368"/>
                  </a:lnTo>
                  <a:cubicBezTo>
                    <a:pt x="3271583" y="1000546"/>
                    <a:pt x="3040920" y="1015483"/>
                    <a:pt x="2810256" y="1038041"/>
                  </a:cubicBezTo>
                  <a:lnTo>
                    <a:pt x="2933313" y="934789"/>
                  </a:lnTo>
                  <a:cubicBezTo>
                    <a:pt x="2656424" y="758977"/>
                    <a:pt x="2363689" y="669355"/>
                    <a:pt x="1969181" y="705095"/>
                  </a:cubicBezTo>
                  <a:lnTo>
                    <a:pt x="2154737" y="335131"/>
                  </a:lnTo>
                  <a:close/>
                  <a:moveTo>
                    <a:pt x="1460851" y="0"/>
                  </a:moveTo>
                  <a:cubicBezTo>
                    <a:pt x="1609533" y="83809"/>
                    <a:pt x="1867446" y="214583"/>
                    <a:pt x="2054478" y="354019"/>
                  </a:cubicBezTo>
                  <a:lnTo>
                    <a:pt x="1741070" y="954311"/>
                  </a:lnTo>
                  <a:lnTo>
                    <a:pt x="1656922" y="757789"/>
                  </a:lnTo>
                  <a:cubicBezTo>
                    <a:pt x="1340856" y="892862"/>
                    <a:pt x="931601" y="1317770"/>
                    <a:pt x="856671" y="1587702"/>
                  </a:cubicBezTo>
                  <a:lnTo>
                    <a:pt x="694928" y="1212887"/>
                  </a:lnTo>
                  <a:lnTo>
                    <a:pt x="269556" y="1396576"/>
                  </a:lnTo>
                  <a:cubicBezTo>
                    <a:pt x="520909" y="684763"/>
                    <a:pt x="1206237" y="294700"/>
                    <a:pt x="1528653" y="200296"/>
                  </a:cubicBezTo>
                  <a:close/>
                </a:path>
              </a:pathLst>
            </a:custGeom>
            <a:solidFill>
              <a:schemeClr val="bg1">
                <a:lumMod val="50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1800" dirty="0">
                <a:latin typeface="Arial" charset="0"/>
              </a:endParaRPr>
            </a:p>
          </p:txBody>
        </p:sp>
        <p:sp>
          <p:nvSpPr>
            <p:cNvPr id="130" name="Trapezoid 3"/>
            <p:cNvSpPr/>
            <p:nvPr/>
          </p:nvSpPr>
          <p:spPr>
            <a:xfrm>
              <a:off x="6488572" y="2382918"/>
              <a:ext cx="241628" cy="448095"/>
            </a:xfrm>
            <a:custGeom>
              <a:avLst/>
              <a:gdLst>
                <a:gd name="connsiteX0" fmla="*/ 2052754 w 6499195"/>
                <a:gd name="connsiteY0" fmla="*/ 2902312 h 3498714"/>
                <a:gd name="connsiteX1" fmla="*/ 4707054 w 6499195"/>
                <a:gd name="connsiteY1" fmla="*/ 2902312 h 3498714"/>
                <a:gd name="connsiteX2" fmla="*/ 4818179 w 6499195"/>
                <a:gd name="connsiteY2" fmla="*/ 3013437 h 3498714"/>
                <a:gd name="connsiteX3" fmla="*/ 4707054 w 6499195"/>
                <a:gd name="connsiteY3" fmla="*/ 3124562 h 3498714"/>
                <a:gd name="connsiteX4" fmla="*/ 4545125 w 6499195"/>
                <a:gd name="connsiteY4" fmla="*/ 3124562 h 3498714"/>
                <a:gd name="connsiteX5" fmla="*/ 4545125 w 6499195"/>
                <a:gd name="connsiteY5" fmla="*/ 3361625 h 3498714"/>
                <a:gd name="connsiteX6" fmla="*/ 4436113 w 6499195"/>
                <a:gd name="connsiteY6" fmla="*/ 3470637 h 3498714"/>
                <a:gd name="connsiteX7" fmla="*/ 4235039 w 6499195"/>
                <a:gd name="connsiteY7" fmla="*/ 3470637 h 3498714"/>
                <a:gd name="connsiteX8" fmla="*/ 4126027 w 6499195"/>
                <a:gd name="connsiteY8" fmla="*/ 3361625 h 3498714"/>
                <a:gd name="connsiteX9" fmla="*/ 4126027 w 6499195"/>
                <a:gd name="connsiteY9" fmla="*/ 3124562 h 3498714"/>
                <a:gd name="connsiteX10" fmla="*/ 2589325 w 6499195"/>
                <a:gd name="connsiteY10" fmla="*/ 3124562 h 3498714"/>
                <a:gd name="connsiteX11" fmla="*/ 2589325 w 6499195"/>
                <a:gd name="connsiteY11" fmla="*/ 3361625 h 3498714"/>
                <a:gd name="connsiteX12" fmla="*/ 2480313 w 6499195"/>
                <a:gd name="connsiteY12" fmla="*/ 3470637 h 3498714"/>
                <a:gd name="connsiteX13" fmla="*/ 2279239 w 6499195"/>
                <a:gd name="connsiteY13" fmla="*/ 3470637 h 3498714"/>
                <a:gd name="connsiteX14" fmla="*/ 2170227 w 6499195"/>
                <a:gd name="connsiteY14" fmla="*/ 3361625 h 3498714"/>
                <a:gd name="connsiteX15" fmla="*/ 2170227 w 6499195"/>
                <a:gd name="connsiteY15" fmla="*/ 3124562 h 3498714"/>
                <a:gd name="connsiteX16" fmla="*/ 2052754 w 6499195"/>
                <a:gd name="connsiteY16" fmla="*/ 3124562 h 3498714"/>
                <a:gd name="connsiteX17" fmla="*/ 1941629 w 6499195"/>
                <a:gd name="connsiteY17" fmla="*/ 3013437 h 3498714"/>
                <a:gd name="connsiteX18" fmla="*/ 2052754 w 6499195"/>
                <a:gd name="connsiteY18" fmla="*/ 2902312 h 3498714"/>
                <a:gd name="connsiteX19" fmla="*/ 4492583 w 6499195"/>
                <a:gd name="connsiteY19" fmla="*/ 2089512 h 3498714"/>
                <a:gd name="connsiteX20" fmla="*/ 4311608 w 6499195"/>
                <a:gd name="connsiteY20" fmla="*/ 2270487 h 3498714"/>
                <a:gd name="connsiteX21" fmla="*/ 4492583 w 6499195"/>
                <a:gd name="connsiteY21" fmla="*/ 2451462 h 3498714"/>
                <a:gd name="connsiteX22" fmla="*/ 6498753 w 6499195"/>
                <a:gd name="connsiteY22" fmla="*/ 2404799 h 3498714"/>
                <a:gd name="connsiteX23" fmla="*/ 4673558 w 6499195"/>
                <a:gd name="connsiteY23" fmla="*/ 2270487 h 3498714"/>
                <a:gd name="connsiteX24" fmla="*/ 4492583 w 6499195"/>
                <a:gd name="connsiteY24" fmla="*/ 2089512 h 3498714"/>
                <a:gd name="connsiteX25" fmla="*/ 2979061 w 6499195"/>
                <a:gd name="connsiteY25" fmla="*/ 2089512 h 3498714"/>
                <a:gd name="connsiteX26" fmla="*/ 2671086 w 6499195"/>
                <a:gd name="connsiteY26" fmla="*/ 2397487 h 3498714"/>
                <a:gd name="connsiteX27" fmla="*/ 2671086 w 6499195"/>
                <a:gd name="connsiteY27" fmla="*/ 2584811 h 3498714"/>
                <a:gd name="connsiteX28" fmla="*/ 4083961 w 6499195"/>
                <a:gd name="connsiteY28" fmla="*/ 2584811 h 3498714"/>
                <a:gd name="connsiteX29" fmla="*/ 4083961 w 6499195"/>
                <a:gd name="connsiteY29" fmla="*/ 2397487 h 3498714"/>
                <a:gd name="connsiteX30" fmla="*/ 3775986 w 6499195"/>
                <a:gd name="connsiteY30" fmla="*/ 2089512 h 3498714"/>
                <a:gd name="connsiteX31" fmla="*/ 2979061 w 6499195"/>
                <a:gd name="connsiteY31" fmla="*/ 2089512 h 3498714"/>
                <a:gd name="connsiteX32" fmla="*/ 2251033 w 6499195"/>
                <a:gd name="connsiteY32" fmla="*/ 2089512 h 3498714"/>
                <a:gd name="connsiteX33" fmla="*/ 2070058 w 6499195"/>
                <a:gd name="connsiteY33" fmla="*/ 2270487 h 3498714"/>
                <a:gd name="connsiteX34" fmla="*/ 2251033 w 6499195"/>
                <a:gd name="connsiteY34" fmla="*/ 2451462 h 3498714"/>
                <a:gd name="connsiteX35" fmla="*/ 2432008 w 6499195"/>
                <a:gd name="connsiteY35" fmla="*/ 2270487 h 3498714"/>
                <a:gd name="connsiteX36" fmla="*/ 2251033 w 6499195"/>
                <a:gd name="connsiteY36" fmla="*/ 2089512 h 3498714"/>
                <a:gd name="connsiteX37" fmla="*/ 2651061 w 6499195"/>
                <a:gd name="connsiteY37" fmla="*/ 1167548 h 3498714"/>
                <a:gd name="connsiteX38" fmla="*/ 2392797 w 6499195"/>
                <a:gd name="connsiteY38" fmla="*/ 1878907 h 3498714"/>
                <a:gd name="connsiteX39" fmla="*/ 2478781 w 6499195"/>
                <a:gd name="connsiteY39" fmla="*/ 1920808 h 3498714"/>
                <a:gd name="connsiteX40" fmla="*/ 2842751 w 6499195"/>
                <a:gd name="connsiteY40" fmla="*/ 1749356 h 3498714"/>
                <a:gd name="connsiteX41" fmla="*/ 3912296 w 6499195"/>
                <a:gd name="connsiteY41" fmla="*/ 1749356 h 3498714"/>
                <a:gd name="connsiteX42" fmla="*/ 4277738 w 6499195"/>
                <a:gd name="connsiteY42" fmla="*/ 1922593 h 3498714"/>
                <a:gd name="connsiteX43" fmla="*/ 4370569 w 6499195"/>
                <a:gd name="connsiteY43" fmla="*/ 1877441 h 3498714"/>
                <a:gd name="connsiteX44" fmla="*/ 4112835 w 6499195"/>
                <a:gd name="connsiteY44" fmla="*/ 1167548 h 3498714"/>
                <a:gd name="connsiteX45" fmla="*/ 2651061 w 6499195"/>
                <a:gd name="connsiteY45" fmla="*/ 1167548 h 3498714"/>
                <a:gd name="connsiteX46" fmla="*/ 2534724 w 6499195"/>
                <a:gd name="connsiteY46" fmla="*/ 982297 h 3498714"/>
                <a:gd name="connsiteX47" fmla="*/ 4229172 w 6499195"/>
                <a:gd name="connsiteY47" fmla="*/ 982297 h 3498714"/>
                <a:gd name="connsiteX48" fmla="*/ 4546612 w 6499195"/>
                <a:gd name="connsiteY48" fmla="*/ 1856643 h 3498714"/>
                <a:gd name="connsiteX49" fmla="*/ 4936448 w 6499195"/>
                <a:gd name="connsiteY49" fmla="*/ 2279217 h 3498714"/>
                <a:gd name="connsiteX50" fmla="*/ 4802103 w 6499195"/>
                <a:gd name="connsiteY50" fmla="*/ 2588456 h 3498714"/>
                <a:gd name="connsiteX51" fmla="*/ 4904699 w 6499195"/>
                <a:gd name="connsiteY51" fmla="*/ 2705462 h 3498714"/>
                <a:gd name="connsiteX52" fmla="*/ 4904698 w 6499195"/>
                <a:gd name="connsiteY52" fmla="*/ 2705462 h 3498714"/>
                <a:gd name="connsiteX53" fmla="*/ 4784047 w 6499195"/>
                <a:gd name="connsiteY53" fmla="*/ 2826113 h 3498714"/>
                <a:gd name="connsiteX54" fmla="*/ 1970999 w 6499195"/>
                <a:gd name="connsiteY54" fmla="*/ 2826112 h 3498714"/>
                <a:gd name="connsiteX55" fmla="*/ 1850348 w 6499195"/>
                <a:gd name="connsiteY55" fmla="*/ 2705462 h 3498714"/>
                <a:gd name="connsiteX56" fmla="*/ 1956769 w 6499195"/>
                <a:gd name="connsiteY56" fmla="*/ 2587684 h 3498714"/>
                <a:gd name="connsiteX57" fmla="*/ 1823360 w 6499195"/>
                <a:gd name="connsiteY57" fmla="*/ 2279217 h 3498714"/>
                <a:gd name="connsiteX58" fmla="*/ 2217440 w 6499195"/>
                <a:gd name="connsiteY58" fmla="*/ 1856216 h 3498714"/>
                <a:gd name="connsiteX59" fmla="*/ 2534724 w 6499195"/>
                <a:gd name="connsiteY59" fmla="*/ 982297 h 3498714"/>
                <a:gd name="connsiteX60" fmla="*/ 358791 w 6499195"/>
                <a:gd name="connsiteY60" fmla="*/ 644545 h 3498714"/>
                <a:gd name="connsiteX61" fmla="*/ 1006774 w 6499195"/>
                <a:gd name="connsiteY61" fmla="*/ 644545 h 3498714"/>
                <a:gd name="connsiteX62" fmla="*/ 1542636 w 6499195"/>
                <a:gd name="connsiteY62" fmla="*/ 1193969 h 3498714"/>
                <a:gd name="connsiteX63" fmla="*/ 1929878 w 6499195"/>
                <a:gd name="connsiteY63" fmla="*/ 1193970 h 3498714"/>
                <a:gd name="connsiteX64" fmla="*/ 2070059 w 6499195"/>
                <a:gd name="connsiteY64" fmla="*/ 1334152 h 3498714"/>
                <a:gd name="connsiteX65" fmla="*/ 1929878 w 6499195"/>
                <a:gd name="connsiteY65" fmla="*/ 1474333 h 3498714"/>
                <a:gd name="connsiteX66" fmla="*/ 1520943 w 6499195"/>
                <a:gd name="connsiteY66" fmla="*/ 1470388 h 3498714"/>
                <a:gd name="connsiteX67" fmla="*/ 1332825 w 6499195"/>
                <a:gd name="connsiteY67" fmla="*/ 1367201 h 3498714"/>
                <a:gd name="connsiteX68" fmla="*/ 1106501 w 6499195"/>
                <a:gd name="connsiteY68" fmla="*/ 1098289 h 3498714"/>
                <a:gd name="connsiteX69" fmla="*/ 1101049 w 6499195"/>
                <a:gd name="connsiteY69" fmla="*/ 1092836 h 3498714"/>
                <a:gd name="connsiteX70" fmla="*/ 1046523 w 6499195"/>
                <a:gd name="connsiteY70" fmla="*/ 1092836 h 3498714"/>
                <a:gd name="connsiteX71" fmla="*/ 1041071 w 6499195"/>
                <a:gd name="connsiteY71" fmla="*/ 1098289 h 3498714"/>
                <a:gd name="connsiteX72" fmla="*/ 1042136 w 6499195"/>
                <a:gd name="connsiteY72" fmla="*/ 1419754 h 3498714"/>
                <a:gd name="connsiteX73" fmla="*/ 1042136 w 6499195"/>
                <a:gd name="connsiteY73" fmla="*/ 3337652 h 3498714"/>
                <a:gd name="connsiteX74" fmla="*/ 881075 w 6499195"/>
                <a:gd name="connsiteY74" fmla="*/ 3498714 h 3498714"/>
                <a:gd name="connsiteX75" fmla="*/ 720012 w 6499195"/>
                <a:gd name="connsiteY75" fmla="*/ 3337652 h 3498714"/>
                <a:gd name="connsiteX76" fmla="*/ 720012 w 6499195"/>
                <a:gd name="connsiteY76" fmla="*/ 2125717 h 3498714"/>
                <a:gd name="connsiteX77" fmla="*/ 718947 w 6499195"/>
                <a:gd name="connsiteY77" fmla="*/ 2033194 h 3498714"/>
                <a:gd name="connsiteX78" fmla="*/ 714162 w 6499195"/>
                <a:gd name="connsiteY78" fmla="*/ 2028410 h 3498714"/>
                <a:gd name="connsiteX79" fmla="*/ 654759 w 6499195"/>
                <a:gd name="connsiteY79" fmla="*/ 2028410 h 3498714"/>
                <a:gd name="connsiteX80" fmla="*/ 649974 w 6499195"/>
                <a:gd name="connsiteY80" fmla="*/ 2033194 h 3498714"/>
                <a:gd name="connsiteX81" fmla="*/ 649974 w 6499195"/>
                <a:gd name="connsiteY81" fmla="*/ 2125717 h 3498714"/>
                <a:gd name="connsiteX82" fmla="*/ 649574 w 6499195"/>
                <a:gd name="connsiteY82" fmla="*/ 3337652 h 3498714"/>
                <a:gd name="connsiteX83" fmla="*/ 488511 w 6499195"/>
                <a:gd name="connsiteY83" fmla="*/ 3498714 h 3498714"/>
                <a:gd name="connsiteX84" fmla="*/ 327450 w 6499195"/>
                <a:gd name="connsiteY84" fmla="*/ 3337652 h 3498714"/>
                <a:gd name="connsiteX85" fmla="*/ 327450 w 6499195"/>
                <a:gd name="connsiteY85" fmla="*/ 1458216 h 3498714"/>
                <a:gd name="connsiteX86" fmla="*/ 322427 w 6499195"/>
                <a:gd name="connsiteY86" fmla="*/ 1098205 h 3498714"/>
                <a:gd name="connsiteX87" fmla="*/ 317058 w 6499195"/>
                <a:gd name="connsiteY87" fmla="*/ 1092836 h 3498714"/>
                <a:gd name="connsiteX88" fmla="*/ 263371 w 6499195"/>
                <a:gd name="connsiteY88" fmla="*/ 1092836 h 3498714"/>
                <a:gd name="connsiteX89" fmla="*/ 258001 w 6499195"/>
                <a:gd name="connsiteY89" fmla="*/ 1098205 h 3498714"/>
                <a:gd name="connsiteX90" fmla="*/ 258001 w 6499195"/>
                <a:gd name="connsiteY90" fmla="*/ 1444446 h 3498714"/>
                <a:gd name="connsiteX91" fmla="*/ 257700 w 6499195"/>
                <a:gd name="connsiteY91" fmla="*/ 1444370 h 3498714"/>
                <a:gd name="connsiteX92" fmla="*/ 257700 w 6499195"/>
                <a:gd name="connsiteY92" fmla="*/ 1912573 h 3498714"/>
                <a:gd name="connsiteX93" fmla="*/ 128850 w 6499195"/>
                <a:gd name="connsiteY93" fmla="*/ 2041423 h 3498714"/>
                <a:gd name="connsiteX94" fmla="*/ 0 w 6499195"/>
                <a:gd name="connsiteY94" fmla="*/ 1912573 h 3498714"/>
                <a:gd name="connsiteX95" fmla="*/ 0 w 6499195"/>
                <a:gd name="connsiteY95" fmla="*/ 1101802 h 3498714"/>
                <a:gd name="connsiteX96" fmla="*/ 0 w 6499195"/>
                <a:gd name="connsiteY96" fmla="*/ 1003338 h 3498714"/>
                <a:gd name="connsiteX97" fmla="*/ 0 w 6499195"/>
                <a:gd name="connsiteY97" fmla="*/ 982486 h 3498714"/>
                <a:gd name="connsiteX98" fmla="*/ 12733 w 6499195"/>
                <a:gd name="connsiteY98" fmla="*/ 894663 h 3498714"/>
                <a:gd name="connsiteX99" fmla="*/ 20539 w 6499195"/>
                <a:gd name="connsiteY99" fmla="*/ 868773 h 3498714"/>
                <a:gd name="connsiteX100" fmla="*/ 358791 w 6499195"/>
                <a:gd name="connsiteY100" fmla="*/ 644545 h 3498714"/>
                <a:gd name="connsiteX101" fmla="*/ 682782 w 6499195"/>
                <a:gd name="connsiteY101" fmla="*/ 0 h 3498714"/>
                <a:gd name="connsiteX102" fmla="*/ 966919 w 6499195"/>
                <a:gd name="connsiteY102" fmla="*/ 284138 h 3498714"/>
                <a:gd name="connsiteX103" fmla="*/ 682782 w 6499195"/>
                <a:gd name="connsiteY103" fmla="*/ 568275 h 3498714"/>
                <a:gd name="connsiteX104" fmla="*/ 398645 w 6499195"/>
                <a:gd name="connsiteY104" fmla="*/ 284138 h 3498714"/>
                <a:gd name="connsiteX105" fmla="*/ 682782 w 6499195"/>
                <a:gd name="connsiteY105" fmla="*/ 0 h 3498714"/>
                <a:gd name="connsiteX0" fmla="*/ 2052754 w 6499473"/>
                <a:gd name="connsiteY0" fmla="*/ 2902312 h 3498714"/>
                <a:gd name="connsiteX1" fmla="*/ 4707054 w 6499473"/>
                <a:gd name="connsiteY1" fmla="*/ 2902312 h 3498714"/>
                <a:gd name="connsiteX2" fmla="*/ 4818179 w 6499473"/>
                <a:gd name="connsiteY2" fmla="*/ 3013437 h 3498714"/>
                <a:gd name="connsiteX3" fmla="*/ 4707054 w 6499473"/>
                <a:gd name="connsiteY3" fmla="*/ 3124562 h 3498714"/>
                <a:gd name="connsiteX4" fmla="*/ 4545125 w 6499473"/>
                <a:gd name="connsiteY4" fmla="*/ 3124562 h 3498714"/>
                <a:gd name="connsiteX5" fmla="*/ 4545125 w 6499473"/>
                <a:gd name="connsiteY5" fmla="*/ 3361625 h 3498714"/>
                <a:gd name="connsiteX6" fmla="*/ 4436113 w 6499473"/>
                <a:gd name="connsiteY6" fmla="*/ 3470637 h 3498714"/>
                <a:gd name="connsiteX7" fmla="*/ 4235039 w 6499473"/>
                <a:gd name="connsiteY7" fmla="*/ 3470637 h 3498714"/>
                <a:gd name="connsiteX8" fmla="*/ 4126027 w 6499473"/>
                <a:gd name="connsiteY8" fmla="*/ 3361625 h 3498714"/>
                <a:gd name="connsiteX9" fmla="*/ 4126027 w 6499473"/>
                <a:gd name="connsiteY9" fmla="*/ 3124562 h 3498714"/>
                <a:gd name="connsiteX10" fmla="*/ 2589325 w 6499473"/>
                <a:gd name="connsiteY10" fmla="*/ 3124562 h 3498714"/>
                <a:gd name="connsiteX11" fmla="*/ 2589325 w 6499473"/>
                <a:gd name="connsiteY11" fmla="*/ 3361625 h 3498714"/>
                <a:gd name="connsiteX12" fmla="*/ 2480313 w 6499473"/>
                <a:gd name="connsiteY12" fmla="*/ 3470637 h 3498714"/>
                <a:gd name="connsiteX13" fmla="*/ 2279239 w 6499473"/>
                <a:gd name="connsiteY13" fmla="*/ 3470637 h 3498714"/>
                <a:gd name="connsiteX14" fmla="*/ 2170227 w 6499473"/>
                <a:gd name="connsiteY14" fmla="*/ 3361625 h 3498714"/>
                <a:gd name="connsiteX15" fmla="*/ 2170227 w 6499473"/>
                <a:gd name="connsiteY15" fmla="*/ 3124562 h 3498714"/>
                <a:gd name="connsiteX16" fmla="*/ 2052754 w 6499473"/>
                <a:gd name="connsiteY16" fmla="*/ 3124562 h 3498714"/>
                <a:gd name="connsiteX17" fmla="*/ 1941629 w 6499473"/>
                <a:gd name="connsiteY17" fmla="*/ 3013437 h 3498714"/>
                <a:gd name="connsiteX18" fmla="*/ 2052754 w 6499473"/>
                <a:gd name="connsiteY18" fmla="*/ 2902312 h 3498714"/>
                <a:gd name="connsiteX19" fmla="*/ 4492583 w 6499473"/>
                <a:gd name="connsiteY19" fmla="*/ 2089512 h 3498714"/>
                <a:gd name="connsiteX20" fmla="*/ 4311608 w 6499473"/>
                <a:gd name="connsiteY20" fmla="*/ 2270487 h 3498714"/>
                <a:gd name="connsiteX21" fmla="*/ 4492583 w 6499473"/>
                <a:gd name="connsiteY21" fmla="*/ 2451462 h 3498714"/>
                <a:gd name="connsiteX22" fmla="*/ 6498753 w 6499473"/>
                <a:gd name="connsiteY22" fmla="*/ 2404799 h 3498714"/>
                <a:gd name="connsiteX23" fmla="*/ 5268722 w 6499473"/>
                <a:gd name="connsiteY23" fmla="*/ 1972085 h 3498714"/>
                <a:gd name="connsiteX24" fmla="*/ 4492583 w 6499473"/>
                <a:gd name="connsiteY24" fmla="*/ 2089512 h 3498714"/>
                <a:gd name="connsiteX25" fmla="*/ 2979061 w 6499473"/>
                <a:gd name="connsiteY25" fmla="*/ 2089512 h 3498714"/>
                <a:gd name="connsiteX26" fmla="*/ 2671086 w 6499473"/>
                <a:gd name="connsiteY26" fmla="*/ 2397487 h 3498714"/>
                <a:gd name="connsiteX27" fmla="*/ 2671086 w 6499473"/>
                <a:gd name="connsiteY27" fmla="*/ 2584811 h 3498714"/>
                <a:gd name="connsiteX28" fmla="*/ 4083961 w 6499473"/>
                <a:gd name="connsiteY28" fmla="*/ 2584811 h 3498714"/>
                <a:gd name="connsiteX29" fmla="*/ 4083961 w 6499473"/>
                <a:gd name="connsiteY29" fmla="*/ 2397487 h 3498714"/>
                <a:gd name="connsiteX30" fmla="*/ 3775986 w 6499473"/>
                <a:gd name="connsiteY30" fmla="*/ 2089512 h 3498714"/>
                <a:gd name="connsiteX31" fmla="*/ 2979061 w 6499473"/>
                <a:gd name="connsiteY31" fmla="*/ 2089512 h 3498714"/>
                <a:gd name="connsiteX32" fmla="*/ 2251033 w 6499473"/>
                <a:gd name="connsiteY32" fmla="*/ 2089512 h 3498714"/>
                <a:gd name="connsiteX33" fmla="*/ 2070058 w 6499473"/>
                <a:gd name="connsiteY33" fmla="*/ 2270487 h 3498714"/>
                <a:gd name="connsiteX34" fmla="*/ 2251033 w 6499473"/>
                <a:gd name="connsiteY34" fmla="*/ 2451462 h 3498714"/>
                <a:gd name="connsiteX35" fmla="*/ 2432008 w 6499473"/>
                <a:gd name="connsiteY35" fmla="*/ 2270487 h 3498714"/>
                <a:gd name="connsiteX36" fmla="*/ 2251033 w 6499473"/>
                <a:gd name="connsiteY36" fmla="*/ 2089512 h 3498714"/>
                <a:gd name="connsiteX37" fmla="*/ 2651061 w 6499473"/>
                <a:gd name="connsiteY37" fmla="*/ 1167548 h 3498714"/>
                <a:gd name="connsiteX38" fmla="*/ 2392797 w 6499473"/>
                <a:gd name="connsiteY38" fmla="*/ 1878907 h 3498714"/>
                <a:gd name="connsiteX39" fmla="*/ 2478781 w 6499473"/>
                <a:gd name="connsiteY39" fmla="*/ 1920808 h 3498714"/>
                <a:gd name="connsiteX40" fmla="*/ 2842751 w 6499473"/>
                <a:gd name="connsiteY40" fmla="*/ 1749356 h 3498714"/>
                <a:gd name="connsiteX41" fmla="*/ 3912296 w 6499473"/>
                <a:gd name="connsiteY41" fmla="*/ 1749356 h 3498714"/>
                <a:gd name="connsiteX42" fmla="*/ 4277738 w 6499473"/>
                <a:gd name="connsiteY42" fmla="*/ 1922593 h 3498714"/>
                <a:gd name="connsiteX43" fmla="*/ 4370569 w 6499473"/>
                <a:gd name="connsiteY43" fmla="*/ 1877441 h 3498714"/>
                <a:gd name="connsiteX44" fmla="*/ 4112835 w 6499473"/>
                <a:gd name="connsiteY44" fmla="*/ 1167548 h 3498714"/>
                <a:gd name="connsiteX45" fmla="*/ 2651061 w 6499473"/>
                <a:gd name="connsiteY45" fmla="*/ 1167548 h 3498714"/>
                <a:gd name="connsiteX46" fmla="*/ 2534724 w 6499473"/>
                <a:gd name="connsiteY46" fmla="*/ 982297 h 3498714"/>
                <a:gd name="connsiteX47" fmla="*/ 4229172 w 6499473"/>
                <a:gd name="connsiteY47" fmla="*/ 982297 h 3498714"/>
                <a:gd name="connsiteX48" fmla="*/ 4546612 w 6499473"/>
                <a:gd name="connsiteY48" fmla="*/ 1856643 h 3498714"/>
                <a:gd name="connsiteX49" fmla="*/ 4936448 w 6499473"/>
                <a:gd name="connsiteY49" fmla="*/ 2279217 h 3498714"/>
                <a:gd name="connsiteX50" fmla="*/ 4802103 w 6499473"/>
                <a:gd name="connsiteY50" fmla="*/ 2588456 h 3498714"/>
                <a:gd name="connsiteX51" fmla="*/ 4904699 w 6499473"/>
                <a:gd name="connsiteY51" fmla="*/ 2705462 h 3498714"/>
                <a:gd name="connsiteX52" fmla="*/ 4904698 w 6499473"/>
                <a:gd name="connsiteY52" fmla="*/ 2705462 h 3498714"/>
                <a:gd name="connsiteX53" fmla="*/ 4784047 w 6499473"/>
                <a:gd name="connsiteY53" fmla="*/ 2826113 h 3498714"/>
                <a:gd name="connsiteX54" fmla="*/ 1970999 w 6499473"/>
                <a:gd name="connsiteY54" fmla="*/ 2826112 h 3498714"/>
                <a:gd name="connsiteX55" fmla="*/ 1850348 w 6499473"/>
                <a:gd name="connsiteY55" fmla="*/ 2705462 h 3498714"/>
                <a:gd name="connsiteX56" fmla="*/ 1956769 w 6499473"/>
                <a:gd name="connsiteY56" fmla="*/ 2587684 h 3498714"/>
                <a:gd name="connsiteX57" fmla="*/ 1823360 w 6499473"/>
                <a:gd name="connsiteY57" fmla="*/ 2279217 h 3498714"/>
                <a:gd name="connsiteX58" fmla="*/ 2217440 w 6499473"/>
                <a:gd name="connsiteY58" fmla="*/ 1856216 h 3498714"/>
                <a:gd name="connsiteX59" fmla="*/ 2534724 w 6499473"/>
                <a:gd name="connsiteY59" fmla="*/ 982297 h 3498714"/>
                <a:gd name="connsiteX60" fmla="*/ 358791 w 6499473"/>
                <a:gd name="connsiteY60" fmla="*/ 644545 h 3498714"/>
                <a:gd name="connsiteX61" fmla="*/ 1006774 w 6499473"/>
                <a:gd name="connsiteY61" fmla="*/ 644545 h 3498714"/>
                <a:gd name="connsiteX62" fmla="*/ 1542636 w 6499473"/>
                <a:gd name="connsiteY62" fmla="*/ 1193969 h 3498714"/>
                <a:gd name="connsiteX63" fmla="*/ 1929878 w 6499473"/>
                <a:gd name="connsiteY63" fmla="*/ 1193970 h 3498714"/>
                <a:gd name="connsiteX64" fmla="*/ 2070059 w 6499473"/>
                <a:gd name="connsiteY64" fmla="*/ 1334152 h 3498714"/>
                <a:gd name="connsiteX65" fmla="*/ 1929878 w 6499473"/>
                <a:gd name="connsiteY65" fmla="*/ 1474333 h 3498714"/>
                <a:gd name="connsiteX66" fmla="*/ 1520943 w 6499473"/>
                <a:gd name="connsiteY66" fmla="*/ 1470388 h 3498714"/>
                <a:gd name="connsiteX67" fmla="*/ 1332825 w 6499473"/>
                <a:gd name="connsiteY67" fmla="*/ 1367201 h 3498714"/>
                <a:gd name="connsiteX68" fmla="*/ 1106501 w 6499473"/>
                <a:gd name="connsiteY68" fmla="*/ 1098289 h 3498714"/>
                <a:gd name="connsiteX69" fmla="*/ 1101049 w 6499473"/>
                <a:gd name="connsiteY69" fmla="*/ 1092836 h 3498714"/>
                <a:gd name="connsiteX70" fmla="*/ 1046523 w 6499473"/>
                <a:gd name="connsiteY70" fmla="*/ 1092836 h 3498714"/>
                <a:gd name="connsiteX71" fmla="*/ 1041071 w 6499473"/>
                <a:gd name="connsiteY71" fmla="*/ 1098289 h 3498714"/>
                <a:gd name="connsiteX72" fmla="*/ 1042136 w 6499473"/>
                <a:gd name="connsiteY72" fmla="*/ 1419754 h 3498714"/>
                <a:gd name="connsiteX73" fmla="*/ 1042136 w 6499473"/>
                <a:gd name="connsiteY73" fmla="*/ 3337652 h 3498714"/>
                <a:gd name="connsiteX74" fmla="*/ 881075 w 6499473"/>
                <a:gd name="connsiteY74" fmla="*/ 3498714 h 3498714"/>
                <a:gd name="connsiteX75" fmla="*/ 720012 w 6499473"/>
                <a:gd name="connsiteY75" fmla="*/ 3337652 h 3498714"/>
                <a:gd name="connsiteX76" fmla="*/ 720012 w 6499473"/>
                <a:gd name="connsiteY76" fmla="*/ 2125717 h 3498714"/>
                <a:gd name="connsiteX77" fmla="*/ 718947 w 6499473"/>
                <a:gd name="connsiteY77" fmla="*/ 2033194 h 3498714"/>
                <a:gd name="connsiteX78" fmla="*/ 714162 w 6499473"/>
                <a:gd name="connsiteY78" fmla="*/ 2028410 h 3498714"/>
                <a:gd name="connsiteX79" fmla="*/ 654759 w 6499473"/>
                <a:gd name="connsiteY79" fmla="*/ 2028410 h 3498714"/>
                <a:gd name="connsiteX80" fmla="*/ 649974 w 6499473"/>
                <a:gd name="connsiteY80" fmla="*/ 2033194 h 3498714"/>
                <a:gd name="connsiteX81" fmla="*/ 649974 w 6499473"/>
                <a:gd name="connsiteY81" fmla="*/ 2125717 h 3498714"/>
                <a:gd name="connsiteX82" fmla="*/ 649574 w 6499473"/>
                <a:gd name="connsiteY82" fmla="*/ 3337652 h 3498714"/>
                <a:gd name="connsiteX83" fmla="*/ 488511 w 6499473"/>
                <a:gd name="connsiteY83" fmla="*/ 3498714 h 3498714"/>
                <a:gd name="connsiteX84" fmla="*/ 327450 w 6499473"/>
                <a:gd name="connsiteY84" fmla="*/ 3337652 h 3498714"/>
                <a:gd name="connsiteX85" fmla="*/ 327450 w 6499473"/>
                <a:gd name="connsiteY85" fmla="*/ 1458216 h 3498714"/>
                <a:gd name="connsiteX86" fmla="*/ 322427 w 6499473"/>
                <a:gd name="connsiteY86" fmla="*/ 1098205 h 3498714"/>
                <a:gd name="connsiteX87" fmla="*/ 317058 w 6499473"/>
                <a:gd name="connsiteY87" fmla="*/ 1092836 h 3498714"/>
                <a:gd name="connsiteX88" fmla="*/ 263371 w 6499473"/>
                <a:gd name="connsiteY88" fmla="*/ 1092836 h 3498714"/>
                <a:gd name="connsiteX89" fmla="*/ 258001 w 6499473"/>
                <a:gd name="connsiteY89" fmla="*/ 1098205 h 3498714"/>
                <a:gd name="connsiteX90" fmla="*/ 258001 w 6499473"/>
                <a:gd name="connsiteY90" fmla="*/ 1444446 h 3498714"/>
                <a:gd name="connsiteX91" fmla="*/ 257700 w 6499473"/>
                <a:gd name="connsiteY91" fmla="*/ 1444370 h 3498714"/>
                <a:gd name="connsiteX92" fmla="*/ 257700 w 6499473"/>
                <a:gd name="connsiteY92" fmla="*/ 1912573 h 3498714"/>
                <a:gd name="connsiteX93" fmla="*/ 128850 w 6499473"/>
                <a:gd name="connsiteY93" fmla="*/ 2041423 h 3498714"/>
                <a:gd name="connsiteX94" fmla="*/ 0 w 6499473"/>
                <a:gd name="connsiteY94" fmla="*/ 1912573 h 3498714"/>
                <a:gd name="connsiteX95" fmla="*/ 0 w 6499473"/>
                <a:gd name="connsiteY95" fmla="*/ 1101802 h 3498714"/>
                <a:gd name="connsiteX96" fmla="*/ 0 w 6499473"/>
                <a:gd name="connsiteY96" fmla="*/ 1003338 h 3498714"/>
                <a:gd name="connsiteX97" fmla="*/ 0 w 6499473"/>
                <a:gd name="connsiteY97" fmla="*/ 982486 h 3498714"/>
                <a:gd name="connsiteX98" fmla="*/ 12733 w 6499473"/>
                <a:gd name="connsiteY98" fmla="*/ 894663 h 3498714"/>
                <a:gd name="connsiteX99" fmla="*/ 20539 w 6499473"/>
                <a:gd name="connsiteY99" fmla="*/ 868773 h 3498714"/>
                <a:gd name="connsiteX100" fmla="*/ 358791 w 6499473"/>
                <a:gd name="connsiteY100" fmla="*/ 644545 h 3498714"/>
                <a:gd name="connsiteX101" fmla="*/ 682782 w 6499473"/>
                <a:gd name="connsiteY101" fmla="*/ 0 h 3498714"/>
                <a:gd name="connsiteX102" fmla="*/ 966919 w 6499473"/>
                <a:gd name="connsiteY102" fmla="*/ 284138 h 3498714"/>
                <a:gd name="connsiteX103" fmla="*/ 682782 w 6499473"/>
                <a:gd name="connsiteY103" fmla="*/ 568275 h 3498714"/>
                <a:gd name="connsiteX104" fmla="*/ 398645 w 6499473"/>
                <a:gd name="connsiteY104" fmla="*/ 284138 h 3498714"/>
                <a:gd name="connsiteX105" fmla="*/ 682782 w 6499473"/>
                <a:gd name="connsiteY105" fmla="*/ 0 h 3498714"/>
                <a:gd name="connsiteX0" fmla="*/ 2052754 w 6499257"/>
                <a:gd name="connsiteY0" fmla="*/ 2902312 h 3498714"/>
                <a:gd name="connsiteX1" fmla="*/ 4707054 w 6499257"/>
                <a:gd name="connsiteY1" fmla="*/ 2902312 h 3498714"/>
                <a:gd name="connsiteX2" fmla="*/ 4818179 w 6499257"/>
                <a:gd name="connsiteY2" fmla="*/ 3013437 h 3498714"/>
                <a:gd name="connsiteX3" fmla="*/ 4707054 w 6499257"/>
                <a:gd name="connsiteY3" fmla="*/ 3124562 h 3498714"/>
                <a:gd name="connsiteX4" fmla="*/ 4545125 w 6499257"/>
                <a:gd name="connsiteY4" fmla="*/ 3124562 h 3498714"/>
                <a:gd name="connsiteX5" fmla="*/ 4545125 w 6499257"/>
                <a:gd name="connsiteY5" fmla="*/ 3361625 h 3498714"/>
                <a:gd name="connsiteX6" fmla="*/ 4436113 w 6499257"/>
                <a:gd name="connsiteY6" fmla="*/ 3470637 h 3498714"/>
                <a:gd name="connsiteX7" fmla="*/ 4235039 w 6499257"/>
                <a:gd name="connsiteY7" fmla="*/ 3470637 h 3498714"/>
                <a:gd name="connsiteX8" fmla="*/ 4126027 w 6499257"/>
                <a:gd name="connsiteY8" fmla="*/ 3361625 h 3498714"/>
                <a:gd name="connsiteX9" fmla="*/ 4126027 w 6499257"/>
                <a:gd name="connsiteY9" fmla="*/ 3124562 h 3498714"/>
                <a:gd name="connsiteX10" fmla="*/ 2589325 w 6499257"/>
                <a:gd name="connsiteY10" fmla="*/ 3124562 h 3498714"/>
                <a:gd name="connsiteX11" fmla="*/ 2589325 w 6499257"/>
                <a:gd name="connsiteY11" fmla="*/ 3361625 h 3498714"/>
                <a:gd name="connsiteX12" fmla="*/ 2480313 w 6499257"/>
                <a:gd name="connsiteY12" fmla="*/ 3470637 h 3498714"/>
                <a:gd name="connsiteX13" fmla="*/ 2279239 w 6499257"/>
                <a:gd name="connsiteY13" fmla="*/ 3470637 h 3498714"/>
                <a:gd name="connsiteX14" fmla="*/ 2170227 w 6499257"/>
                <a:gd name="connsiteY14" fmla="*/ 3361625 h 3498714"/>
                <a:gd name="connsiteX15" fmla="*/ 2170227 w 6499257"/>
                <a:gd name="connsiteY15" fmla="*/ 3124562 h 3498714"/>
                <a:gd name="connsiteX16" fmla="*/ 2052754 w 6499257"/>
                <a:gd name="connsiteY16" fmla="*/ 3124562 h 3498714"/>
                <a:gd name="connsiteX17" fmla="*/ 1941629 w 6499257"/>
                <a:gd name="connsiteY17" fmla="*/ 3013437 h 3498714"/>
                <a:gd name="connsiteX18" fmla="*/ 2052754 w 6499257"/>
                <a:gd name="connsiteY18" fmla="*/ 2902312 h 3498714"/>
                <a:gd name="connsiteX19" fmla="*/ 4492583 w 6499257"/>
                <a:gd name="connsiteY19" fmla="*/ 2089512 h 3498714"/>
                <a:gd name="connsiteX20" fmla="*/ 4311608 w 6499257"/>
                <a:gd name="connsiteY20" fmla="*/ 2270487 h 3498714"/>
                <a:gd name="connsiteX21" fmla="*/ 4492583 w 6499257"/>
                <a:gd name="connsiteY21" fmla="*/ 2451462 h 3498714"/>
                <a:gd name="connsiteX22" fmla="*/ 5407618 w 6499257"/>
                <a:gd name="connsiteY22" fmla="*/ 2468742 h 3498714"/>
                <a:gd name="connsiteX23" fmla="*/ 6498753 w 6499257"/>
                <a:gd name="connsiteY23" fmla="*/ 2404799 h 3498714"/>
                <a:gd name="connsiteX24" fmla="*/ 5268722 w 6499257"/>
                <a:gd name="connsiteY24" fmla="*/ 1972085 h 3498714"/>
                <a:gd name="connsiteX25" fmla="*/ 4492583 w 6499257"/>
                <a:gd name="connsiteY25" fmla="*/ 2089512 h 3498714"/>
                <a:gd name="connsiteX26" fmla="*/ 2979061 w 6499257"/>
                <a:gd name="connsiteY26" fmla="*/ 2089512 h 3498714"/>
                <a:gd name="connsiteX27" fmla="*/ 2671086 w 6499257"/>
                <a:gd name="connsiteY27" fmla="*/ 2397487 h 3498714"/>
                <a:gd name="connsiteX28" fmla="*/ 2671086 w 6499257"/>
                <a:gd name="connsiteY28" fmla="*/ 2584811 h 3498714"/>
                <a:gd name="connsiteX29" fmla="*/ 4083961 w 6499257"/>
                <a:gd name="connsiteY29" fmla="*/ 2584811 h 3498714"/>
                <a:gd name="connsiteX30" fmla="*/ 4083961 w 6499257"/>
                <a:gd name="connsiteY30" fmla="*/ 2397487 h 3498714"/>
                <a:gd name="connsiteX31" fmla="*/ 3775986 w 6499257"/>
                <a:gd name="connsiteY31" fmla="*/ 2089512 h 3498714"/>
                <a:gd name="connsiteX32" fmla="*/ 2979061 w 6499257"/>
                <a:gd name="connsiteY32" fmla="*/ 2089512 h 3498714"/>
                <a:gd name="connsiteX33" fmla="*/ 2251033 w 6499257"/>
                <a:gd name="connsiteY33" fmla="*/ 2089512 h 3498714"/>
                <a:gd name="connsiteX34" fmla="*/ 2070058 w 6499257"/>
                <a:gd name="connsiteY34" fmla="*/ 2270487 h 3498714"/>
                <a:gd name="connsiteX35" fmla="*/ 2251033 w 6499257"/>
                <a:gd name="connsiteY35" fmla="*/ 2451462 h 3498714"/>
                <a:gd name="connsiteX36" fmla="*/ 2432008 w 6499257"/>
                <a:gd name="connsiteY36" fmla="*/ 2270487 h 3498714"/>
                <a:gd name="connsiteX37" fmla="*/ 2251033 w 6499257"/>
                <a:gd name="connsiteY37" fmla="*/ 2089512 h 3498714"/>
                <a:gd name="connsiteX38" fmla="*/ 2651061 w 6499257"/>
                <a:gd name="connsiteY38" fmla="*/ 1167548 h 3498714"/>
                <a:gd name="connsiteX39" fmla="*/ 2392797 w 6499257"/>
                <a:gd name="connsiteY39" fmla="*/ 1878907 h 3498714"/>
                <a:gd name="connsiteX40" fmla="*/ 2478781 w 6499257"/>
                <a:gd name="connsiteY40" fmla="*/ 1920808 h 3498714"/>
                <a:gd name="connsiteX41" fmla="*/ 2842751 w 6499257"/>
                <a:gd name="connsiteY41" fmla="*/ 1749356 h 3498714"/>
                <a:gd name="connsiteX42" fmla="*/ 3912296 w 6499257"/>
                <a:gd name="connsiteY42" fmla="*/ 1749356 h 3498714"/>
                <a:gd name="connsiteX43" fmla="*/ 4277738 w 6499257"/>
                <a:gd name="connsiteY43" fmla="*/ 1922593 h 3498714"/>
                <a:gd name="connsiteX44" fmla="*/ 4370569 w 6499257"/>
                <a:gd name="connsiteY44" fmla="*/ 1877441 h 3498714"/>
                <a:gd name="connsiteX45" fmla="*/ 4112835 w 6499257"/>
                <a:gd name="connsiteY45" fmla="*/ 1167548 h 3498714"/>
                <a:gd name="connsiteX46" fmla="*/ 2651061 w 6499257"/>
                <a:gd name="connsiteY46" fmla="*/ 1167548 h 3498714"/>
                <a:gd name="connsiteX47" fmla="*/ 2534724 w 6499257"/>
                <a:gd name="connsiteY47" fmla="*/ 982297 h 3498714"/>
                <a:gd name="connsiteX48" fmla="*/ 4229172 w 6499257"/>
                <a:gd name="connsiteY48" fmla="*/ 982297 h 3498714"/>
                <a:gd name="connsiteX49" fmla="*/ 4546612 w 6499257"/>
                <a:gd name="connsiteY49" fmla="*/ 1856643 h 3498714"/>
                <a:gd name="connsiteX50" fmla="*/ 4936448 w 6499257"/>
                <a:gd name="connsiteY50" fmla="*/ 2279217 h 3498714"/>
                <a:gd name="connsiteX51" fmla="*/ 4802103 w 6499257"/>
                <a:gd name="connsiteY51" fmla="*/ 2588456 h 3498714"/>
                <a:gd name="connsiteX52" fmla="*/ 4904699 w 6499257"/>
                <a:gd name="connsiteY52" fmla="*/ 2705462 h 3498714"/>
                <a:gd name="connsiteX53" fmla="*/ 4904698 w 6499257"/>
                <a:gd name="connsiteY53" fmla="*/ 2705462 h 3498714"/>
                <a:gd name="connsiteX54" fmla="*/ 4784047 w 6499257"/>
                <a:gd name="connsiteY54" fmla="*/ 2826113 h 3498714"/>
                <a:gd name="connsiteX55" fmla="*/ 1970999 w 6499257"/>
                <a:gd name="connsiteY55" fmla="*/ 2826112 h 3498714"/>
                <a:gd name="connsiteX56" fmla="*/ 1850348 w 6499257"/>
                <a:gd name="connsiteY56" fmla="*/ 2705462 h 3498714"/>
                <a:gd name="connsiteX57" fmla="*/ 1956769 w 6499257"/>
                <a:gd name="connsiteY57" fmla="*/ 2587684 h 3498714"/>
                <a:gd name="connsiteX58" fmla="*/ 1823360 w 6499257"/>
                <a:gd name="connsiteY58" fmla="*/ 2279217 h 3498714"/>
                <a:gd name="connsiteX59" fmla="*/ 2217440 w 6499257"/>
                <a:gd name="connsiteY59" fmla="*/ 1856216 h 3498714"/>
                <a:gd name="connsiteX60" fmla="*/ 2534724 w 6499257"/>
                <a:gd name="connsiteY60" fmla="*/ 982297 h 3498714"/>
                <a:gd name="connsiteX61" fmla="*/ 358791 w 6499257"/>
                <a:gd name="connsiteY61" fmla="*/ 644545 h 3498714"/>
                <a:gd name="connsiteX62" fmla="*/ 1006774 w 6499257"/>
                <a:gd name="connsiteY62" fmla="*/ 644545 h 3498714"/>
                <a:gd name="connsiteX63" fmla="*/ 1542636 w 6499257"/>
                <a:gd name="connsiteY63" fmla="*/ 1193969 h 3498714"/>
                <a:gd name="connsiteX64" fmla="*/ 1929878 w 6499257"/>
                <a:gd name="connsiteY64" fmla="*/ 1193970 h 3498714"/>
                <a:gd name="connsiteX65" fmla="*/ 2070059 w 6499257"/>
                <a:gd name="connsiteY65" fmla="*/ 1334152 h 3498714"/>
                <a:gd name="connsiteX66" fmla="*/ 1929878 w 6499257"/>
                <a:gd name="connsiteY66" fmla="*/ 1474333 h 3498714"/>
                <a:gd name="connsiteX67" fmla="*/ 1520943 w 6499257"/>
                <a:gd name="connsiteY67" fmla="*/ 1470388 h 3498714"/>
                <a:gd name="connsiteX68" fmla="*/ 1332825 w 6499257"/>
                <a:gd name="connsiteY68" fmla="*/ 1367201 h 3498714"/>
                <a:gd name="connsiteX69" fmla="*/ 1106501 w 6499257"/>
                <a:gd name="connsiteY69" fmla="*/ 1098289 h 3498714"/>
                <a:gd name="connsiteX70" fmla="*/ 1101049 w 6499257"/>
                <a:gd name="connsiteY70" fmla="*/ 1092836 h 3498714"/>
                <a:gd name="connsiteX71" fmla="*/ 1046523 w 6499257"/>
                <a:gd name="connsiteY71" fmla="*/ 1092836 h 3498714"/>
                <a:gd name="connsiteX72" fmla="*/ 1041071 w 6499257"/>
                <a:gd name="connsiteY72" fmla="*/ 1098289 h 3498714"/>
                <a:gd name="connsiteX73" fmla="*/ 1042136 w 6499257"/>
                <a:gd name="connsiteY73" fmla="*/ 1419754 h 3498714"/>
                <a:gd name="connsiteX74" fmla="*/ 1042136 w 6499257"/>
                <a:gd name="connsiteY74" fmla="*/ 3337652 h 3498714"/>
                <a:gd name="connsiteX75" fmla="*/ 881075 w 6499257"/>
                <a:gd name="connsiteY75" fmla="*/ 3498714 h 3498714"/>
                <a:gd name="connsiteX76" fmla="*/ 720012 w 6499257"/>
                <a:gd name="connsiteY76" fmla="*/ 3337652 h 3498714"/>
                <a:gd name="connsiteX77" fmla="*/ 720012 w 6499257"/>
                <a:gd name="connsiteY77" fmla="*/ 2125717 h 3498714"/>
                <a:gd name="connsiteX78" fmla="*/ 718947 w 6499257"/>
                <a:gd name="connsiteY78" fmla="*/ 2033194 h 3498714"/>
                <a:gd name="connsiteX79" fmla="*/ 714162 w 6499257"/>
                <a:gd name="connsiteY79" fmla="*/ 2028410 h 3498714"/>
                <a:gd name="connsiteX80" fmla="*/ 654759 w 6499257"/>
                <a:gd name="connsiteY80" fmla="*/ 2028410 h 3498714"/>
                <a:gd name="connsiteX81" fmla="*/ 649974 w 6499257"/>
                <a:gd name="connsiteY81" fmla="*/ 2033194 h 3498714"/>
                <a:gd name="connsiteX82" fmla="*/ 649974 w 6499257"/>
                <a:gd name="connsiteY82" fmla="*/ 2125717 h 3498714"/>
                <a:gd name="connsiteX83" fmla="*/ 649574 w 6499257"/>
                <a:gd name="connsiteY83" fmla="*/ 3337652 h 3498714"/>
                <a:gd name="connsiteX84" fmla="*/ 488511 w 6499257"/>
                <a:gd name="connsiteY84" fmla="*/ 3498714 h 3498714"/>
                <a:gd name="connsiteX85" fmla="*/ 327450 w 6499257"/>
                <a:gd name="connsiteY85" fmla="*/ 3337652 h 3498714"/>
                <a:gd name="connsiteX86" fmla="*/ 327450 w 6499257"/>
                <a:gd name="connsiteY86" fmla="*/ 1458216 h 3498714"/>
                <a:gd name="connsiteX87" fmla="*/ 322427 w 6499257"/>
                <a:gd name="connsiteY87" fmla="*/ 1098205 h 3498714"/>
                <a:gd name="connsiteX88" fmla="*/ 317058 w 6499257"/>
                <a:gd name="connsiteY88" fmla="*/ 1092836 h 3498714"/>
                <a:gd name="connsiteX89" fmla="*/ 263371 w 6499257"/>
                <a:gd name="connsiteY89" fmla="*/ 1092836 h 3498714"/>
                <a:gd name="connsiteX90" fmla="*/ 258001 w 6499257"/>
                <a:gd name="connsiteY90" fmla="*/ 1098205 h 3498714"/>
                <a:gd name="connsiteX91" fmla="*/ 258001 w 6499257"/>
                <a:gd name="connsiteY91" fmla="*/ 1444446 h 3498714"/>
                <a:gd name="connsiteX92" fmla="*/ 257700 w 6499257"/>
                <a:gd name="connsiteY92" fmla="*/ 1444370 h 3498714"/>
                <a:gd name="connsiteX93" fmla="*/ 257700 w 6499257"/>
                <a:gd name="connsiteY93" fmla="*/ 1912573 h 3498714"/>
                <a:gd name="connsiteX94" fmla="*/ 128850 w 6499257"/>
                <a:gd name="connsiteY94" fmla="*/ 2041423 h 3498714"/>
                <a:gd name="connsiteX95" fmla="*/ 0 w 6499257"/>
                <a:gd name="connsiteY95" fmla="*/ 1912573 h 3498714"/>
                <a:gd name="connsiteX96" fmla="*/ 0 w 6499257"/>
                <a:gd name="connsiteY96" fmla="*/ 1101802 h 3498714"/>
                <a:gd name="connsiteX97" fmla="*/ 0 w 6499257"/>
                <a:gd name="connsiteY97" fmla="*/ 1003338 h 3498714"/>
                <a:gd name="connsiteX98" fmla="*/ 0 w 6499257"/>
                <a:gd name="connsiteY98" fmla="*/ 982486 h 3498714"/>
                <a:gd name="connsiteX99" fmla="*/ 12733 w 6499257"/>
                <a:gd name="connsiteY99" fmla="*/ 894663 h 3498714"/>
                <a:gd name="connsiteX100" fmla="*/ 20539 w 6499257"/>
                <a:gd name="connsiteY100" fmla="*/ 868773 h 3498714"/>
                <a:gd name="connsiteX101" fmla="*/ 358791 w 6499257"/>
                <a:gd name="connsiteY101" fmla="*/ 644545 h 3498714"/>
                <a:gd name="connsiteX102" fmla="*/ 682782 w 6499257"/>
                <a:gd name="connsiteY102" fmla="*/ 0 h 3498714"/>
                <a:gd name="connsiteX103" fmla="*/ 966919 w 6499257"/>
                <a:gd name="connsiteY103" fmla="*/ 284138 h 3498714"/>
                <a:gd name="connsiteX104" fmla="*/ 682782 w 6499257"/>
                <a:gd name="connsiteY104" fmla="*/ 568275 h 3498714"/>
                <a:gd name="connsiteX105" fmla="*/ 398645 w 6499257"/>
                <a:gd name="connsiteY105" fmla="*/ 284138 h 3498714"/>
                <a:gd name="connsiteX106" fmla="*/ 682782 w 6499257"/>
                <a:gd name="connsiteY106" fmla="*/ 0 h 3498714"/>
                <a:gd name="connsiteX0" fmla="*/ 2052754 w 6499257"/>
                <a:gd name="connsiteY0" fmla="*/ 2902312 h 3498714"/>
                <a:gd name="connsiteX1" fmla="*/ 4707054 w 6499257"/>
                <a:gd name="connsiteY1" fmla="*/ 2902312 h 3498714"/>
                <a:gd name="connsiteX2" fmla="*/ 4818179 w 6499257"/>
                <a:gd name="connsiteY2" fmla="*/ 3013437 h 3498714"/>
                <a:gd name="connsiteX3" fmla="*/ 4707054 w 6499257"/>
                <a:gd name="connsiteY3" fmla="*/ 3124562 h 3498714"/>
                <a:gd name="connsiteX4" fmla="*/ 4545125 w 6499257"/>
                <a:gd name="connsiteY4" fmla="*/ 3124562 h 3498714"/>
                <a:gd name="connsiteX5" fmla="*/ 4545125 w 6499257"/>
                <a:gd name="connsiteY5" fmla="*/ 3361625 h 3498714"/>
                <a:gd name="connsiteX6" fmla="*/ 4436113 w 6499257"/>
                <a:gd name="connsiteY6" fmla="*/ 3470637 h 3498714"/>
                <a:gd name="connsiteX7" fmla="*/ 4235039 w 6499257"/>
                <a:gd name="connsiteY7" fmla="*/ 3470637 h 3498714"/>
                <a:gd name="connsiteX8" fmla="*/ 4126027 w 6499257"/>
                <a:gd name="connsiteY8" fmla="*/ 3361625 h 3498714"/>
                <a:gd name="connsiteX9" fmla="*/ 4126027 w 6499257"/>
                <a:gd name="connsiteY9" fmla="*/ 3124562 h 3498714"/>
                <a:gd name="connsiteX10" fmla="*/ 2589325 w 6499257"/>
                <a:gd name="connsiteY10" fmla="*/ 3124562 h 3498714"/>
                <a:gd name="connsiteX11" fmla="*/ 2589325 w 6499257"/>
                <a:gd name="connsiteY11" fmla="*/ 3361625 h 3498714"/>
                <a:gd name="connsiteX12" fmla="*/ 2480313 w 6499257"/>
                <a:gd name="connsiteY12" fmla="*/ 3470637 h 3498714"/>
                <a:gd name="connsiteX13" fmla="*/ 2279239 w 6499257"/>
                <a:gd name="connsiteY13" fmla="*/ 3470637 h 3498714"/>
                <a:gd name="connsiteX14" fmla="*/ 2170227 w 6499257"/>
                <a:gd name="connsiteY14" fmla="*/ 3361625 h 3498714"/>
                <a:gd name="connsiteX15" fmla="*/ 2170227 w 6499257"/>
                <a:gd name="connsiteY15" fmla="*/ 3124562 h 3498714"/>
                <a:gd name="connsiteX16" fmla="*/ 2052754 w 6499257"/>
                <a:gd name="connsiteY16" fmla="*/ 3124562 h 3498714"/>
                <a:gd name="connsiteX17" fmla="*/ 1941629 w 6499257"/>
                <a:gd name="connsiteY17" fmla="*/ 3013437 h 3498714"/>
                <a:gd name="connsiteX18" fmla="*/ 2052754 w 6499257"/>
                <a:gd name="connsiteY18" fmla="*/ 2902312 h 3498714"/>
                <a:gd name="connsiteX19" fmla="*/ 4492583 w 6499257"/>
                <a:gd name="connsiteY19" fmla="*/ 2089512 h 3498714"/>
                <a:gd name="connsiteX20" fmla="*/ 4311608 w 6499257"/>
                <a:gd name="connsiteY20" fmla="*/ 2270487 h 3498714"/>
                <a:gd name="connsiteX21" fmla="*/ 4492583 w 6499257"/>
                <a:gd name="connsiteY21" fmla="*/ 2451462 h 3498714"/>
                <a:gd name="connsiteX22" fmla="*/ 5407618 w 6499257"/>
                <a:gd name="connsiteY22" fmla="*/ 2468742 h 3498714"/>
                <a:gd name="connsiteX23" fmla="*/ 6498753 w 6499257"/>
                <a:gd name="connsiteY23" fmla="*/ 2404799 h 3498714"/>
                <a:gd name="connsiteX24" fmla="*/ 5268722 w 6499257"/>
                <a:gd name="connsiteY24" fmla="*/ 1972085 h 3498714"/>
                <a:gd name="connsiteX25" fmla="*/ 4492583 w 6499257"/>
                <a:gd name="connsiteY25" fmla="*/ 2089512 h 3498714"/>
                <a:gd name="connsiteX26" fmla="*/ 2979061 w 6499257"/>
                <a:gd name="connsiteY26" fmla="*/ 2089512 h 3498714"/>
                <a:gd name="connsiteX27" fmla="*/ 2671086 w 6499257"/>
                <a:gd name="connsiteY27" fmla="*/ 2397487 h 3498714"/>
                <a:gd name="connsiteX28" fmla="*/ 2671086 w 6499257"/>
                <a:gd name="connsiteY28" fmla="*/ 2584811 h 3498714"/>
                <a:gd name="connsiteX29" fmla="*/ 4083961 w 6499257"/>
                <a:gd name="connsiteY29" fmla="*/ 2584811 h 3498714"/>
                <a:gd name="connsiteX30" fmla="*/ 4083961 w 6499257"/>
                <a:gd name="connsiteY30" fmla="*/ 2397487 h 3498714"/>
                <a:gd name="connsiteX31" fmla="*/ 3775986 w 6499257"/>
                <a:gd name="connsiteY31" fmla="*/ 2089512 h 3498714"/>
                <a:gd name="connsiteX32" fmla="*/ 2979061 w 6499257"/>
                <a:gd name="connsiteY32" fmla="*/ 2089512 h 3498714"/>
                <a:gd name="connsiteX33" fmla="*/ 2251033 w 6499257"/>
                <a:gd name="connsiteY33" fmla="*/ 2089512 h 3498714"/>
                <a:gd name="connsiteX34" fmla="*/ 2070058 w 6499257"/>
                <a:gd name="connsiteY34" fmla="*/ 2270487 h 3498714"/>
                <a:gd name="connsiteX35" fmla="*/ 2251033 w 6499257"/>
                <a:gd name="connsiteY35" fmla="*/ 2451462 h 3498714"/>
                <a:gd name="connsiteX36" fmla="*/ 2432008 w 6499257"/>
                <a:gd name="connsiteY36" fmla="*/ 2270487 h 3498714"/>
                <a:gd name="connsiteX37" fmla="*/ 2251033 w 6499257"/>
                <a:gd name="connsiteY37" fmla="*/ 2089512 h 3498714"/>
                <a:gd name="connsiteX38" fmla="*/ 2651061 w 6499257"/>
                <a:gd name="connsiteY38" fmla="*/ 1167548 h 3498714"/>
                <a:gd name="connsiteX39" fmla="*/ 2392797 w 6499257"/>
                <a:gd name="connsiteY39" fmla="*/ 1878907 h 3498714"/>
                <a:gd name="connsiteX40" fmla="*/ 2478781 w 6499257"/>
                <a:gd name="connsiteY40" fmla="*/ 1920808 h 3498714"/>
                <a:gd name="connsiteX41" fmla="*/ 2842751 w 6499257"/>
                <a:gd name="connsiteY41" fmla="*/ 1749356 h 3498714"/>
                <a:gd name="connsiteX42" fmla="*/ 3912296 w 6499257"/>
                <a:gd name="connsiteY42" fmla="*/ 1749356 h 3498714"/>
                <a:gd name="connsiteX43" fmla="*/ 4277738 w 6499257"/>
                <a:gd name="connsiteY43" fmla="*/ 1922593 h 3498714"/>
                <a:gd name="connsiteX44" fmla="*/ 4370569 w 6499257"/>
                <a:gd name="connsiteY44" fmla="*/ 1877441 h 3498714"/>
                <a:gd name="connsiteX45" fmla="*/ 4112835 w 6499257"/>
                <a:gd name="connsiteY45" fmla="*/ 1167548 h 3498714"/>
                <a:gd name="connsiteX46" fmla="*/ 2651061 w 6499257"/>
                <a:gd name="connsiteY46" fmla="*/ 1167548 h 3498714"/>
                <a:gd name="connsiteX47" fmla="*/ 2534724 w 6499257"/>
                <a:gd name="connsiteY47" fmla="*/ 982297 h 3498714"/>
                <a:gd name="connsiteX48" fmla="*/ 4229172 w 6499257"/>
                <a:gd name="connsiteY48" fmla="*/ 982297 h 3498714"/>
                <a:gd name="connsiteX49" fmla="*/ 4546612 w 6499257"/>
                <a:gd name="connsiteY49" fmla="*/ 1856643 h 3498714"/>
                <a:gd name="connsiteX50" fmla="*/ 4936448 w 6499257"/>
                <a:gd name="connsiteY50" fmla="*/ 2279217 h 3498714"/>
                <a:gd name="connsiteX51" fmla="*/ 4802103 w 6499257"/>
                <a:gd name="connsiteY51" fmla="*/ 2588456 h 3498714"/>
                <a:gd name="connsiteX52" fmla="*/ 4904699 w 6499257"/>
                <a:gd name="connsiteY52" fmla="*/ 2705462 h 3498714"/>
                <a:gd name="connsiteX53" fmla="*/ 4904698 w 6499257"/>
                <a:gd name="connsiteY53" fmla="*/ 2705462 h 3498714"/>
                <a:gd name="connsiteX54" fmla="*/ 4784047 w 6499257"/>
                <a:gd name="connsiteY54" fmla="*/ 2826113 h 3498714"/>
                <a:gd name="connsiteX55" fmla="*/ 1970999 w 6499257"/>
                <a:gd name="connsiteY55" fmla="*/ 2826112 h 3498714"/>
                <a:gd name="connsiteX56" fmla="*/ 1850348 w 6499257"/>
                <a:gd name="connsiteY56" fmla="*/ 2705462 h 3498714"/>
                <a:gd name="connsiteX57" fmla="*/ 1956769 w 6499257"/>
                <a:gd name="connsiteY57" fmla="*/ 2587684 h 3498714"/>
                <a:gd name="connsiteX58" fmla="*/ 1823360 w 6499257"/>
                <a:gd name="connsiteY58" fmla="*/ 2279217 h 3498714"/>
                <a:gd name="connsiteX59" fmla="*/ 2217440 w 6499257"/>
                <a:gd name="connsiteY59" fmla="*/ 1856216 h 3498714"/>
                <a:gd name="connsiteX60" fmla="*/ 2534724 w 6499257"/>
                <a:gd name="connsiteY60" fmla="*/ 982297 h 3498714"/>
                <a:gd name="connsiteX61" fmla="*/ 358791 w 6499257"/>
                <a:gd name="connsiteY61" fmla="*/ 644545 h 3498714"/>
                <a:gd name="connsiteX62" fmla="*/ 1006774 w 6499257"/>
                <a:gd name="connsiteY62" fmla="*/ 644545 h 3498714"/>
                <a:gd name="connsiteX63" fmla="*/ 1542636 w 6499257"/>
                <a:gd name="connsiteY63" fmla="*/ 1193969 h 3498714"/>
                <a:gd name="connsiteX64" fmla="*/ 1929878 w 6499257"/>
                <a:gd name="connsiteY64" fmla="*/ 1193970 h 3498714"/>
                <a:gd name="connsiteX65" fmla="*/ 2070059 w 6499257"/>
                <a:gd name="connsiteY65" fmla="*/ 1334152 h 3498714"/>
                <a:gd name="connsiteX66" fmla="*/ 1929878 w 6499257"/>
                <a:gd name="connsiteY66" fmla="*/ 1474333 h 3498714"/>
                <a:gd name="connsiteX67" fmla="*/ 1520943 w 6499257"/>
                <a:gd name="connsiteY67" fmla="*/ 1470388 h 3498714"/>
                <a:gd name="connsiteX68" fmla="*/ 1332825 w 6499257"/>
                <a:gd name="connsiteY68" fmla="*/ 1367201 h 3498714"/>
                <a:gd name="connsiteX69" fmla="*/ 1106501 w 6499257"/>
                <a:gd name="connsiteY69" fmla="*/ 1098289 h 3498714"/>
                <a:gd name="connsiteX70" fmla="*/ 1101049 w 6499257"/>
                <a:gd name="connsiteY70" fmla="*/ 1092836 h 3498714"/>
                <a:gd name="connsiteX71" fmla="*/ 1046523 w 6499257"/>
                <a:gd name="connsiteY71" fmla="*/ 1092836 h 3498714"/>
                <a:gd name="connsiteX72" fmla="*/ 1041071 w 6499257"/>
                <a:gd name="connsiteY72" fmla="*/ 1098289 h 3498714"/>
                <a:gd name="connsiteX73" fmla="*/ 1042136 w 6499257"/>
                <a:gd name="connsiteY73" fmla="*/ 1419754 h 3498714"/>
                <a:gd name="connsiteX74" fmla="*/ 1042136 w 6499257"/>
                <a:gd name="connsiteY74" fmla="*/ 3337652 h 3498714"/>
                <a:gd name="connsiteX75" fmla="*/ 881075 w 6499257"/>
                <a:gd name="connsiteY75" fmla="*/ 3498714 h 3498714"/>
                <a:gd name="connsiteX76" fmla="*/ 720012 w 6499257"/>
                <a:gd name="connsiteY76" fmla="*/ 3337652 h 3498714"/>
                <a:gd name="connsiteX77" fmla="*/ 720012 w 6499257"/>
                <a:gd name="connsiteY77" fmla="*/ 2125717 h 3498714"/>
                <a:gd name="connsiteX78" fmla="*/ 718947 w 6499257"/>
                <a:gd name="connsiteY78" fmla="*/ 2033194 h 3498714"/>
                <a:gd name="connsiteX79" fmla="*/ 714162 w 6499257"/>
                <a:gd name="connsiteY79" fmla="*/ 2028410 h 3498714"/>
                <a:gd name="connsiteX80" fmla="*/ 654759 w 6499257"/>
                <a:gd name="connsiteY80" fmla="*/ 2028410 h 3498714"/>
                <a:gd name="connsiteX81" fmla="*/ 649974 w 6499257"/>
                <a:gd name="connsiteY81" fmla="*/ 2033194 h 3498714"/>
                <a:gd name="connsiteX82" fmla="*/ 649974 w 6499257"/>
                <a:gd name="connsiteY82" fmla="*/ 2125717 h 3498714"/>
                <a:gd name="connsiteX83" fmla="*/ 649574 w 6499257"/>
                <a:gd name="connsiteY83" fmla="*/ 3337652 h 3498714"/>
                <a:gd name="connsiteX84" fmla="*/ 488511 w 6499257"/>
                <a:gd name="connsiteY84" fmla="*/ 3498714 h 3498714"/>
                <a:gd name="connsiteX85" fmla="*/ 327450 w 6499257"/>
                <a:gd name="connsiteY85" fmla="*/ 3337652 h 3498714"/>
                <a:gd name="connsiteX86" fmla="*/ 327450 w 6499257"/>
                <a:gd name="connsiteY86" fmla="*/ 1458216 h 3498714"/>
                <a:gd name="connsiteX87" fmla="*/ 322427 w 6499257"/>
                <a:gd name="connsiteY87" fmla="*/ 1098205 h 3498714"/>
                <a:gd name="connsiteX88" fmla="*/ 317058 w 6499257"/>
                <a:gd name="connsiteY88" fmla="*/ 1092836 h 3498714"/>
                <a:gd name="connsiteX89" fmla="*/ 263371 w 6499257"/>
                <a:gd name="connsiteY89" fmla="*/ 1092836 h 3498714"/>
                <a:gd name="connsiteX90" fmla="*/ 258001 w 6499257"/>
                <a:gd name="connsiteY90" fmla="*/ 1098205 h 3498714"/>
                <a:gd name="connsiteX91" fmla="*/ 258001 w 6499257"/>
                <a:gd name="connsiteY91" fmla="*/ 1444446 h 3498714"/>
                <a:gd name="connsiteX92" fmla="*/ 257700 w 6499257"/>
                <a:gd name="connsiteY92" fmla="*/ 1444370 h 3498714"/>
                <a:gd name="connsiteX93" fmla="*/ 257700 w 6499257"/>
                <a:gd name="connsiteY93" fmla="*/ 1912573 h 3498714"/>
                <a:gd name="connsiteX94" fmla="*/ 128850 w 6499257"/>
                <a:gd name="connsiteY94" fmla="*/ 2041423 h 3498714"/>
                <a:gd name="connsiteX95" fmla="*/ 0 w 6499257"/>
                <a:gd name="connsiteY95" fmla="*/ 1912573 h 3498714"/>
                <a:gd name="connsiteX96" fmla="*/ 0 w 6499257"/>
                <a:gd name="connsiteY96" fmla="*/ 1101802 h 3498714"/>
                <a:gd name="connsiteX97" fmla="*/ 0 w 6499257"/>
                <a:gd name="connsiteY97" fmla="*/ 1003338 h 3498714"/>
                <a:gd name="connsiteX98" fmla="*/ 0 w 6499257"/>
                <a:gd name="connsiteY98" fmla="*/ 982486 h 3498714"/>
                <a:gd name="connsiteX99" fmla="*/ 12733 w 6499257"/>
                <a:gd name="connsiteY99" fmla="*/ 894663 h 3498714"/>
                <a:gd name="connsiteX100" fmla="*/ 20539 w 6499257"/>
                <a:gd name="connsiteY100" fmla="*/ 868773 h 3498714"/>
                <a:gd name="connsiteX101" fmla="*/ 358791 w 6499257"/>
                <a:gd name="connsiteY101" fmla="*/ 644545 h 3498714"/>
                <a:gd name="connsiteX102" fmla="*/ 682782 w 6499257"/>
                <a:gd name="connsiteY102" fmla="*/ 0 h 3498714"/>
                <a:gd name="connsiteX103" fmla="*/ 966919 w 6499257"/>
                <a:gd name="connsiteY103" fmla="*/ 284138 h 3498714"/>
                <a:gd name="connsiteX104" fmla="*/ 682782 w 6499257"/>
                <a:gd name="connsiteY104" fmla="*/ 568275 h 3498714"/>
                <a:gd name="connsiteX105" fmla="*/ 398645 w 6499257"/>
                <a:gd name="connsiteY105" fmla="*/ 284138 h 3498714"/>
                <a:gd name="connsiteX106" fmla="*/ 682782 w 6499257"/>
                <a:gd name="connsiteY106" fmla="*/ 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651061 w 6499257"/>
                <a:gd name="connsiteY12" fmla="*/ 1167548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3912296 w 6499257"/>
                <a:gd name="connsiteY16" fmla="*/ 1749356 h 3498714"/>
                <a:gd name="connsiteX17" fmla="*/ 4277738 w 6499257"/>
                <a:gd name="connsiteY17" fmla="*/ 1922593 h 3498714"/>
                <a:gd name="connsiteX18" fmla="*/ 4370569 w 6499257"/>
                <a:gd name="connsiteY18" fmla="*/ 1877441 h 3498714"/>
                <a:gd name="connsiteX19" fmla="*/ 4112835 w 6499257"/>
                <a:gd name="connsiteY19" fmla="*/ 1167548 h 3498714"/>
                <a:gd name="connsiteX20" fmla="*/ 2651061 w 6499257"/>
                <a:gd name="connsiteY20" fmla="*/ 1167548 h 3498714"/>
                <a:gd name="connsiteX21" fmla="*/ 2534724 w 6499257"/>
                <a:gd name="connsiteY21" fmla="*/ 982297 h 3498714"/>
                <a:gd name="connsiteX22" fmla="*/ 4229172 w 6499257"/>
                <a:gd name="connsiteY22" fmla="*/ 982297 h 3498714"/>
                <a:gd name="connsiteX23" fmla="*/ 4546612 w 6499257"/>
                <a:gd name="connsiteY23" fmla="*/ 1856643 h 3498714"/>
                <a:gd name="connsiteX24" fmla="*/ 4936448 w 6499257"/>
                <a:gd name="connsiteY24" fmla="*/ 2279217 h 3498714"/>
                <a:gd name="connsiteX25" fmla="*/ 4802103 w 6499257"/>
                <a:gd name="connsiteY25" fmla="*/ 2588456 h 3498714"/>
                <a:gd name="connsiteX26" fmla="*/ 4904699 w 6499257"/>
                <a:gd name="connsiteY26" fmla="*/ 2705462 h 3498714"/>
                <a:gd name="connsiteX27" fmla="*/ 4904698 w 6499257"/>
                <a:gd name="connsiteY27" fmla="*/ 2705462 h 3498714"/>
                <a:gd name="connsiteX28" fmla="*/ 4784047 w 6499257"/>
                <a:gd name="connsiteY28" fmla="*/ 2826113 h 3498714"/>
                <a:gd name="connsiteX29" fmla="*/ 1970999 w 6499257"/>
                <a:gd name="connsiteY29" fmla="*/ 2826112 h 3498714"/>
                <a:gd name="connsiteX30" fmla="*/ 1850348 w 6499257"/>
                <a:gd name="connsiteY30" fmla="*/ 2705462 h 3498714"/>
                <a:gd name="connsiteX31" fmla="*/ 1956769 w 6499257"/>
                <a:gd name="connsiteY31" fmla="*/ 2587684 h 3498714"/>
                <a:gd name="connsiteX32" fmla="*/ 1823360 w 6499257"/>
                <a:gd name="connsiteY32" fmla="*/ 2279217 h 3498714"/>
                <a:gd name="connsiteX33" fmla="*/ 2217440 w 6499257"/>
                <a:gd name="connsiteY33" fmla="*/ 1856216 h 3498714"/>
                <a:gd name="connsiteX34" fmla="*/ 2534724 w 6499257"/>
                <a:gd name="connsiteY34" fmla="*/ 982297 h 3498714"/>
                <a:gd name="connsiteX35" fmla="*/ 358791 w 6499257"/>
                <a:gd name="connsiteY35" fmla="*/ 644545 h 3498714"/>
                <a:gd name="connsiteX36" fmla="*/ 1006774 w 6499257"/>
                <a:gd name="connsiteY36" fmla="*/ 644545 h 3498714"/>
                <a:gd name="connsiteX37" fmla="*/ 1542636 w 6499257"/>
                <a:gd name="connsiteY37" fmla="*/ 1193969 h 3498714"/>
                <a:gd name="connsiteX38" fmla="*/ 1929878 w 6499257"/>
                <a:gd name="connsiteY38" fmla="*/ 1193970 h 3498714"/>
                <a:gd name="connsiteX39" fmla="*/ 2070059 w 6499257"/>
                <a:gd name="connsiteY39" fmla="*/ 1334152 h 3498714"/>
                <a:gd name="connsiteX40" fmla="*/ 1929878 w 6499257"/>
                <a:gd name="connsiteY40" fmla="*/ 1474333 h 3498714"/>
                <a:gd name="connsiteX41" fmla="*/ 1520943 w 6499257"/>
                <a:gd name="connsiteY41" fmla="*/ 1470388 h 3498714"/>
                <a:gd name="connsiteX42" fmla="*/ 1332825 w 6499257"/>
                <a:gd name="connsiteY42" fmla="*/ 1367201 h 3498714"/>
                <a:gd name="connsiteX43" fmla="*/ 1106501 w 6499257"/>
                <a:gd name="connsiteY43" fmla="*/ 1098289 h 3498714"/>
                <a:gd name="connsiteX44" fmla="*/ 1101049 w 6499257"/>
                <a:gd name="connsiteY44" fmla="*/ 1092836 h 3498714"/>
                <a:gd name="connsiteX45" fmla="*/ 1046523 w 6499257"/>
                <a:gd name="connsiteY45" fmla="*/ 1092836 h 3498714"/>
                <a:gd name="connsiteX46" fmla="*/ 1041071 w 6499257"/>
                <a:gd name="connsiteY46" fmla="*/ 1098289 h 3498714"/>
                <a:gd name="connsiteX47" fmla="*/ 1042136 w 6499257"/>
                <a:gd name="connsiteY47" fmla="*/ 1419754 h 3498714"/>
                <a:gd name="connsiteX48" fmla="*/ 1042136 w 6499257"/>
                <a:gd name="connsiteY48" fmla="*/ 3337652 h 3498714"/>
                <a:gd name="connsiteX49" fmla="*/ 881075 w 6499257"/>
                <a:gd name="connsiteY49" fmla="*/ 3498714 h 3498714"/>
                <a:gd name="connsiteX50" fmla="*/ 720012 w 6499257"/>
                <a:gd name="connsiteY50" fmla="*/ 3337652 h 3498714"/>
                <a:gd name="connsiteX51" fmla="*/ 720012 w 6499257"/>
                <a:gd name="connsiteY51" fmla="*/ 2125717 h 3498714"/>
                <a:gd name="connsiteX52" fmla="*/ 718947 w 6499257"/>
                <a:gd name="connsiteY52" fmla="*/ 2033194 h 3498714"/>
                <a:gd name="connsiteX53" fmla="*/ 714162 w 6499257"/>
                <a:gd name="connsiteY53" fmla="*/ 2028410 h 3498714"/>
                <a:gd name="connsiteX54" fmla="*/ 654759 w 6499257"/>
                <a:gd name="connsiteY54" fmla="*/ 2028410 h 3498714"/>
                <a:gd name="connsiteX55" fmla="*/ 649974 w 6499257"/>
                <a:gd name="connsiteY55" fmla="*/ 2033194 h 3498714"/>
                <a:gd name="connsiteX56" fmla="*/ 649974 w 6499257"/>
                <a:gd name="connsiteY56" fmla="*/ 2125717 h 3498714"/>
                <a:gd name="connsiteX57" fmla="*/ 649574 w 6499257"/>
                <a:gd name="connsiteY57" fmla="*/ 3337652 h 3498714"/>
                <a:gd name="connsiteX58" fmla="*/ 488511 w 6499257"/>
                <a:gd name="connsiteY58" fmla="*/ 3498714 h 3498714"/>
                <a:gd name="connsiteX59" fmla="*/ 327450 w 6499257"/>
                <a:gd name="connsiteY59" fmla="*/ 3337652 h 3498714"/>
                <a:gd name="connsiteX60" fmla="*/ 327450 w 6499257"/>
                <a:gd name="connsiteY60" fmla="*/ 1458216 h 3498714"/>
                <a:gd name="connsiteX61" fmla="*/ 322427 w 6499257"/>
                <a:gd name="connsiteY61" fmla="*/ 1098205 h 3498714"/>
                <a:gd name="connsiteX62" fmla="*/ 317058 w 6499257"/>
                <a:gd name="connsiteY62" fmla="*/ 1092836 h 3498714"/>
                <a:gd name="connsiteX63" fmla="*/ 263371 w 6499257"/>
                <a:gd name="connsiteY63" fmla="*/ 1092836 h 3498714"/>
                <a:gd name="connsiteX64" fmla="*/ 258001 w 6499257"/>
                <a:gd name="connsiteY64" fmla="*/ 1098205 h 3498714"/>
                <a:gd name="connsiteX65" fmla="*/ 258001 w 6499257"/>
                <a:gd name="connsiteY65" fmla="*/ 1444446 h 3498714"/>
                <a:gd name="connsiteX66" fmla="*/ 257700 w 6499257"/>
                <a:gd name="connsiteY66" fmla="*/ 1444370 h 3498714"/>
                <a:gd name="connsiteX67" fmla="*/ 257700 w 6499257"/>
                <a:gd name="connsiteY67" fmla="*/ 1912573 h 3498714"/>
                <a:gd name="connsiteX68" fmla="*/ 128850 w 6499257"/>
                <a:gd name="connsiteY68" fmla="*/ 2041423 h 3498714"/>
                <a:gd name="connsiteX69" fmla="*/ 0 w 6499257"/>
                <a:gd name="connsiteY69" fmla="*/ 1912573 h 3498714"/>
                <a:gd name="connsiteX70" fmla="*/ 0 w 6499257"/>
                <a:gd name="connsiteY70" fmla="*/ 1101802 h 3498714"/>
                <a:gd name="connsiteX71" fmla="*/ 0 w 6499257"/>
                <a:gd name="connsiteY71" fmla="*/ 1003338 h 3498714"/>
                <a:gd name="connsiteX72" fmla="*/ 0 w 6499257"/>
                <a:gd name="connsiteY72" fmla="*/ 982486 h 3498714"/>
                <a:gd name="connsiteX73" fmla="*/ 12733 w 6499257"/>
                <a:gd name="connsiteY73" fmla="*/ 894663 h 3498714"/>
                <a:gd name="connsiteX74" fmla="*/ 20539 w 6499257"/>
                <a:gd name="connsiteY74" fmla="*/ 868773 h 3498714"/>
                <a:gd name="connsiteX75" fmla="*/ 358791 w 6499257"/>
                <a:gd name="connsiteY75" fmla="*/ 644545 h 3498714"/>
                <a:gd name="connsiteX76" fmla="*/ 682782 w 6499257"/>
                <a:gd name="connsiteY76" fmla="*/ 0 h 3498714"/>
                <a:gd name="connsiteX77" fmla="*/ 966919 w 6499257"/>
                <a:gd name="connsiteY77" fmla="*/ 284138 h 3498714"/>
                <a:gd name="connsiteX78" fmla="*/ 682782 w 6499257"/>
                <a:gd name="connsiteY78" fmla="*/ 568275 h 3498714"/>
                <a:gd name="connsiteX79" fmla="*/ 398645 w 6499257"/>
                <a:gd name="connsiteY79" fmla="*/ 284138 h 3498714"/>
                <a:gd name="connsiteX80" fmla="*/ 682782 w 6499257"/>
                <a:gd name="connsiteY80" fmla="*/ 0 h 3498714"/>
                <a:gd name="connsiteX81" fmla="*/ 4707054 w 6499257"/>
                <a:gd name="connsiteY81" fmla="*/ 2902312 h 3498714"/>
                <a:gd name="connsiteX82" fmla="*/ 4818179 w 6499257"/>
                <a:gd name="connsiteY82" fmla="*/ 3013437 h 3498714"/>
                <a:gd name="connsiteX83" fmla="*/ 4707054 w 6499257"/>
                <a:gd name="connsiteY83" fmla="*/ 3124562 h 3498714"/>
                <a:gd name="connsiteX84" fmla="*/ 4545125 w 6499257"/>
                <a:gd name="connsiteY84" fmla="*/ 3124562 h 3498714"/>
                <a:gd name="connsiteX85" fmla="*/ 4545125 w 6499257"/>
                <a:gd name="connsiteY85" fmla="*/ 3361625 h 3498714"/>
                <a:gd name="connsiteX86" fmla="*/ 4436113 w 6499257"/>
                <a:gd name="connsiteY86" fmla="*/ 3470637 h 3498714"/>
                <a:gd name="connsiteX87" fmla="*/ 4235039 w 6499257"/>
                <a:gd name="connsiteY87" fmla="*/ 3470637 h 3498714"/>
                <a:gd name="connsiteX88" fmla="*/ 4126027 w 6499257"/>
                <a:gd name="connsiteY88" fmla="*/ 3361625 h 3498714"/>
                <a:gd name="connsiteX89" fmla="*/ 4126027 w 6499257"/>
                <a:gd name="connsiteY89" fmla="*/ 3124562 h 3498714"/>
                <a:gd name="connsiteX90" fmla="*/ 2589325 w 6499257"/>
                <a:gd name="connsiteY90" fmla="*/ 3124562 h 3498714"/>
                <a:gd name="connsiteX91" fmla="*/ 2589325 w 6499257"/>
                <a:gd name="connsiteY91" fmla="*/ 3361625 h 3498714"/>
                <a:gd name="connsiteX92" fmla="*/ 2480313 w 6499257"/>
                <a:gd name="connsiteY92" fmla="*/ 3470637 h 3498714"/>
                <a:gd name="connsiteX93" fmla="*/ 2279239 w 6499257"/>
                <a:gd name="connsiteY93" fmla="*/ 3470637 h 3498714"/>
                <a:gd name="connsiteX94" fmla="*/ 2170227 w 6499257"/>
                <a:gd name="connsiteY94" fmla="*/ 3361625 h 3498714"/>
                <a:gd name="connsiteX95" fmla="*/ 2170227 w 6499257"/>
                <a:gd name="connsiteY95" fmla="*/ 3124562 h 3498714"/>
                <a:gd name="connsiteX96" fmla="*/ 2052754 w 6499257"/>
                <a:gd name="connsiteY96" fmla="*/ 3124562 h 3498714"/>
                <a:gd name="connsiteX97" fmla="*/ 1941629 w 6499257"/>
                <a:gd name="connsiteY97" fmla="*/ 3013437 h 3498714"/>
                <a:gd name="connsiteX98" fmla="*/ 2052754 w 6499257"/>
                <a:gd name="connsiteY98" fmla="*/ 2902312 h 3498714"/>
                <a:gd name="connsiteX99" fmla="*/ 4492583 w 6499257"/>
                <a:gd name="connsiteY99" fmla="*/ 2089512 h 3498714"/>
                <a:gd name="connsiteX100" fmla="*/ 4311608 w 6499257"/>
                <a:gd name="connsiteY100" fmla="*/ 2270487 h 3498714"/>
                <a:gd name="connsiteX101" fmla="*/ 4492583 w 6499257"/>
                <a:gd name="connsiteY101" fmla="*/ 2451462 h 3498714"/>
                <a:gd name="connsiteX102" fmla="*/ 5407618 w 6499257"/>
                <a:gd name="connsiteY102" fmla="*/ 2468742 h 3498714"/>
                <a:gd name="connsiteX103" fmla="*/ 6498753 w 6499257"/>
                <a:gd name="connsiteY103" fmla="*/ 2404799 h 3498714"/>
                <a:gd name="connsiteX104" fmla="*/ 5388995 w 6499257"/>
                <a:gd name="connsiteY104"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651061 w 6499257"/>
                <a:gd name="connsiteY12" fmla="*/ 1167548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4277738 w 6499257"/>
                <a:gd name="connsiteY16" fmla="*/ 1922593 h 3498714"/>
                <a:gd name="connsiteX17" fmla="*/ 4370569 w 6499257"/>
                <a:gd name="connsiteY17" fmla="*/ 1877441 h 3498714"/>
                <a:gd name="connsiteX18" fmla="*/ 4112835 w 6499257"/>
                <a:gd name="connsiteY18" fmla="*/ 1167548 h 3498714"/>
                <a:gd name="connsiteX19" fmla="*/ 2651061 w 6499257"/>
                <a:gd name="connsiteY19" fmla="*/ 1167548 h 3498714"/>
                <a:gd name="connsiteX20" fmla="*/ 2534724 w 6499257"/>
                <a:gd name="connsiteY20" fmla="*/ 982297 h 3498714"/>
                <a:gd name="connsiteX21" fmla="*/ 4229172 w 6499257"/>
                <a:gd name="connsiteY21" fmla="*/ 982297 h 3498714"/>
                <a:gd name="connsiteX22" fmla="*/ 4546612 w 6499257"/>
                <a:gd name="connsiteY22" fmla="*/ 1856643 h 3498714"/>
                <a:gd name="connsiteX23" fmla="*/ 4936448 w 6499257"/>
                <a:gd name="connsiteY23" fmla="*/ 2279217 h 3498714"/>
                <a:gd name="connsiteX24" fmla="*/ 4802103 w 6499257"/>
                <a:gd name="connsiteY24" fmla="*/ 2588456 h 3498714"/>
                <a:gd name="connsiteX25" fmla="*/ 4904699 w 6499257"/>
                <a:gd name="connsiteY25" fmla="*/ 2705462 h 3498714"/>
                <a:gd name="connsiteX26" fmla="*/ 4904698 w 6499257"/>
                <a:gd name="connsiteY26" fmla="*/ 2705462 h 3498714"/>
                <a:gd name="connsiteX27" fmla="*/ 4784047 w 6499257"/>
                <a:gd name="connsiteY27" fmla="*/ 2826113 h 3498714"/>
                <a:gd name="connsiteX28" fmla="*/ 1970999 w 6499257"/>
                <a:gd name="connsiteY28" fmla="*/ 2826112 h 3498714"/>
                <a:gd name="connsiteX29" fmla="*/ 1850348 w 6499257"/>
                <a:gd name="connsiteY29" fmla="*/ 2705462 h 3498714"/>
                <a:gd name="connsiteX30" fmla="*/ 1956769 w 6499257"/>
                <a:gd name="connsiteY30" fmla="*/ 2587684 h 3498714"/>
                <a:gd name="connsiteX31" fmla="*/ 1823360 w 6499257"/>
                <a:gd name="connsiteY31" fmla="*/ 2279217 h 3498714"/>
                <a:gd name="connsiteX32" fmla="*/ 2217440 w 6499257"/>
                <a:gd name="connsiteY32" fmla="*/ 1856216 h 3498714"/>
                <a:gd name="connsiteX33" fmla="*/ 2534724 w 6499257"/>
                <a:gd name="connsiteY33" fmla="*/ 982297 h 3498714"/>
                <a:gd name="connsiteX34" fmla="*/ 358791 w 6499257"/>
                <a:gd name="connsiteY34" fmla="*/ 644545 h 3498714"/>
                <a:gd name="connsiteX35" fmla="*/ 1006774 w 6499257"/>
                <a:gd name="connsiteY35" fmla="*/ 644545 h 3498714"/>
                <a:gd name="connsiteX36" fmla="*/ 1542636 w 6499257"/>
                <a:gd name="connsiteY36" fmla="*/ 1193969 h 3498714"/>
                <a:gd name="connsiteX37" fmla="*/ 1929878 w 6499257"/>
                <a:gd name="connsiteY37" fmla="*/ 1193970 h 3498714"/>
                <a:gd name="connsiteX38" fmla="*/ 2070059 w 6499257"/>
                <a:gd name="connsiteY38" fmla="*/ 1334152 h 3498714"/>
                <a:gd name="connsiteX39" fmla="*/ 1929878 w 6499257"/>
                <a:gd name="connsiteY39" fmla="*/ 1474333 h 3498714"/>
                <a:gd name="connsiteX40" fmla="*/ 1520943 w 6499257"/>
                <a:gd name="connsiteY40" fmla="*/ 1470388 h 3498714"/>
                <a:gd name="connsiteX41" fmla="*/ 1332825 w 6499257"/>
                <a:gd name="connsiteY41" fmla="*/ 1367201 h 3498714"/>
                <a:gd name="connsiteX42" fmla="*/ 1106501 w 6499257"/>
                <a:gd name="connsiteY42" fmla="*/ 1098289 h 3498714"/>
                <a:gd name="connsiteX43" fmla="*/ 1101049 w 6499257"/>
                <a:gd name="connsiteY43" fmla="*/ 1092836 h 3498714"/>
                <a:gd name="connsiteX44" fmla="*/ 1046523 w 6499257"/>
                <a:gd name="connsiteY44" fmla="*/ 1092836 h 3498714"/>
                <a:gd name="connsiteX45" fmla="*/ 1041071 w 6499257"/>
                <a:gd name="connsiteY45" fmla="*/ 1098289 h 3498714"/>
                <a:gd name="connsiteX46" fmla="*/ 1042136 w 6499257"/>
                <a:gd name="connsiteY46" fmla="*/ 1419754 h 3498714"/>
                <a:gd name="connsiteX47" fmla="*/ 1042136 w 6499257"/>
                <a:gd name="connsiteY47" fmla="*/ 3337652 h 3498714"/>
                <a:gd name="connsiteX48" fmla="*/ 881075 w 6499257"/>
                <a:gd name="connsiteY48" fmla="*/ 3498714 h 3498714"/>
                <a:gd name="connsiteX49" fmla="*/ 720012 w 6499257"/>
                <a:gd name="connsiteY49" fmla="*/ 3337652 h 3498714"/>
                <a:gd name="connsiteX50" fmla="*/ 720012 w 6499257"/>
                <a:gd name="connsiteY50" fmla="*/ 2125717 h 3498714"/>
                <a:gd name="connsiteX51" fmla="*/ 718947 w 6499257"/>
                <a:gd name="connsiteY51" fmla="*/ 2033194 h 3498714"/>
                <a:gd name="connsiteX52" fmla="*/ 714162 w 6499257"/>
                <a:gd name="connsiteY52" fmla="*/ 2028410 h 3498714"/>
                <a:gd name="connsiteX53" fmla="*/ 654759 w 6499257"/>
                <a:gd name="connsiteY53" fmla="*/ 2028410 h 3498714"/>
                <a:gd name="connsiteX54" fmla="*/ 649974 w 6499257"/>
                <a:gd name="connsiteY54" fmla="*/ 2033194 h 3498714"/>
                <a:gd name="connsiteX55" fmla="*/ 649974 w 6499257"/>
                <a:gd name="connsiteY55" fmla="*/ 2125717 h 3498714"/>
                <a:gd name="connsiteX56" fmla="*/ 649574 w 6499257"/>
                <a:gd name="connsiteY56" fmla="*/ 3337652 h 3498714"/>
                <a:gd name="connsiteX57" fmla="*/ 488511 w 6499257"/>
                <a:gd name="connsiteY57" fmla="*/ 3498714 h 3498714"/>
                <a:gd name="connsiteX58" fmla="*/ 327450 w 6499257"/>
                <a:gd name="connsiteY58" fmla="*/ 3337652 h 3498714"/>
                <a:gd name="connsiteX59" fmla="*/ 327450 w 6499257"/>
                <a:gd name="connsiteY59" fmla="*/ 1458216 h 3498714"/>
                <a:gd name="connsiteX60" fmla="*/ 322427 w 6499257"/>
                <a:gd name="connsiteY60" fmla="*/ 1098205 h 3498714"/>
                <a:gd name="connsiteX61" fmla="*/ 317058 w 6499257"/>
                <a:gd name="connsiteY61" fmla="*/ 1092836 h 3498714"/>
                <a:gd name="connsiteX62" fmla="*/ 263371 w 6499257"/>
                <a:gd name="connsiteY62" fmla="*/ 1092836 h 3498714"/>
                <a:gd name="connsiteX63" fmla="*/ 258001 w 6499257"/>
                <a:gd name="connsiteY63" fmla="*/ 1098205 h 3498714"/>
                <a:gd name="connsiteX64" fmla="*/ 258001 w 6499257"/>
                <a:gd name="connsiteY64" fmla="*/ 1444446 h 3498714"/>
                <a:gd name="connsiteX65" fmla="*/ 257700 w 6499257"/>
                <a:gd name="connsiteY65" fmla="*/ 1444370 h 3498714"/>
                <a:gd name="connsiteX66" fmla="*/ 257700 w 6499257"/>
                <a:gd name="connsiteY66" fmla="*/ 1912573 h 3498714"/>
                <a:gd name="connsiteX67" fmla="*/ 128850 w 6499257"/>
                <a:gd name="connsiteY67" fmla="*/ 2041423 h 3498714"/>
                <a:gd name="connsiteX68" fmla="*/ 0 w 6499257"/>
                <a:gd name="connsiteY68" fmla="*/ 1912573 h 3498714"/>
                <a:gd name="connsiteX69" fmla="*/ 0 w 6499257"/>
                <a:gd name="connsiteY69" fmla="*/ 1101802 h 3498714"/>
                <a:gd name="connsiteX70" fmla="*/ 0 w 6499257"/>
                <a:gd name="connsiteY70" fmla="*/ 1003338 h 3498714"/>
                <a:gd name="connsiteX71" fmla="*/ 0 w 6499257"/>
                <a:gd name="connsiteY71" fmla="*/ 982486 h 3498714"/>
                <a:gd name="connsiteX72" fmla="*/ 12733 w 6499257"/>
                <a:gd name="connsiteY72" fmla="*/ 894663 h 3498714"/>
                <a:gd name="connsiteX73" fmla="*/ 20539 w 6499257"/>
                <a:gd name="connsiteY73" fmla="*/ 868773 h 3498714"/>
                <a:gd name="connsiteX74" fmla="*/ 358791 w 6499257"/>
                <a:gd name="connsiteY74" fmla="*/ 644545 h 3498714"/>
                <a:gd name="connsiteX75" fmla="*/ 682782 w 6499257"/>
                <a:gd name="connsiteY75" fmla="*/ 0 h 3498714"/>
                <a:gd name="connsiteX76" fmla="*/ 966919 w 6499257"/>
                <a:gd name="connsiteY76" fmla="*/ 284138 h 3498714"/>
                <a:gd name="connsiteX77" fmla="*/ 682782 w 6499257"/>
                <a:gd name="connsiteY77" fmla="*/ 568275 h 3498714"/>
                <a:gd name="connsiteX78" fmla="*/ 398645 w 6499257"/>
                <a:gd name="connsiteY78" fmla="*/ 284138 h 3498714"/>
                <a:gd name="connsiteX79" fmla="*/ 682782 w 6499257"/>
                <a:gd name="connsiteY79" fmla="*/ 0 h 3498714"/>
                <a:gd name="connsiteX80" fmla="*/ 4707054 w 6499257"/>
                <a:gd name="connsiteY80" fmla="*/ 2902312 h 3498714"/>
                <a:gd name="connsiteX81" fmla="*/ 4818179 w 6499257"/>
                <a:gd name="connsiteY81" fmla="*/ 3013437 h 3498714"/>
                <a:gd name="connsiteX82" fmla="*/ 4707054 w 6499257"/>
                <a:gd name="connsiteY82" fmla="*/ 3124562 h 3498714"/>
                <a:gd name="connsiteX83" fmla="*/ 4545125 w 6499257"/>
                <a:gd name="connsiteY83" fmla="*/ 3124562 h 3498714"/>
                <a:gd name="connsiteX84" fmla="*/ 4545125 w 6499257"/>
                <a:gd name="connsiteY84" fmla="*/ 3361625 h 3498714"/>
                <a:gd name="connsiteX85" fmla="*/ 4436113 w 6499257"/>
                <a:gd name="connsiteY85" fmla="*/ 3470637 h 3498714"/>
                <a:gd name="connsiteX86" fmla="*/ 4235039 w 6499257"/>
                <a:gd name="connsiteY86" fmla="*/ 3470637 h 3498714"/>
                <a:gd name="connsiteX87" fmla="*/ 4126027 w 6499257"/>
                <a:gd name="connsiteY87" fmla="*/ 3361625 h 3498714"/>
                <a:gd name="connsiteX88" fmla="*/ 4126027 w 6499257"/>
                <a:gd name="connsiteY88" fmla="*/ 3124562 h 3498714"/>
                <a:gd name="connsiteX89" fmla="*/ 2589325 w 6499257"/>
                <a:gd name="connsiteY89" fmla="*/ 3124562 h 3498714"/>
                <a:gd name="connsiteX90" fmla="*/ 2589325 w 6499257"/>
                <a:gd name="connsiteY90" fmla="*/ 3361625 h 3498714"/>
                <a:gd name="connsiteX91" fmla="*/ 2480313 w 6499257"/>
                <a:gd name="connsiteY91" fmla="*/ 3470637 h 3498714"/>
                <a:gd name="connsiteX92" fmla="*/ 2279239 w 6499257"/>
                <a:gd name="connsiteY92" fmla="*/ 3470637 h 3498714"/>
                <a:gd name="connsiteX93" fmla="*/ 2170227 w 6499257"/>
                <a:gd name="connsiteY93" fmla="*/ 3361625 h 3498714"/>
                <a:gd name="connsiteX94" fmla="*/ 2170227 w 6499257"/>
                <a:gd name="connsiteY94" fmla="*/ 3124562 h 3498714"/>
                <a:gd name="connsiteX95" fmla="*/ 2052754 w 6499257"/>
                <a:gd name="connsiteY95" fmla="*/ 3124562 h 3498714"/>
                <a:gd name="connsiteX96" fmla="*/ 1941629 w 6499257"/>
                <a:gd name="connsiteY96" fmla="*/ 3013437 h 3498714"/>
                <a:gd name="connsiteX97" fmla="*/ 2052754 w 6499257"/>
                <a:gd name="connsiteY97" fmla="*/ 2902312 h 3498714"/>
                <a:gd name="connsiteX98" fmla="*/ 682782 w 6499257"/>
                <a:gd name="connsiteY98" fmla="*/ 0 h 3498714"/>
                <a:gd name="connsiteX99" fmla="*/ 4492583 w 6499257"/>
                <a:gd name="connsiteY99" fmla="*/ 2089512 h 3498714"/>
                <a:gd name="connsiteX100" fmla="*/ 4311608 w 6499257"/>
                <a:gd name="connsiteY100" fmla="*/ 2270487 h 3498714"/>
                <a:gd name="connsiteX101" fmla="*/ 4492583 w 6499257"/>
                <a:gd name="connsiteY101" fmla="*/ 2451462 h 3498714"/>
                <a:gd name="connsiteX102" fmla="*/ 5407618 w 6499257"/>
                <a:gd name="connsiteY102" fmla="*/ 2468742 h 3498714"/>
                <a:gd name="connsiteX103" fmla="*/ 6498753 w 6499257"/>
                <a:gd name="connsiteY103" fmla="*/ 2404799 h 3498714"/>
                <a:gd name="connsiteX104" fmla="*/ 5388995 w 6499257"/>
                <a:gd name="connsiteY104"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651061 w 6499257"/>
                <a:gd name="connsiteY12" fmla="*/ 1167548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4277738 w 6499257"/>
                <a:gd name="connsiteY16" fmla="*/ 1922593 h 3498714"/>
                <a:gd name="connsiteX17" fmla="*/ 4370569 w 6499257"/>
                <a:gd name="connsiteY17" fmla="*/ 1877441 h 3498714"/>
                <a:gd name="connsiteX18" fmla="*/ 4112835 w 6499257"/>
                <a:gd name="connsiteY18" fmla="*/ 1167548 h 3498714"/>
                <a:gd name="connsiteX19" fmla="*/ 2651061 w 6499257"/>
                <a:gd name="connsiteY19" fmla="*/ 1167548 h 3498714"/>
                <a:gd name="connsiteX20" fmla="*/ 2534724 w 6499257"/>
                <a:gd name="connsiteY20" fmla="*/ 982297 h 3498714"/>
                <a:gd name="connsiteX21" fmla="*/ 4229172 w 6499257"/>
                <a:gd name="connsiteY21" fmla="*/ 982297 h 3498714"/>
                <a:gd name="connsiteX22" fmla="*/ 4546612 w 6499257"/>
                <a:gd name="connsiteY22" fmla="*/ 1856643 h 3498714"/>
                <a:gd name="connsiteX23" fmla="*/ 4936448 w 6499257"/>
                <a:gd name="connsiteY23" fmla="*/ 2279217 h 3498714"/>
                <a:gd name="connsiteX24" fmla="*/ 4802103 w 6499257"/>
                <a:gd name="connsiteY24" fmla="*/ 2588456 h 3498714"/>
                <a:gd name="connsiteX25" fmla="*/ 4904699 w 6499257"/>
                <a:gd name="connsiteY25" fmla="*/ 2705462 h 3498714"/>
                <a:gd name="connsiteX26" fmla="*/ 4904698 w 6499257"/>
                <a:gd name="connsiteY26" fmla="*/ 2705462 h 3498714"/>
                <a:gd name="connsiteX27" fmla="*/ 4784047 w 6499257"/>
                <a:gd name="connsiteY27" fmla="*/ 2826113 h 3498714"/>
                <a:gd name="connsiteX28" fmla="*/ 1970999 w 6499257"/>
                <a:gd name="connsiteY28" fmla="*/ 2826112 h 3498714"/>
                <a:gd name="connsiteX29" fmla="*/ 1850348 w 6499257"/>
                <a:gd name="connsiteY29" fmla="*/ 2705462 h 3498714"/>
                <a:gd name="connsiteX30" fmla="*/ 1956769 w 6499257"/>
                <a:gd name="connsiteY30" fmla="*/ 2587684 h 3498714"/>
                <a:gd name="connsiteX31" fmla="*/ 1823360 w 6499257"/>
                <a:gd name="connsiteY31" fmla="*/ 2279217 h 3498714"/>
                <a:gd name="connsiteX32" fmla="*/ 2217440 w 6499257"/>
                <a:gd name="connsiteY32" fmla="*/ 1856216 h 3498714"/>
                <a:gd name="connsiteX33" fmla="*/ 2534724 w 6499257"/>
                <a:gd name="connsiteY33" fmla="*/ 982297 h 3498714"/>
                <a:gd name="connsiteX34" fmla="*/ 358791 w 6499257"/>
                <a:gd name="connsiteY34" fmla="*/ 644545 h 3498714"/>
                <a:gd name="connsiteX35" fmla="*/ 1006774 w 6499257"/>
                <a:gd name="connsiteY35" fmla="*/ 644545 h 3498714"/>
                <a:gd name="connsiteX36" fmla="*/ 1542636 w 6499257"/>
                <a:gd name="connsiteY36" fmla="*/ 1193969 h 3498714"/>
                <a:gd name="connsiteX37" fmla="*/ 1929878 w 6499257"/>
                <a:gd name="connsiteY37" fmla="*/ 1193970 h 3498714"/>
                <a:gd name="connsiteX38" fmla="*/ 2070059 w 6499257"/>
                <a:gd name="connsiteY38" fmla="*/ 1334152 h 3498714"/>
                <a:gd name="connsiteX39" fmla="*/ 1929878 w 6499257"/>
                <a:gd name="connsiteY39" fmla="*/ 1474333 h 3498714"/>
                <a:gd name="connsiteX40" fmla="*/ 1520943 w 6499257"/>
                <a:gd name="connsiteY40" fmla="*/ 1470388 h 3498714"/>
                <a:gd name="connsiteX41" fmla="*/ 1332825 w 6499257"/>
                <a:gd name="connsiteY41" fmla="*/ 1367201 h 3498714"/>
                <a:gd name="connsiteX42" fmla="*/ 1106501 w 6499257"/>
                <a:gd name="connsiteY42" fmla="*/ 1098289 h 3498714"/>
                <a:gd name="connsiteX43" fmla="*/ 1101049 w 6499257"/>
                <a:gd name="connsiteY43" fmla="*/ 1092836 h 3498714"/>
                <a:gd name="connsiteX44" fmla="*/ 1046523 w 6499257"/>
                <a:gd name="connsiteY44" fmla="*/ 1092836 h 3498714"/>
                <a:gd name="connsiteX45" fmla="*/ 1041071 w 6499257"/>
                <a:gd name="connsiteY45" fmla="*/ 1098289 h 3498714"/>
                <a:gd name="connsiteX46" fmla="*/ 1042136 w 6499257"/>
                <a:gd name="connsiteY46" fmla="*/ 1419754 h 3498714"/>
                <a:gd name="connsiteX47" fmla="*/ 1042136 w 6499257"/>
                <a:gd name="connsiteY47" fmla="*/ 3337652 h 3498714"/>
                <a:gd name="connsiteX48" fmla="*/ 881075 w 6499257"/>
                <a:gd name="connsiteY48" fmla="*/ 3498714 h 3498714"/>
                <a:gd name="connsiteX49" fmla="*/ 720012 w 6499257"/>
                <a:gd name="connsiteY49" fmla="*/ 3337652 h 3498714"/>
                <a:gd name="connsiteX50" fmla="*/ 720012 w 6499257"/>
                <a:gd name="connsiteY50" fmla="*/ 2125717 h 3498714"/>
                <a:gd name="connsiteX51" fmla="*/ 718947 w 6499257"/>
                <a:gd name="connsiteY51" fmla="*/ 2033194 h 3498714"/>
                <a:gd name="connsiteX52" fmla="*/ 714162 w 6499257"/>
                <a:gd name="connsiteY52" fmla="*/ 2028410 h 3498714"/>
                <a:gd name="connsiteX53" fmla="*/ 654759 w 6499257"/>
                <a:gd name="connsiteY53" fmla="*/ 2028410 h 3498714"/>
                <a:gd name="connsiteX54" fmla="*/ 649974 w 6499257"/>
                <a:gd name="connsiteY54" fmla="*/ 2033194 h 3498714"/>
                <a:gd name="connsiteX55" fmla="*/ 649974 w 6499257"/>
                <a:gd name="connsiteY55" fmla="*/ 2125717 h 3498714"/>
                <a:gd name="connsiteX56" fmla="*/ 649574 w 6499257"/>
                <a:gd name="connsiteY56" fmla="*/ 3337652 h 3498714"/>
                <a:gd name="connsiteX57" fmla="*/ 488511 w 6499257"/>
                <a:gd name="connsiteY57" fmla="*/ 3498714 h 3498714"/>
                <a:gd name="connsiteX58" fmla="*/ 327450 w 6499257"/>
                <a:gd name="connsiteY58" fmla="*/ 3337652 h 3498714"/>
                <a:gd name="connsiteX59" fmla="*/ 327450 w 6499257"/>
                <a:gd name="connsiteY59" fmla="*/ 1458216 h 3498714"/>
                <a:gd name="connsiteX60" fmla="*/ 322427 w 6499257"/>
                <a:gd name="connsiteY60" fmla="*/ 1098205 h 3498714"/>
                <a:gd name="connsiteX61" fmla="*/ 317058 w 6499257"/>
                <a:gd name="connsiteY61" fmla="*/ 1092836 h 3498714"/>
                <a:gd name="connsiteX62" fmla="*/ 263371 w 6499257"/>
                <a:gd name="connsiteY62" fmla="*/ 1092836 h 3498714"/>
                <a:gd name="connsiteX63" fmla="*/ 258001 w 6499257"/>
                <a:gd name="connsiteY63" fmla="*/ 1098205 h 3498714"/>
                <a:gd name="connsiteX64" fmla="*/ 258001 w 6499257"/>
                <a:gd name="connsiteY64" fmla="*/ 1444446 h 3498714"/>
                <a:gd name="connsiteX65" fmla="*/ 257700 w 6499257"/>
                <a:gd name="connsiteY65" fmla="*/ 1444370 h 3498714"/>
                <a:gd name="connsiteX66" fmla="*/ 257700 w 6499257"/>
                <a:gd name="connsiteY66" fmla="*/ 1912573 h 3498714"/>
                <a:gd name="connsiteX67" fmla="*/ 128850 w 6499257"/>
                <a:gd name="connsiteY67" fmla="*/ 2041423 h 3498714"/>
                <a:gd name="connsiteX68" fmla="*/ 0 w 6499257"/>
                <a:gd name="connsiteY68" fmla="*/ 1912573 h 3498714"/>
                <a:gd name="connsiteX69" fmla="*/ 0 w 6499257"/>
                <a:gd name="connsiteY69" fmla="*/ 1101802 h 3498714"/>
                <a:gd name="connsiteX70" fmla="*/ 0 w 6499257"/>
                <a:gd name="connsiteY70" fmla="*/ 1003338 h 3498714"/>
                <a:gd name="connsiteX71" fmla="*/ 0 w 6499257"/>
                <a:gd name="connsiteY71" fmla="*/ 982486 h 3498714"/>
                <a:gd name="connsiteX72" fmla="*/ 12733 w 6499257"/>
                <a:gd name="connsiteY72" fmla="*/ 894663 h 3498714"/>
                <a:gd name="connsiteX73" fmla="*/ 20539 w 6499257"/>
                <a:gd name="connsiteY73" fmla="*/ 868773 h 3498714"/>
                <a:gd name="connsiteX74" fmla="*/ 358791 w 6499257"/>
                <a:gd name="connsiteY74" fmla="*/ 644545 h 3498714"/>
                <a:gd name="connsiteX75" fmla="*/ 682782 w 6499257"/>
                <a:gd name="connsiteY75" fmla="*/ 0 h 3498714"/>
                <a:gd name="connsiteX76" fmla="*/ 966919 w 6499257"/>
                <a:gd name="connsiteY76" fmla="*/ 284138 h 3498714"/>
                <a:gd name="connsiteX77" fmla="*/ 682782 w 6499257"/>
                <a:gd name="connsiteY77" fmla="*/ 568275 h 3498714"/>
                <a:gd name="connsiteX78" fmla="*/ 398645 w 6499257"/>
                <a:gd name="connsiteY78" fmla="*/ 284138 h 3498714"/>
                <a:gd name="connsiteX79" fmla="*/ 682782 w 6499257"/>
                <a:gd name="connsiteY79" fmla="*/ 0 h 3498714"/>
                <a:gd name="connsiteX80" fmla="*/ 4707054 w 6499257"/>
                <a:gd name="connsiteY80" fmla="*/ 2902312 h 3498714"/>
                <a:gd name="connsiteX81" fmla="*/ 4818179 w 6499257"/>
                <a:gd name="connsiteY81" fmla="*/ 3013437 h 3498714"/>
                <a:gd name="connsiteX82" fmla="*/ 4707054 w 6499257"/>
                <a:gd name="connsiteY82" fmla="*/ 3124562 h 3498714"/>
                <a:gd name="connsiteX83" fmla="*/ 4545125 w 6499257"/>
                <a:gd name="connsiteY83" fmla="*/ 3124562 h 3498714"/>
                <a:gd name="connsiteX84" fmla="*/ 4545125 w 6499257"/>
                <a:gd name="connsiteY84" fmla="*/ 3361625 h 3498714"/>
                <a:gd name="connsiteX85" fmla="*/ 4436113 w 6499257"/>
                <a:gd name="connsiteY85" fmla="*/ 3470637 h 3498714"/>
                <a:gd name="connsiteX86" fmla="*/ 4235039 w 6499257"/>
                <a:gd name="connsiteY86" fmla="*/ 3470637 h 3498714"/>
                <a:gd name="connsiteX87" fmla="*/ 4126027 w 6499257"/>
                <a:gd name="connsiteY87" fmla="*/ 3361625 h 3498714"/>
                <a:gd name="connsiteX88" fmla="*/ 4126027 w 6499257"/>
                <a:gd name="connsiteY88" fmla="*/ 3124562 h 3498714"/>
                <a:gd name="connsiteX89" fmla="*/ 2589325 w 6499257"/>
                <a:gd name="connsiteY89" fmla="*/ 3124562 h 3498714"/>
                <a:gd name="connsiteX90" fmla="*/ 2589325 w 6499257"/>
                <a:gd name="connsiteY90" fmla="*/ 3361625 h 3498714"/>
                <a:gd name="connsiteX91" fmla="*/ 2480313 w 6499257"/>
                <a:gd name="connsiteY91" fmla="*/ 3470637 h 3498714"/>
                <a:gd name="connsiteX92" fmla="*/ 2279239 w 6499257"/>
                <a:gd name="connsiteY92" fmla="*/ 3470637 h 3498714"/>
                <a:gd name="connsiteX93" fmla="*/ 2170227 w 6499257"/>
                <a:gd name="connsiteY93" fmla="*/ 3361625 h 3498714"/>
                <a:gd name="connsiteX94" fmla="*/ 2170227 w 6499257"/>
                <a:gd name="connsiteY94" fmla="*/ 3124562 h 3498714"/>
                <a:gd name="connsiteX95" fmla="*/ 2052754 w 6499257"/>
                <a:gd name="connsiteY95" fmla="*/ 3124562 h 3498714"/>
                <a:gd name="connsiteX96" fmla="*/ 1941629 w 6499257"/>
                <a:gd name="connsiteY96" fmla="*/ 3013437 h 3498714"/>
                <a:gd name="connsiteX97" fmla="*/ 2052754 w 6499257"/>
                <a:gd name="connsiteY97" fmla="*/ 2902312 h 3498714"/>
                <a:gd name="connsiteX98" fmla="*/ 682782 w 6499257"/>
                <a:gd name="connsiteY98" fmla="*/ 0 h 3498714"/>
                <a:gd name="connsiteX99" fmla="*/ 4492583 w 6499257"/>
                <a:gd name="connsiteY99" fmla="*/ 2089512 h 3498714"/>
                <a:gd name="connsiteX100" fmla="*/ 4311608 w 6499257"/>
                <a:gd name="connsiteY100" fmla="*/ 2270487 h 3498714"/>
                <a:gd name="connsiteX101" fmla="*/ 4492583 w 6499257"/>
                <a:gd name="connsiteY101" fmla="*/ 2451462 h 3498714"/>
                <a:gd name="connsiteX102" fmla="*/ 5407618 w 6499257"/>
                <a:gd name="connsiteY102" fmla="*/ 2468742 h 3498714"/>
                <a:gd name="connsiteX103" fmla="*/ 6498753 w 6499257"/>
                <a:gd name="connsiteY103" fmla="*/ 2404799 h 3498714"/>
                <a:gd name="connsiteX104" fmla="*/ 5388995 w 6499257"/>
                <a:gd name="connsiteY104"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651061 w 6499257"/>
                <a:gd name="connsiteY12" fmla="*/ 1167548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4277738 w 6499257"/>
                <a:gd name="connsiteY16" fmla="*/ 1922593 h 3498714"/>
                <a:gd name="connsiteX17" fmla="*/ 4112835 w 6499257"/>
                <a:gd name="connsiteY17" fmla="*/ 1167548 h 3498714"/>
                <a:gd name="connsiteX18" fmla="*/ 2651061 w 6499257"/>
                <a:gd name="connsiteY18" fmla="*/ 1167548 h 3498714"/>
                <a:gd name="connsiteX19" fmla="*/ 2534724 w 6499257"/>
                <a:gd name="connsiteY19" fmla="*/ 982297 h 3498714"/>
                <a:gd name="connsiteX20" fmla="*/ 4229172 w 6499257"/>
                <a:gd name="connsiteY20" fmla="*/ 982297 h 3498714"/>
                <a:gd name="connsiteX21" fmla="*/ 4546612 w 6499257"/>
                <a:gd name="connsiteY21" fmla="*/ 1856643 h 3498714"/>
                <a:gd name="connsiteX22" fmla="*/ 4936448 w 6499257"/>
                <a:gd name="connsiteY22" fmla="*/ 2279217 h 3498714"/>
                <a:gd name="connsiteX23" fmla="*/ 4802103 w 6499257"/>
                <a:gd name="connsiteY23" fmla="*/ 2588456 h 3498714"/>
                <a:gd name="connsiteX24" fmla="*/ 4904699 w 6499257"/>
                <a:gd name="connsiteY24" fmla="*/ 2705462 h 3498714"/>
                <a:gd name="connsiteX25" fmla="*/ 4904698 w 6499257"/>
                <a:gd name="connsiteY25" fmla="*/ 2705462 h 3498714"/>
                <a:gd name="connsiteX26" fmla="*/ 4784047 w 6499257"/>
                <a:gd name="connsiteY26" fmla="*/ 2826113 h 3498714"/>
                <a:gd name="connsiteX27" fmla="*/ 1970999 w 6499257"/>
                <a:gd name="connsiteY27" fmla="*/ 2826112 h 3498714"/>
                <a:gd name="connsiteX28" fmla="*/ 1850348 w 6499257"/>
                <a:gd name="connsiteY28" fmla="*/ 2705462 h 3498714"/>
                <a:gd name="connsiteX29" fmla="*/ 1956769 w 6499257"/>
                <a:gd name="connsiteY29" fmla="*/ 2587684 h 3498714"/>
                <a:gd name="connsiteX30" fmla="*/ 1823360 w 6499257"/>
                <a:gd name="connsiteY30" fmla="*/ 2279217 h 3498714"/>
                <a:gd name="connsiteX31" fmla="*/ 2217440 w 6499257"/>
                <a:gd name="connsiteY31" fmla="*/ 1856216 h 3498714"/>
                <a:gd name="connsiteX32" fmla="*/ 2534724 w 6499257"/>
                <a:gd name="connsiteY32" fmla="*/ 982297 h 3498714"/>
                <a:gd name="connsiteX33" fmla="*/ 358791 w 6499257"/>
                <a:gd name="connsiteY33" fmla="*/ 644545 h 3498714"/>
                <a:gd name="connsiteX34" fmla="*/ 1006774 w 6499257"/>
                <a:gd name="connsiteY34" fmla="*/ 644545 h 3498714"/>
                <a:gd name="connsiteX35" fmla="*/ 1542636 w 6499257"/>
                <a:gd name="connsiteY35" fmla="*/ 1193969 h 3498714"/>
                <a:gd name="connsiteX36" fmla="*/ 1929878 w 6499257"/>
                <a:gd name="connsiteY36" fmla="*/ 1193970 h 3498714"/>
                <a:gd name="connsiteX37" fmla="*/ 2070059 w 6499257"/>
                <a:gd name="connsiteY37" fmla="*/ 1334152 h 3498714"/>
                <a:gd name="connsiteX38" fmla="*/ 1929878 w 6499257"/>
                <a:gd name="connsiteY38" fmla="*/ 1474333 h 3498714"/>
                <a:gd name="connsiteX39" fmla="*/ 1520943 w 6499257"/>
                <a:gd name="connsiteY39" fmla="*/ 1470388 h 3498714"/>
                <a:gd name="connsiteX40" fmla="*/ 1332825 w 6499257"/>
                <a:gd name="connsiteY40" fmla="*/ 1367201 h 3498714"/>
                <a:gd name="connsiteX41" fmla="*/ 1106501 w 6499257"/>
                <a:gd name="connsiteY41" fmla="*/ 1098289 h 3498714"/>
                <a:gd name="connsiteX42" fmla="*/ 1101049 w 6499257"/>
                <a:gd name="connsiteY42" fmla="*/ 1092836 h 3498714"/>
                <a:gd name="connsiteX43" fmla="*/ 1046523 w 6499257"/>
                <a:gd name="connsiteY43" fmla="*/ 1092836 h 3498714"/>
                <a:gd name="connsiteX44" fmla="*/ 1041071 w 6499257"/>
                <a:gd name="connsiteY44" fmla="*/ 1098289 h 3498714"/>
                <a:gd name="connsiteX45" fmla="*/ 1042136 w 6499257"/>
                <a:gd name="connsiteY45" fmla="*/ 1419754 h 3498714"/>
                <a:gd name="connsiteX46" fmla="*/ 1042136 w 6499257"/>
                <a:gd name="connsiteY46" fmla="*/ 3337652 h 3498714"/>
                <a:gd name="connsiteX47" fmla="*/ 881075 w 6499257"/>
                <a:gd name="connsiteY47" fmla="*/ 3498714 h 3498714"/>
                <a:gd name="connsiteX48" fmla="*/ 720012 w 6499257"/>
                <a:gd name="connsiteY48" fmla="*/ 3337652 h 3498714"/>
                <a:gd name="connsiteX49" fmla="*/ 720012 w 6499257"/>
                <a:gd name="connsiteY49" fmla="*/ 2125717 h 3498714"/>
                <a:gd name="connsiteX50" fmla="*/ 718947 w 6499257"/>
                <a:gd name="connsiteY50" fmla="*/ 2033194 h 3498714"/>
                <a:gd name="connsiteX51" fmla="*/ 714162 w 6499257"/>
                <a:gd name="connsiteY51" fmla="*/ 2028410 h 3498714"/>
                <a:gd name="connsiteX52" fmla="*/ 654759 w 6499257"/>
                <a:gd name="connsiteY52" fmla="*/ 2028410 h 3498714"/>
                <a:gd name="connsiteX53" fmla="*/ 649974 w 6499257"/>
                <a:gd name="connsiteY53" fmla="*/ 2033194 h 3498714"/>
                <a:gd name="connsiteX54" fmla="*/ 649974 w 6499257"/>
                <a:gd name="connsiteY54" fmla="*/ 2125717 h 3498714"/>
                <a:gd name="connsiteX55" fmla="*/ 649574 w 6499257"/>
                <a:gd name="connsiteY55" fmla="*/ 3337652 h 3498714"/>
                <a:gd name="connsiteX56" fmla="*/ 488511 w 6499257"/>
                <a:gd name="connsiteY56" fmla="*/ 3498714 h 3498714"/>
                <a:gd name="connsiteX57" fmla="*/ 327450 w 6499257"/>
                <a:gd name="connsiteY57" fmla="*/ 3337652 h 3498714"/>
                <a:gd name="connsiteX58" fmla="*/ 327450 w 6499257"/>
                <a:gd name="connsiteY58" fmla="*/ 1458216 h 3498714"/>
                <a:gd name="connsiteX59" fmla="*/ 322427 w 6499257"/>
                <a:gd name="connsiteY59" fmla="*/ 1098205 h 3498714"/>
                <a:gd name="connsiteX60" fmla="*/ 317058 w 6499257"/>
                <a:gd name="connsiteY60" fmla="*/ 1092836 h 3498714"/>
                <a:gd name="connsiteX61" fmla="*/ 263371 w 6499257"/>
                <a:gd name="connsiteY61" fmla="*/ 1092836 h 3498714"/>
                <a:gd name="connsiteX62" fmla="*/ 258001 w 6499257"/>
                <a:gd name="connsiteY62" fmla="*/ 1098205 h 3498714"/>
                <a:gd name="connsiteX63" fmla="*/ 258001 w 6499257"/>
                <a:gd name="connsiteY63" fmla="*/ 1444446 h 3498714"/>
                <a:gd name="connsiteX64" fmla="*/ 257700 w 6499257"/>
                <a:gd name="connsiteY64" fmla="*/ 1444370 h 3498714"/>
                <a:gd name="connsiteX65" fmla="*/ 257700 w 6499257"/>
                <a:gd name="connsiteY65" fmla="*/ 1912573 h 3498714"/>
                <a:gd name="connsiteX66" fmla="*/ 128850 w 6499257"/>
                <a:gd name="connsiteY66" fmla="*/ 2041423 h 3498714"/>
                <a:gd name="connsiteX67" fmla="*/ 0 w 6499257"/>
                <a:gd name="connsiteY67" fmla="*/ 1912573 h 3498714"/>
                <a:gd name="connsiteX68" fmla="*/ 0 w 6499257"/>
                <a:gd name="connsiteY68" fmla="*/ 1101802 h 3498714"/>
                <a:gd name="connsiteX69" fmla="*/ 0 w 6499257"/>
                <a:gd name="connsiteY69" fmla="*/ 1003338 h 3498714"/>
                <a:gd name="connsiteX70" fmla="*/ 0 w 6499257"/>
                <a:gd name="connsiteY70" fmla="*/ 982486 h 3498714"/>
                <a:gd name="connsiteX71" fmla="*/ 12733 w 6499257"/>
                <a:gd name="connsiteY71" fmla="*/ 894663 h 3498714"/>
                <a:gd name="connsiteX72" fmla="*/ 20539 w 6499257"/>
                <a:gd name="connsiteY72" fmla="*/ 868773 h 3498714"/>
                <a:gd name="connsiteX73" fmla="*/ 358791 w 6499257"/>
                <a:gd name="connsiteY73" fmla="*/ 644545 h 3498714"/>
                <a:gd name="connsiteX74" fmla="*/ 682782 w 6499257"/>
                <a:gd name="connsiteY74" fmla="*/ 0 h 3498714"/>
                <a:gd name="connsiteX75" fmla="*/ 966919 w 6499257"/>
                <a:gd name="connsiteY75" fmla="*/ 284138 h 3498714"/>
                <a:gd name="connsiteX76" fmla="*/ 682782 w 6499257"/>
                <a:gd name="connsiteY76" fmla="*/ 568275 h 3498714"/>
                <a:gd name="connsiteX77" fmla="*/ 398645 w 6499257"/>
                <a:gd name="connsiteY77" fmla="*/ 284138 h 3498714"/>
                <a:gd name="connsiteX78" fmla="*/ 682782 w 6499257"/>
                <a:gd name="connsiteY78" fmla="*/ 0 h 3498714"/>
                <a:gd name="connsiteX79" fmla="*/ 4707054 w 6499257"/>
                <a:gd name="connsiteY79" fmla="*/ 2902312 h 3498714"/>
                <a:gd name="connsiteX80" fmla="*/ 4818179 w 6499257"/>
                <a:gd name="connsiteY80" fmla="*/ 3013437 h 3498714"/>
                <a:gd name="connsiteX81" fmla="*/ 4707054 w 6499257"/>
                <a:gd name="connsiteY81" fmla="*/ 3124562 h 3498714"/>
                <a:gd name="connsiteX82" fmla="*/ 4545125 w 6499257"/>
                <a:gd name="connsiteY82" fmla="*/ 3124562 h 3498714"/>
                <a:gd name="connsiteX83" fmla="*/ 4545125 w 6499257"/>
                <a:gd name="connsiteY83" fmla="*/ 3361625 h 3498714"/>
                <a:gd name="connsiteX84" fmla="*/ 4436113 w 6499257"/>
                <a:gd name="connsiteY84" fmla="*/ 3470637 h 3498714"/>
                <a:gd name="connsiteX85" fmla="*/ 4235039 w 6499257"/>
                <a:gd name="connsiteY85" fmla="*/ 3470637 h 3498714"/>
                <a:gd name="connsiteX86" fmla="*/ 4126027 w 6499257"/>
                <a:gd name="connsiteY86" fmla="*/ 3361625 h 3498714"/>
                <a:gd name="connsiteX87" fmla="*/ 4126027 w 6499257"/>
                <a:gd name="connsiteY87" fmla="*/ 3124562 h 3498714"/>
                <a:gd name="connsiteX88" fmla="*/ 2589325 w 6499257"/>
                <a:gd name="connsiteY88" fmla="*/ 3124562 h 3498714"/>
                <a:gd name="connsiteX89" fmla="*/ 2589325 w 6499257"/>
                <a:gd name="connsiteY89" fmla="*/ 3361625 h 3498714"/>
                <a:gd name="connsiteX90" fmla="*/ 2480313 w 6499257"/>
                <a:gd name="connsiteY90" fmla="*/ 3470637 h 3498714"/>
                <a:gd name="connsiteX91" fmla="*/ 2279239 w 6499257"/>
                <a:gd name="connsiteY91" fmla="*/ 3470637 h 3498714"/>
                <a:gd name="connsiteX92" fmla="*/ 2170227 w 6499257"/>
                <a:gd name="connsiteY92" fmla="*/ 3361625 h 3498714"/>
                <a:gd name="connsiteX93" fmla="*/ 2170227 w 6499257"/>
                <a:gd name="connsiteY93" fmla="*/ 3124562 h 3498714"/>
                <a:gd name="connsiteX94" fmla="*/ 2052754 w 6499257"/>
                <a:gd name="connsiteY94" fmla="*/ 3124562 h 3498714"/>
                <a:gd name="connsiteX95" fmla="*/ 1941629 w 6499257"/>
                <a:gd name="connsiteY95" fmla="*/ 3013437 h 3498714"/>
                <a:gd name="connsiteX96" fmla="*/ 2052754 w 6499257"/>
                <a:gd name="connsiteY96" fmla="*/ 2902312 h 3498714"/>
                <a:gd name="connsiteX97" fmla="*/ 682782 w 6499257"/>
                <a:gd name="connsiteY97" fmla="*/ 0 h 3498714"/>
                <a:gd name="connsiteX98" fmla="*/ 4492583 w 6499257"/>
                <a:gd name="connsiteY98" fmla="*/ 2089512 h 3498714"/>
                <a:gd name="connsiteX99" fmla="*/ 4311608 w 6499257"/>
                <a:gd name="connsiteY99" fmla="*/ 2270487 h 3498714"/>
                <a:gd name="connsiteX100" fmla="*/ 4492583 w 6499257"/>
                <a:gd name="connsiteY100" fmla="*/ 2451462 h 3498714"/>
                <a:gd name="connsiteX101" fmla="*/ 5407618 w 6499257"/>
                <a:gd name="connsiteY101" fmla="*/ 2468742 h 3498714"/>
                <a:gd name="connsiteX102" fmla="*/ 6498753 w 6499257"/>
                <a:gd name="connsiteY102" fmla="*/ 2404799 h 3498714"/>
                <a:gd name="connsiteX103" fmla="*/ 5388995 w 6499257"/>
                <a:gd name="connsiteY103"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651061 w 6499257"/>
                <a:gd name="connsiteY12" fmla="*/ 1167548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4112835 w 6499257"/>
                <a:gd name="connsiteY16" fmla="*/ 1167548 h 3498714"/>
                <a:gd name="connsiteX17" fmla="*/ 2651061 w 6499257"/>
                <a:gd name="connsiteY17" fmla="*/ 1167548 h 3498714"/>
                <a:gd name="connsiteX18" fmla="*/ 2534724 w 6499257"/>
                <a:gd name="connsiteY18" fmla="*/ 982297 h 3498714"/>
                <a:gd name="connsiteX19" fmla="*/ 4229172 w 6499257"/>
                <a:gd name="connsiteY19" fmla="*/ 982297 h 3498714"/>
                <a:gd name="connsiteX20" fmla="*/ 4546612 w 6499257"/>
                <a:gd name="connsiteY20" fmla="*/ 1856643 h 3498714"/>
                <a:gd name="connsiteX21" fmla="*/ 4936448 w 6499257"/>
                <a:gd name="connsiteY21" fmla="*/ 2279217 h 3498714"/>
                <a:gd name="connsiteX22" fmla="*/ 4802103 w 6499257"/>
                <a:gd name="connsiteY22" fmla="*/ 2588456 h 3498714"/>
                <a:gd name="connsiteX23" fmla="*/ 4904699 w 6499257"/>
                <a:gd name="connsiteY23" fmla="*/ 2705462 h 3498714"/>
                <a:gd name="connsiteX24" fmla="*/ 4904698 w 6499257"/>
                <a:gd name="connsiteY24" fmla="*/ 2705462 h 3498714"/>
                <a:gd name="connsiteX25" fmla="*/ 4784047 w 6499257"/>
                <a:gd name="connsiteY25" fmla="*/ 2826113 h 3498714"/>
                <a:gd name="connsiteX26" fmla="*/ 1970999 w 6499257"/>
                <a:gd name="connsiteY26" fmla="*/ 2826112 h 3498714"/>
                <a:gd name="connsiteX27" fmla="*/ 1850348 w 6499257"/>
                <a:gd name="connsiteY27" fmla="*/ 2705462 h 3498714"/>
                <a:gd name="connsiteX28" fmla="*/ 1956769 w 6499257"/>
                <a:gd name="connsiteY28" fmla="*/ 2587684 h 3498714"/>
                <a:gd name="connsiteX29" fmla="*/ 1823360 w 6499257"/>
                <a:gd name="connsiteY29" fmla="*/ 2279217 h 3498714"/>
                <a:gd name="connsiteX30" fmla="*/ 2217440 w 6499257"/>
                <a:gd name="connsiteY30" fmla="*/ 1856216 h 3498714"/>
                <a:gd name="connsiteX31" fmla="*/ 2534724 w 6499257"/>
                <a:gd name="connsiteY31" fmla="*/ 982297 h 3498714"/>
                <a:gd name="connsiteX32" fmla="*/ 358791 w 6499257"/>
                <a:gd name="connsiteY32" fmla="*/ 644545 h 3498714"/>
                <a:gd name="connsiteX33" fmla="*/ 1006774 w 6499257"/>
                <a:gd name="connsiteY33" fmla="*/ 644545 h 3498714"/>
                <a:gd name="connsiteX34" fmla="*/ 1542636 w 6499257"/>
                <a:gd name="connsiteY34" fmla="*/ 1193969 h 3498714"/>
                <a:gd name="connsiteX35" fmla="*/ 1929878 w 6499257"/>
                <a:gd name="connsiteY35" fmla="*/ 1193970 h 3498714"/>
                <a:gd name="connsiteX36" fmla="*/ 2070059 w 6499257"/>
                <a:gd name="connsiteY36" fmla="*/ 1334152 h 3498714"/>
                <a:gd name="connsiteX37" fmla="*/ 1929878 w 6499257"/>
                <a:gd name="connsiteY37" fmla="*/ 1474333 h 3498714"/>
                <a:gd name="connsiteX38" fmla="*/ 1520943 w 6499257"/>
                <a:gd name="connsiteY38" fmla="*/ 1470388 h 3498714"/>
                <a:gd name="connsiteX39" fmla="*/ 1332825 w 6499257"/>
                <a:gd name="connsiteY39" fmla="*/ 1367201 h 3498714"/>
                <a:gd name="connsiteX40" fmla="*/ 1106501 w 6499257"/>
                <a:gd name="connsiteY40" fmla="*/ 1098289 h 3498714"/>
                <a:gd name="connsiteX41" fmla="*/ 1101049 w 6499257"/>
                <a:gd name="connsiteY41" fmla="*/ 1092836 h 3498714"/>
                <a:gd name="connsiteX42" fmla="*/ 1046523 w 6499257"/>
                <a:gd name="connsiteY42" fmla="*/ 1092836 h 3498714"/>
                <a:gd name="connsiteX43" fmla="*/ 1041071 w 6499257"/>
                <a:gd name="connsiteY43" fmla="*/ 1098289 h 3498714"/>
                <a:gd name="connsiteX44" fmla="*/ 1042136 w 6499257"/>
                <a:gd name="connsiteY44" fmla="*/ 1419754 h 3498714"/>
                <a:gd name="connsiteX45" fmla="*/ 1042136 w 6499257"/>
                <a:gd name="connsiteY45" fmla="*/ 3337652 h 3498714"/>
                <a:gd name="connsiteX46" fmla="*/ 881075 w 6499257"/>
                <a:gd name="connsiteY46" fmla="*/ 3498714 h 3498714"/>
                <a:gd name="connsiteX47" fmla="*/ 720012 w 6499257"/>
                <a:gd name="connsiteY47" fmla="*/ 3337652 h 3498714"/>
                <a:gd name="connsiteX48" fmla="*/ 720012 w 6499257"/>
                <a:gd name="connsiteY48" fmla="*/ 2125717 h 3498714"/>
                <a:gd name="connsiteX49" fmla="*/ 718947 w 6499257"/>
                <a:gd name="connsiteY49" fmla="*/ 2033194 h 3498714"/>
                <a:gd name="connsiteX50" fmla="*/ 714162 w 6499257"/>
                <a:gd name="connsiteY50" fmla="*/ 2028410 h 3498714"/>
                <a:gd name="connsiteX51" fmla="*/ 654759 w 6499257"/>
                <a:gd name="connsiteY51" fmla="*/ 2028410 h 3498714"/>
                <a:gd name="connsiteX52" fmla="*/ 649974 w 6499257"/>
                <a:gd name="connsiteY52" fmla="*/ 2033194 h 3498714"/>
                <a:gd name="connsiteX53" fmla="*/ 649974 w 6499257"/>
                <a:gd name="connsiteY53" fmla="*/ 2125717 h 3498714"/>
                <a:gd name="connsiteX54" fmla="*/ 649574 w 6499257"/>
                <a:gd name="connsiteY54" fmla="*/ 3337652 h 3498714"/>
                <a:gd name="connsiteX55" fmla="*/ 488511 w 6499257"/>
                <a:gd name="connsiteY55" fmla="*/ 3498714 h 3498714"/>
                <a:gd name="connsiteX56" fmla="*/ 327450 w 6499257"/>
                <a:gd name="connsiteY56" fmla="*/ 3337652 h 3498714"/>
                <a:gd name="connsiteX57" fmla="*/ 327450 w 6499257"/>
                <a:gd name="connsiteY57" fmla="*/ 1458216 h 3498714"/>
                <a:gd name="connsiteX58" fmla="*/ 322427 w 6499257"/>
                <a:gd name="connsiteY58" fmla="*/ 1098205 h 3498714"/>
                <a:gd name="connsiteX59" fmla="*/ 317058 w 6499257"/>
                <a:gd name="connsiteY59" fmla="*/ 1092836 h 3498714"/>
                <a:gd name="connsiteX60" fmla="*/ 263371 w 6499257"/>
                <a:gd name="connsiteY60" fmla="*/ 1092836 h 3498714"/>
                <a:gd name="connsiteX61" fmla="*/ 258001 w 6499257"/>
                <a:gd name="connsiteY61" fmla="*/ 1098205 h 3498714"/>
                <a:gd name="connsiteX62" fmla="*/ 258001 w 6499257"/>
                <a:gd name="connsiteY62" fmla="*/ 1444446 h 3498714"/>
                <a:gd name="connsiteX63" fmla="*/ 257700 w 6499257"/>
                <a:gd name="connsiteY63" fmla="*/ 1444370 h 3498714"/>
                <a:gd name="connsiteX64" fmla="*/ 257700 w 6499257"/>
                <a:gd name="connsiteY64" fmla="*/ 1912573 h 3498714"/>
                <a:gd name="connsiteX65" fmla="*/ 128850 w 6499257"/>
                <a:gd name="connsiteY65" fmla="*/ 2041423 h 3498714"/>
                <a:gd name="connsiteX66" fmla="*/ 0 w 6499257"/>
                <a:gd name="connsiteY66" fmla="*/ 1912573 h 3498714"/>
                <a:gd name="connsiteX67" fmla="*/ 0 w 6499257"/>
                <a:gd name="connsiteY67" fmla="*/ 1101802 h 3498714"/>
                <a:gd name="connsiteX68" fmla="*/ 0 w 6499257"/>
                <a:gd name="connsiteY68" fmla="*/ 1003338 h 3498714"/>
                <a:gd name="connsiteX69" fmla="*/ 0 w 6499257"/>
                <a:gd name="connsiteY69" fmla="*/ 982486 h 3498714"/>
                <a:gd name="connsiteX70" fmla="*/ 12733 w 6499257"/>
                <a:gd name="connsiteY70" fmla="*/ 894663 h 3498714"/>
                <a:gd name="connsiteX71" fmla="*/ 20539 w 6499257"/>
                <a:gd name="connsiteY71" fmla="*/ 868773 h 3498714"/>
                <a:gd name="connsiteX72" fmla="*/ 358791 w 6499257"/>
                <a:gd name="connsiteY72" fmla="*/ 644545 h 3498714"/>
                <a:gd name="connsiteX73" fmla="*/ 682782 w 6499257"/>
                <a:gd name="connsiteY73" fmla="*/ 0 h 3498714"/>
                <a:gd name="connsiteX74" fmla="*/ 966919 w 6499257"/>
                <a:gd name="connsiteY74" fmla="*/ 284138 h 3498714"/>
                <a:gd name="connsiteX75" fmla="*/ 682782 w 6499257"/>
                <a:gd name="connsiteY75" fmla="*/ 568275 h 3498714"/>
                <a:gd name="connsiteX76" fmla="*/ 398645 w 6499257"/>
                <a:gd name="connsiteY76" fmla="*/ 284138 h 3498714"/>
                <a:gd name="connsiteX77" fmla="*/ 682782 w 6499257"/>
                <a:gd name="connsiteY77" fmla="*/ 0 h 3498714"/>
                <a:gd name="connsiteX78" fmla="*/ 4707054 w 6499257"/>
                <a:gd name="connsiteY78" fmla="*/ 2902312 h 3498714"/>
                <a:gd name="connsiteX79" fmla="*/ 4818179 w 6499257"/>
                <a:gd name="connsiteY79" fmla="*/ 3013437 h 3498714"/>
                <a:gd name="connsiteX80" fmla="*/ 4707054 w 6499257"/>
                <a:gd name="connsiteY80" fmla="*/ 3124562 h 3498714"/>
                <a:gd name="connsiteX81" fmla="*/ 4545125 w 6499257"/>
                <a:gd name="connsiteY81" fmla="*/ 3124562 h 3498714"/>
                <a:gd name="connsiteX82" fmla="*/ 4545125 w 6499257"/>
                <a:gd name="connsiteY82" fmla="*/ 3361625 h 3498714"/>
                <a:gd name="connsiteX83" fmla="*/ 4436113 w 6499257"/>
                <a:gd name="connsiteY83" fmla="*/ 3470637 h 3498714"/>
                <a:gd name="connsiteX84" fmla="*/ 4235039 w 6499257"/>
                <a:gd name="connsiteY84" fmla="*/ 3470637 h 3498714"/>
                <a:gd name="connsiteX85" fmla="*/ 4126027 w 6499257"/>
                <a:gd name="connsiteY85" fmla="*/ 3361625 h 3498714"/>
                <a:gd name="connsiteX86" fmla="*/ 4126027 w 6499257"/>
                <a:gd name="connsiteY86" fmla="*/ 3124562 h 3498714"/>
                <a:gd name="connsiteX87" fmla="*/ 2589325 w 6499257"/>
                <a:gd name="connsiteY87" fmla="*/ 3124562 h 3498714"/>
                <a:gd name="connsiteX88" fmla="*/ 2589325 w 6499257"/>
                <a:gd name="connsiteY88" fmla="*/ 3361625 h 3498714"/>
                <a:gd name="connsiteX89" fmla="*/ 2480313 w 6499257"/>
                <a:gd name="connsiteY89" fmla="*/ 3470637 h 3498714"/>
                <a:gd name="connsiteX90" fmla="*/ 2279239 w 6499257"/>
                <a:gd name="connsiteY90" fmla="*/ 3470637 h 3498714"/>
                <a:gd name="connsiteX91" fmla="*/ 2170227 w 6499257"/>
                <a:gd name="connsiteY91" fmla="*/ 3361625 h 3498714"/>
                <a:gd name="connsiteX92" fmla="*/ 2170227 w 6499257"/>
                <a:gd name="connsiteY92" fmla="*/ 3124562 h 3498714"/>
                <a:gd name="connsiteX93" fmla="*/ 2052754 w 6499257"/>
                <a:gd name="connsiteY93" fmla="*/ 3124562 h 3498714"/>
                <a:gd name="connsiteX94" fmla="*/ 1941629 w 6499257"/>
                <a:gd name="connsiteY94" fmla="*/ 3013437 h 3498714"/>
                <a:gd name="connsiteX95" fmla="*/ 2052754 w 6499257"/>
                <a:gd name="connsiteY95" fmla="*/ 2902312 h 3498714"/>
                <a:gd name="connsiteX96" fmla="*/ 682782 w 6499257"/>
                <a:gd name="connsiteY96" fmla="*/ 0 h 3498714"/>
                <a:gd name="connsiteX97" fmla="*/ 4492583 w 6499257"/>
                <a:gd name="connsiteY97" fmla="*/ 2089512 h 3498714"/>
                <a:gd name="connsiteX98" fmla="*/ 4311608 w 6499257"/>
                <a:gd name="connsiteY98" fmla="*/ 2270487 h 3498714"/>
                <a:gd name="connsiteX99" fmla="*/ 4492583 w 6499257"/>
                <a:gd name="connsiteY99" fmla="*/ 2451462 h 3498714"/>
                <a:gd name="connsiteX100" fmla="*/ 5407618 w 6499257"/>
                <a:gd name="connsiteY100" fmla="*/ 2468742 h 3498714"/>
                <a:gd name="connsiteX101" fmla="*/ 6498753 w 6499257"/>
                <a:gd name="connsiteY101" fmla="*/ 2404799 h 3498714"/>
                <a:gd name="connsiteX102" fmla="*/ 5388995 w 6499257"/>
                <a:gd name="connsiteY102"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651061 w 6499257"/>
                <a:gd name="connsiteY12" fmla="*/ 1167548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2651061 w 6499257"/>
                <a:gd name="connsiteY16" fmla="*/ 1167548 h 3498714"/>
                <a:gd name="connsiteX17" fmla="*/ 2534724 w 6499257"/>
                <a:gd name="connsiteY17" fmla="*/ 982297 h 3498714"/>
                <a:gd name="connsiteX18" fmla="*/ 4229172 w 6499257"/>
                <a:gd name="connsiteY18" fmla="*/ 982297 h 3498714"/>
                <a:gd name="connsiteX19" fmla="*/ 4546612 w 6499257"/>
                <a:gd name="connsiteY19" fmla="*/ 1856643 h 3498714"/>
                <a:gd name="connsiteX20" fmla="*/ 4936448 w 6499257"/>
                <a:gd name="connsiteY20" fmla="*/ 2279217 h 3498714"/>
                <a:gd name="connsiteX21" fmla="*/ 4802103 w 6499257"/>
                <a:gd name="connsiteY21" fmla="*/ 2588456 h 3498714"/>
                <a:gd name="connsiteX22" fmla="*/ 4904699 w 6499257"/>
                <a:gd name="connsiteY22" fmla="*/ 2705462 h 3498714"/>
                <a:gd name="connsiteX23" fmla="*/ 4904698 w 6499257"/>
                <a:gd name="connsiteY23" fmla="*/ 2705462 h 3498714"/>
                <a:gd name="connsiteX24" fmla="*/ 4784047 w 6499257"/>
                <a:gd name="connsiteY24" fmla="*/ 2826113 h 3498714"/>
                <a:gd name="connsiteX25" fmla="*/ 1970999 w 6499257"/>
                <a:gd name="connsiteY25" fmla="*/ 2826112 h 3498714"/>
                <a:gd name="connsiteX26" fmla="*/ 1850348 w 6499257"/>
                <a:gd name="connsiteY26" fmla="*/ 2705462 h 3498714"/>
                <a:gd name="connsiteX27" fmla="*/ 1956769 w 6499257"/>
                <a:gd name="connsiteY27" fmla="*/ 2587684 h 3498714"/>
                <a:gd name="connsiteX28" fmla="*/ 1823360 w 6499257"/>
                <a:gd name="connsiteY28" fmla="*/ 2279217 h 3498714"/>
                <a:gd name="connsiteX29" fmla="*/ 2217440 w 6499257"/>
                <a:gd name="connsiteY29" fmla="*/ 1856216 h 3498714"/>
                <a:gd name="connsiteX30" fmla="*/ 2534724 w 6499257"/>
                <a:gd name="connsiteY30" fmla="*/ 982297 h 3498714"/>
                <a:gd name="connsiteX31" fmla="*/ 358791 w 6499257"/>
                <a:gd name="connsiteY31" fmla="*/ 644545 h 3498714"/>
                <a:gd name="connsiteX32" fmla="*/ 1006774 w 6499257"/>
                <a:gd name="connsiteY32" fmla="*/ 644545 h 3498714"/>
                <a:gd name="connsiteX33" fmla="*/ 1542636 w 6499257"/>
                <a:gd name="connsiteY33" fmla="*/ 1193969 h 3498714"/>
                <a:gd name="connsiteX34" fmla="*/ 1929878 w 6499257"/>
                <a:gd name="connsiteY34" fmla="*/ 1193970 h 3498714"/>
                <a:gd name="connsiteX35" fmla="*/ 2070059 w 6499257"/>
                <a:gd name="connsiteY35" fmla="*/ 1334152 h 3498714"/>
                <a:gd name="connsiteX36" fmla="*/ 1929878 w 6499257"/>
                <a:gd name="connsiteY36" fmla="*/ 1474333 h 3498714"/>
                <a:gd name="connsiteX37" fmla="*/ 1520943 w 6499257"/>
                <a:gd name="connsiteY37" fmla="*/ 1470388 h 3498714"/>
                <a:gd name="connsiteX38" fmla="*/ 1332825 w 6499257"/>
                <a:gd name="connsiteY38" fmla="*/ 1367201 h 3498714"/>
                <a:gd name="connsiteX39" fmla="*/ 1106501 w 6499257"/>
                <a:gd name="connsiteY39" fmla="*/ 1098289 h 3498714"/>
                <a:gd name="connsiteX40" fmla="*/ 1101049 w 6499257"/>
                <a:gd name="connsiteY40" fmla="*/ 1092836 h 3498714"/>
                <a:gd name="connsiteX41" fmla="*/ 1046523 w 6499257"/>
                <a:gd name="connsiteY41" fmla="*/ 1092836 h 3498714"/>
                <a:gd name="connsiteX42" fmla="*/ 1041071 w 6499257"/>
                <a:gd name="connsiteY42" fmla="*/ 1098289 h 3498714"/>
                <a:gd name="connsiteX43" fmla="*/ 1042136 w 6499257"/>
                <a:gd name="connsiteY43" fmla="*/ 1419754 h 3498714"/>
                <a:gd name="connsiteX44" fmla="*/ 1042136 w 6499257"/>
                <a:gd name="connsiteY44" fmla="*/ 3337652 h 3498714"/>
                <a:gd name="connsiteX45" fmla="*/ 881075 w 6499257"/>
                <a:gd name="connsiteY45" fmla="*/ 3498714 h 3498714"/>
                <a:gd name="connsiteX46" fmla="*/ 720012 w 6499257"/>
                <a:gd name="connsiteY46" fmla="*/ 3337652 h 3498714"/>
                <a:gd name="connsiteX47" fmla="*/ 720012 w 6499257"/>
                <a:gd name="connsiteY47" fmla="*/ 2125717 h 3498714"/>
                <a:gd name="connsiteX48" fmla="*/ 718947 w 6499257"/>
                <a:gd name="connsiteY48" fmla="*/ 2033194 h 3498714"/>
                <a:gd name="connsiteX49" fmla="*/ 714162 w 6499257"/>
                <a:gd name="connsiteY49" fmla="*/ 2028410 h 3498714"/>
                <a:gd name="connsiteX50" fmla="*/ 654759 w 6499257"/>
                <a:gd name="connsiteY50" fmla="*/ 2028410 h 3498714"/>
                <a:gd name="connsiteX51" fmla="*/ 649974 w 6499257"/>
                <a:gd name="connsiteY51" fmla="*/ 2033194 h 3498714"/>
                <a:gd name="connsiteX52" fmla="*/ 649974 w 6499257"/>
                <a:gd name="connsiteY52" fmla="*/ 2125717 h 3498714"/>
                <a:gd name="connsiteX53" fmla="*/ 649574 w 6499257"/>
                <a:gd name="connsiteY53" fmla="*/ 3337652 h 3498714"/>
                <a:gd name="connsiteX54" fmla="*/ 488511 w 6499257"/>
                <a:gd name="connsiteY54" fmla="*/ 3498714 h 3498714"/>
                <a:gd name="connsiteX55" fmla="*/ 327450 w 6499257"/>
                <a:gd name="connsiteY55" fmla="*/ 3337652 h 3498714"/>
                <a:gd name="connsiteX56" fmla="*/ 327450 w 6499257"/>
                <a:gd name="connsiteY56" fmla="*/ 1458216 h 3498714"/>
                <a:gd name="connsiteX57" fmla="*/ 322427 w 6499257"/>
                <a:gd name="connsiteY57" fmla="*/ 1098205 h 3498714"/>
                <a:gd name="connsiteX58" fmla="*/ 317058 w 6499257"/>
                <a:gd name="connsiteY58" fmla="*/ 1092836 h 3498714"/>
                <a:gd name="connsiteX59" fmla="*/ 263371 w 6499257"/>
                <a:gd name="connsiteY59" fmla="*/ 1092836 h 3498714"/>
                <a:gd name="connsiteX60" fmla="*/ 258001 w 6499257"/>
                <a:gd name="connsiteY60" fmla="*/ 1098205 h 3498714"/>
                <a:gd name="connsiteX61" fmla="*/ 258001 w 6499257"/>
                <a:gd name="connsiteY61" fmla="*/ 1444446 h 3498714"/>
                <a:gd name="connsiteX62" fmla="*/ 257700 w 6499257"/>
                <a:gd name="connsiteY62" fmla="*/ 1444370 h 3498714"/>
                <a:gd name="connsiteX63" fmla="*/ 257700 w 6499257"/>
                <a:gd name="connsiteY63" fmla="*/ 1912573 h 3498714"/>
                <a:gd name="connsiteX64" fmla="*/ 128850 w 6499257"/>
                <a:gd name="connsiteY64" fmla="*/ 2041423 h 3498714"/>
                <a:gd name="connsiteX65" fmla="*/ 0 w 6499257"/>
                <a:gd name="connsiteY65" fmla="*/ 1912573 h 3498714"/>
                <a:gd name="connsiteX66" fmla="*/ 0 w 6499257"/>
                <a:gd name="connsiteY66" fmla="*/ 1101802 h 3498714"/>
                <a:gd name="connsiteX67" fmla="*/ 0 w 6499257"/>
                <a:gd name="connsiteY67" fmla="*/ 1003338 h 3498714"/>
                <a:gd name="connsiteX68" fmla="*/ 0 w 6499257"/>
                <a:gd name="connsiteY68" fmla="*/ 982486 h 3498714"/>
                <a:gd name="connsiteX69" fmla="*/ 12733 w 6499257"/>
                <a:gd name="connsiteY69" fmla="*/ 894663 h 3498714"/>
                <a:gd name="connsiteX70" fmla="*/ 20539 w 6499257"/>
                <a:gd name="connsiteY70" fmla="*/ 868773 h 3498714"/>
                <a:gd name="connsiteX71" fmla="*/ 358791 w 6499257"/>
                <a:gd name="connsiteY71" fmla="*/ 644545 h 3498714"/>
                <a:gd name="connsiteX72" fmla="*/ 682782 w 6499257"/>
                <a:gd name="connsiteY72" fmla="*/ 0 h 3498714"/>
                <a:gd name="connsiteX73" fmla="*/ 966919 w 6499257"/>
                <a:gd name="connsiteY73" fmla="*/ 284138 h 3498714"/>
                <a:gd name="connsiteX74" fmla="*/ 682782 w 6499257"/>
                <a:gd name="connsiteY74" fmla="*/ 568275 h 3498714"/>
                <a:gd name="connsiteX75" fmla="*/ 398645 w 6499257"/>
                <a:gd name="connsiteY75" fmla="*/ 284138 h 3498714"/>
                <a:gd name="connsiteX76" fmla="*/ 682782 w 6499257"/>
                <a:gd name="connsiteY76" fmla="*/ 0 h 3498714"/>
                <a:gd name="connsiteX77" fmla="*/ 4707054 w 6499257"/>
                <a:gd name="connsiteY77" fmla="*/ 2902312 h 3498714"/>
                <a:gd name="connsiteX78" fmla="*/ 4818179 w 6499257"/>
                <a:gd name="connsiteY78" fmla="*/ 3013437 h 3498714"/>
                <a:gd name="connsiteX79" fmla="*/ 4707054 w 6499257"/>
                <a:gd name="connsiteY79" fmla="*/ 3124562 h 3498714"/>
                <a:gd name="connsiteX80" fmla="*/ 4545125 w 6499257"/>
                <a:gd name="connsiteY80" fmla="*/ 3124562 h 3498714"/>
                <a:gd name="connsiteX81" fmla="*/ 4545125 w 6499257"/>
                <a:gd name="connsiteY81" fmla="*/ 3361625 h 3498714"/>
                <a:gd name="connsiteX82" fmla="*/ 4436113 w 6499257"/>
                <a:gd name="connsiteY82" fmla="*/ 3470637 h 3498714"/>
                <a:gd name="connsiteX83" fmla="*/ 4235039 w 6499257"/>
                <a:gd name="connsiteY83" fmla="*/ 3470637 h 3498714"/>
                <a:gd name="connsiteX84" fmla="*/ 4126027 w 6499257"/>
                <a:gd name="connsiteY84" fmla="*/ 3361625 h 3498714"/>
                <a:gd name="connsiteX85" fmla="*/ 4126027 w 6499257"/>
                <a:gd name="connsiteY85" fmla="*/ 3124562 h 3498714"/>
                <a:gd name="connsiteX86" fmla="*/ 2589325 w 6499257"/>
                <a:gd name="connsiteY86" fmla="*/ 3124562 h 3498714"/>
                <a:gd name="connsiteX87" fmla="*/ 2589325 w 6499257"/>
                <a:gd name="connsiteY87" fmla="*/ 3361625 h 3498714"/>
                <a:gd name="connsiteX88" fmla="*/ 2480313 w 6499257"/>
                <a:gd name="connsiteY88" fmla="*/ 3470637 h 3498714"/>
                <a:gd name="connsiteX89" fmla="*/ 2279239 w 6499257"/>
                <a:gd name="connsiteY89" fmla="*/ 3470637 h 3498714"/>
                <a:gd name="connsiteX90" fmla="*/ 2170227 w 6499257"/>
                <a:gd name="connsiteY90" fmla="*/ 3361625 h 3498714"/>
                <a:gd name="connsiteX91" fmla="*/ 2170227 w 6499257"/>
                <a:gd name="connsiteY91" fmla="*/ 3124562 h 3498714"/>
                <a:gd name="connsiteX92" fmla="*/ 2052754 w 6499257"/>
                <a:gd name="connsiteY92" fmla="*/ 3124562 h 3498714"/>
                <a:gd name="connsiteX93" fmla="*/ 1941629 w 6499257"/>
                <a:gd name="connsiteY93" fmla="*/ 3013437 h 3498714"/>
                <a:gd name="connsiteX94" fmla="*/ 2052754 w 6499257"/>
                <a:gd name="connsiteY94" fmla="*/ 2902312 h 3498714"/>
                <a:gd name="connsiteX95" fmla="*/ 682782 w 6499257"/>
                <a:gd name="connsiteY95" fmla="*/ 0 h 3498714"/>
                <a:gd name="connsiteX96" fmla="*/ 4492583 w 6499257"/>
                <a:gd name="connsiteY96" fmla="*/ 2089512 h 3498714"/>
                <a:gd name="connsiteX97" fmla="*/ 4311608 w 6499257"/>
                <a:gd name="connsiteY97" fmla="*/ 2270487 h 3498714"/>
                <a:gd name="connsiteX98" fmla="*/ 4492583 w 6499257"/>
                <a:gd name="connsiteY98" fmla="*/ 2451462 h 3498714"/>
                <a:gd name="connsiteX99" fmla="*/ 5407618 w 6499257"/>
                <a:gd name="connsiteY99" fmla="*/ 2468742 h 3498714"/>
                <a:gd name="connsiteX100" fmla="*/ 6498753 w 6499257"/>
                <a:gd name="connsiteY100" fmla="*/ 2404799 h 3498714"/>
                <a:gd name="connsiteX101" fmla="*/ 5388995 w 6499257"/>
                <a:gd name="connsiteY101"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842751 w 6499257"/>
                <a:gd name="connsiteY12" fmla="*/ 1749356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2534724 w 6499257"/>
                <a:gd name="connsiteY16" fmla="*/ 982297 h 3498714"/>
                <a:gd name="connsiteX17" fmla="*/ 4229172 w 6499257"/>
                <a:gd name="connsiteY17" fmla="*/ 982297 h 3498714"/>
                <a:gd name="connsiteX18" fmla="*/ 4546612 w 6499257"/>
                <a:gd name="connsiteY18" fmla="*/ 1856643 h 3498714"/>
                <a:gd name="connsiteX19" fmla="*/ 4936448 w 6499257"/>
                <a:gd name="connsiteY19" fmla="*/ 2279217 h 3498714"/>
                <a:gd name="connsiteX20" fmla="*/ 4802103 w 6499257"/>
                <a:gd name="connsiteY20" fmla="*/ 2588456 h 3498714"/>
                <a:gd name="connsiteX21" fmla="*/ 4904699 w 6499257"/>
                <a:gd name="connsiteY21" fmla="*/ 2705462 h 3498714"/>
                <a:gd name="connsiteX22" fmla="*/ 4904698 w 6499257"/>
                <a:gd name="connsiteY22" fmla="*/ 2705462 h 3498714"/>
                <a:gd name="connsiteX23" fmla="*/ 4784047 w 6499257"/>
                <a:gd name="connsiteY23" fmla="*/ 2826113 h 3498714"/>
                <a:gd name="connsiteX24" fmla="*/ 1970999 w 6499257"/>
                <a:gd name="connsiteY24" fmla="*/ 2826112 h 3498714"/>
                <a:gd name="connsiteX25" fmla="*/ 1850348 w 6499257"/>
                <a:gd name="connsiteY25" fmla="*/ 2705462 h 3498714"/>
                <a:gd name="connsiteX26" fmla="*/ 1956769 w 6499257"/>
                <a:gd name="connsiteY26" fmla="*/ 2587684 h 3498714"/>
                <a:gd name="connsiteX27" fmla="*/ 1823360 w 6499257"/>
                <a:gd name="connsiteY27" fmla="*/ 2279217 h 3498714"/>
                <a:gd name="connsiteX28" fmla="*/ 2217440 w 6499257"/>
                <a:gd name="connsiteY28" fmla="*/ 1856216 h 3498714"/>
                <a:gd name="connsiteX29" fmla="*/ 2534724 w 6499257"/>
                <a:gd name="connsiteY29" fmla="*/ 982297 h 3498714"/>
                <a:gd name="connsiteX30" fmla="*/ 358791 w 6499257"/>
                <a:gd name="connsiteY30" fmla="*/ 644545 h 3498714"/>
                <a:gd name="connsiteX31" fmla="*/ 1006774 w 6499257"/>
                <a:gd name="connsiteY31" fmla="*/ 644545 h 3498714"/>
                <a:gd name="connsiteX32" fmla="*/ 1542636 w 6499257"/>
                <a:gd name="connsiteY32" fmla="*/ 1193969 h 3498714"/>
                <a:gd name="connsiteX33" fmla="*/ 1929878 w 6499257"/>
                <a:gd name="connsiteY33" fmla="*/ 1193970 h 3498714"/>
                <a:gd name="connsiteX34" fmla="*/ 2070059 w 6499257"/>
                <a:gd name="connsiteY34" fmla="*/ 1334152 h 3498714"/>
                <a:gd name="connsiteX35" fmla="*/ 1929878 w 6499257"/>
                <a:gd name="connsiteY35" fmla="*/ 1474333 h 3498714"/>
                <a:gd name="connsiteX36" fmla="*/ 1520943 w 6499257"/>
                <a:gd name="connsiteY36" fmla="*/ 1470388 h 3498714"/>
                <a:gd name="connsiteX37" fmla="*/ 1332825 w 6499257"/>
                <a:gd name="connsiteY37" fmla="*/ 1367201 h 3498714"/>
                <a:gd name="connsiteX38" fmla="*/ 1106501 w 6499257"/>
                <a:gd name="connsiteY38" fmla="*/ 1098289 h 3498714"/>
                <a:gd name="connsiteX39" fmla="*/ 1101049 w 6499257"/>
                <a:gd name="connsiteY39" fmla="*/ 1092836 h 3498714"/>
                <a:gd name="connsiteX40" fmla="*/ 1046523 w 6499257"/>
                <a:gd name="connsiteY40" fmla="*/ 1092836 h 3498714"/>
                <a:gd name="connsiteX41" fmla="*/ 1041071 w 6499257"/>
                <a:gd name="connsiteY41" fmla="*/ 1098289 h 3498714"/>
                <a:gd name="connsiteX42" fmla="*/ 1042136 w 6499257"/>
                <a:gd name="connsiteY42" fmla="*/ 1419754 h 3498714"/>
                <a:gd name="connsiteX43" fmla="*/ 1042136 w 6499257"/>
                <a:gd name="connsiteY43" fmla="*/ 3337652 h 3498714"/>
                <a:gd name="connsiteX44" fmla="*/ 881075 w 6499257"/>
                <a:gd name="connsiteY44" fmla="*/ 3498714 h 3498714"/>
                <a:gd name="connsiteX45" fmla="*/ 720012 w 6499257"/>
                <a:gd name="connsiteY45" fmla="*/ 3337652 h 3498714"/>
                <a:gd name="connsiteX46" fmla="*/ 720012 w 6499257"/>
                <a:gd name="connsiteY46" fmla="*/ 2125717 h 3498714"/>
                <a:gd name="connsiteX47" fmla="*/ 718947 w 6499257"/>
                <a:gd name="connsiteY47" fmla="*/ 2033194 h 3498714"/>
                <a:gd name="connsiteX48" fmla="*/ 714162 w 6499257"/>
                <a:gd name="connsiteY48" fmla="*/ 2028410 h 3498714"/>
                <a:gd name="connsiteX49" fmla="*/ 654759 w 6499257"/>
                <a:gd name="connsiteY49" fmla="*/ 2028410 h 3498714"/>
                <a:gd name="connsiteX50" fmla="*/ 649974 w 6499257"/>
                <a:gd name="connsiteY50" fmla="*/ 2033194 h 3498714"/>
                <a:gd name="connsiteX51" fmla="*/ 649974 w 6499257"/>
                <a:gd name="connsiteY51" fmla="*/ 2125717 h 3498714"/>
                <a:gd name="connsiteX52" fmla="*/ 649574 w 6499257"/>
                <a:gd name="connsiteY52" fmla="*/ 3337652 h 3498714"/>
                <a:gd name="connsiteX53" fmla="*/ 488511 w 6499257"/>
                <a:gd name="connsiteY53" fmla="*/ 3498714 h 3498714"/>
                <a:gd name="connsiteX54" fmla="*/ 327450 w 6499257"/>
                <a:gd name="connsiteY54" fmla="*/ 3337652 h 3498714"/>
                <a:gd name="connsiteX55" fmla="*/ 327450 w 6499257"/>
                <a:gd name="connsiteY55" fmla="*/ 1458216 h 3498714"/>
                <a:gd name="connsiteX56" fmla="*/ 322427 w 6499257"/>
                <a:gd name="connsiteY56" fmla="*/ 1098205 h 3498714"/>
                <a:gd name="connsiteX57" fmla="*/ 317058 w 6499257"/>
                <a:gd name="connsiteY57" fmla="*/ 1092836 h 3498714"/>
                <a:gd name="connsiteX58" fmla="*/ 263371 w 6499257"/>
                <a:gd name="connsiteY58" fmla="*/ 1092836 h 3498714"/>
                <a:gd name="connsiteX59" fmla="*/ 258001 w 6499257"/>
                <a:gd name="connsiteY59" fmla="*/ 1098205 h 3498714"/>
                <a:gd name="connsiteX60" fmla="*/ 258001 w 6499257"/>
                <a:gd name="connsiteY60" fmla="*/ 1444446 h 3498714"/>
                <a:gd name="connsiteX61" fmla="*/ 257700 w 6499257"/>
                <a:gd name="connsiteY61" fmla="*/ 1444370 h 3498714"/>
                <a:gd name="connsiteX62" fmla="*/ 257700 w 6499257"/>
                <a:gd name="connsiteY62" fmla="*/ 1912573 h 3498714"/>
                <a:gd name="connsiteX63" fmla="*/ 128850 w 6499257"/>
                <a:gd name="connsiteY63" fmla="*/ 2041423 h 3498714"/>
                <a:gd name="connsiteX64" fmla="*/ 0 w 6499257"/>
                <a:gd name="connsiteY64" fmla="*/ 1912573 h 3498714"/>
                <a:gd name="connsiteX65" fmla="*/ 0 w 6499257"/>
                <a:gd name="connsiteY65" fmla="*/ 1101802 h 3498714"/>
                <a:gd name="connsiteX66" fmla="*/ 0 w 6499257"/>
                <a:gd name="connsiteY66" fmla="*/ 1003338 h 3498714"/>
                <a:gd name="connsiteX67" fmla="*/ 0 w 6499257"/>
                <a:gd name="connsiteY67" fmla="*/ 982486 h 3498714"/>
                <a:gd name="connsiteX68" fmla="*/ 12733 w 6499257"/>
                <a:gd name="connsiteY68" fmla="*/ 894663 h 3498714"/>
                <a:gd name="connsiteX69" fmla="*/ 20539 w 6499257"/>
                <a:gd name="connsiteY69" fmla="*/ 868773 h 3498714"/>
                <a:gd name="connsiteX70" fmla="*/ 358791 w 6499257"/>
                <a:gd name="connsiteY70" fmla="*/ 644545 h 3498714"/>
                <a:gd name="connsiteX71" fmla="*/ 682782 w 6499257"/>
                <a:gd name="connsiteY71" fmla="*/ 0 h 3498714"/>
                <a:gd name="connsiteX72" fmla="*/ 966919 w 6499257"/>
                <a:gd name="connsiteY72" fmla="*/ 284138 h 3498714"/>
                <a:gd name="connsiteX73" fmla="*/ 682782 w 6499257"/>
                <a:gd name="connsiteY73" fmla="*/ 568275 h 3498714"/>
                <a:gd name="connsiteX74" fmla="*/ 398645 w 6499257"/>
                <a:gd name="connsiteY74" fmla="*/ 284138 h 3498714"/>
                <a:gd name="connsiteX75" fmla="*/ 682782 w 6499257"/>
                <a:gd name="connsiteY75" fmla="*/ 0 h 3498714"/>
                <a:gd name="connsiteX76" fmla="*/ 4707054 w 6499257"/>
                <a:gd name="connsiteY76" fmla="*/ 2902312 h 3498714"/>
                <a:gd name="connsiteX77" fmla="*/ 4818179 w 6499257"/>
                <a:gd name="connsiteY77" fmla="*/ 3013437 h 3498714"/>
                <a:gd name="connsiteX78" fmla="*/ 4707054 w 6499257"/>
                <a:gd name="connsiteY78" fmla="*/ 3124562 h 3498714"/>
                <a:gd name="connsiteX79" fmla="*/ 4545125 w 6499257"/>
                <a:gd name="connsiteY79" fmla="*/ 3124562 h 3498714"/>
                <a:gd name="connsiteX80" fmla="*/ 4545125 w 6499257"/>
                <a:gd name="connsiteY80" fmla="*/ 3361625 h 3498714"/>
                <a:gd name="connsiteX81" fmla="*/ 4436113 w 6499257"/>
                <a:gd name="connsiteY81" fmla="*/ 3470637 h 3498714"/>
                <a:gd name="connsiteX82" fmla="*/ 4235039 w 6499257"/>
                <a:gd name="connsiteY82" fmla="*/ 3470637 h 3498714"/>
                <a:gd name="connsiteX83" fmla="*/ 4126027 w 6499257"/>
                <a:gd name="connsiteY83" fmla="*/ 3361625 h 3498714"/>
                <a:gd name="connsiteX84" fmla="*/ 4126027 w 6499257"/>
                <a:gd name="connsiteY84" fmla="*/ 3124562 h 3498714"/>
                <a:gd name="connsiteX85" fmla="*/ 2589325 w 6499257"/>
                <a:gd name="connsiteY85" fmla="*/ 3124562 h 3498714"/>
                <a:gd name="connsiteX86" fmla="*/ 2589325 w 6499257"/>
                <a:gd name="connsiteY86" fmla="*/ 3361625 h 3498714"/>
                <a:gd name="connsiteX87" fmla="*/ 2480313 w 6499257"/>
                <a:gd name="connsiteY87" fmla="*/ 3470637 h 3498714"/>
                <a:gd name="connsiteX88" fmla="*/ 2279239 w 6499257"/>
                <a:gd name="connsiteY88" fmla="*/ 3470637 h 3498714"/>
                <a:gd name="connsiteX89" fmla="*/ 2170227 w 6499257"/>
                <a:gd name="connsiteY89" fmla="*/ 3361625 h 3498714"/>
                <a:gd name="connsiteX90" fmla="*/ 2170227 w 6499257"/>
                <a:gd name="connsiteY90" fmla="*/ 3124562 h 3498714"/>
                <a:gd name="connsiteX91" fmla="*/ 2052754 w 6499257"/>
                <a:gd name="connsiteY91" fmla="*/ 3124562 h 3498714"/>
                <a:gd name="connsiteX92" fmla="*/ 1941629 w 6499257"/>
                <a:gd name="connsiteY92" fmla="*/ 3013437 h 3498714"/>
                <a:gd name="connsiteX93" fmla="*/ 2052754 w 6499257"/>
                <a:gd name="connsiteY93" fmla="*/ 2902312 h 3498714"/>
                <a:gd name="connsiteX94" fmla="*/ 682782 w 6499257"/>
                <a:gd name="connsiteY94" fmla="*/ 0 h 3498714"/>
                <a:gd name="connsiteX95" fmla="*/ 4492583 w 6499257"/>
                <a:gd name="connsiteY95" fmla="*/ 2089512 h 3498714"/>
                <a:gd name="connsiteX96" fmla="*/ 4311608 w 6499257"/>
                <a:gd name="connsiteY96" fmla="*/ 2270487 h 3498714"/>
                <a:gd name="connsiteX97" fmla="*/ 4492583 w 6499257"/>
                <a:gd name="connsiteY97" fmla="*/ 2451462 h 3498714"/>
                <a:gd name="connsiteX98" fmla="*/ 5407618 w 6499257"/>
                <a:gd name="connsiteY98" fmla="*/ 2468742 h 3498714"/>
                <a:gd name="connsiteX99" fmla="*/ 6498753 w 6499257"/>
                <a:gd name="connsiteY99" fmla="*/ 2404799 h 3498714"/>
                <a:gd name="connsiteX100" fmla="*/ 5388995 w 6499257"/>
                <a:gd name="connsiteY100"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842751 w 6499257"/>
                <a:gd name="connsiteY12" fmla="*/ 1749356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2534724 w 6499257"/>
                <a:gd name="connsiteY16" fmla="*/ 982297 h 3498714"/>
                <a:gd name="connsiteX17" fmla="*/ 4546612 w 6499257"/>
                <a:gd name="connsiteY17" fmla="*/ 1856643 h 3498714"/>
                <a:gd name="connsiteX18" fmla="*/ 4936448 w 6499257"/>
                <a:gd name="connsiteY18" fmla="*/ 2279217 h 3498714"/>
                <a:gd name="connsiteX19" fmla="*/ 4802103 w 6499257"/>
                <a:gd name="connsiteY19" fmla="*/ 2588456 h 3498714"/>
                <a:gd name="connsiteX20" fmla="*/ 4904699 w 6499257"/>
                <a:gd name="connsiteY20" fmla="*/ 2705462 h 3498714"/>
                <a:gd name="connsiteX21" fmla="*/ 4904698 w 6499257"/>
                <a:gd name="connsiteY21" fmla="*/ 2705462 h 3498714"/>
                <a:gd name="connsiteX22" fmla="*/ 4784047 w 6499257"/>
                <a:gd name="connsiteY22" fmla="*/ 2826113 h 3498714"/>
                <a:gd name="connsiteX23" fmla="*/ 1970999 w 6499257"/>
                <a:gd name="connsiteY23" fmla="*/ 2826112 h 3498714"/>
                <a:gd name="connsiteX24" fmla="*/ 1850348 w 6499257"/>
                <a:gd name="connsiteY24" fmla="*/ 2705462 h 3498714"/>
                <a:gd name="connsiteX25" fmla="*/ 1956769 w 6499257"/>
                <a:gd name="connsiteY25" fmla="*/ 2587684 h 3498714"/>
                <a:gd name="connsiteX26" fmla="*/ 1823360 w 6499257"/>
                <a:gd name="connsiteY26" fmla="*/ 2279217 h 3498714"/>
                <a:gd name="connsiteX27" fmla="*/ 2217440 w 6499257"/>
                <a:gd name="connsiteY27" fmla="*/ 1856216 h 3498714"/>
                <a:gd name="connsiteX28" fmla="*/ 2534724 w 6499257"/>
                <a:gd name="connsiteY28" fmla="*/ 982297 h 3498714"/>
                <a:gd name="connsiteX29" fmla="*/ 358791 w 6499257"/>
                <a:gd name="connsiteY29" fmla="*/ 644545 h 3498714"/>
                <a:gd name="connsiteX30" fmla="*/ 1006774 w 6499257"/>
                <a:gd name="connsiteY30" fmla="*/ 644545 h 3498714"/>
                <a:gd name="connsiteX31" fmla="*/ 1542636 w 6499257"/>
                <a:gd name="connsiteY31" fmla="*/ 1193969 h 3498714"/>
                <a:gd name="connsiteX32" fmla="*/ 1929878 w 6499257"/>
                <a:gd name="connsiteY32" fmla="*/ 1193970 h 3498714"/>
                <a:gd name="connsiteX33" fmla="*/ 2070059 w 6499257"/>
                <a:gd name="connsiteY33" fmla="*/ 1334152 h 3498714"/>
                <a:gd name="connsiteX34" fmla="*/ 1929878 w 6499257"/>
                <a:gd name="connsiteY34" fmla="*/ 1474333 h 3498714"/>
                <a:gd name="connsiteX35" fmla="*/ 1520943 w 6499257"/>
                <a:gd name="connsiteY35" fmla="*/ 1470388 h 3498714"/>
                <a:gd name="connsiteX36" fmla="*/ 1332825 w 6499257"/>
                <a:gd name="connsiteY36" fmla="*/ 1367201 h 3498714"/>
                <a:gd name="connsiteX37" fmla="*/ 1106501 w 6499257"/>
                <a:gd name="connsiteY37" fmla="*/ 1098289 h 3498714"/>
                <a:gd name="connsiteX38" fmla="*/ 1101049 w 6499257"/>
                <a:gd name="connsiteY38" fmla="*/ 1092836 h 3498714"/>
                <a:gd name="connsiteX39" fmla="*/ 1046523 w 6499257"/>
                <a:gd name="connsiteY39" fmla="*/ 1092836 h 3498714"/>
                <a:gd name="connsiteX40" fmla="*/ 1041071 w 6499257"/>
                <a:gd name="connsiteY40" fmla="*/ 1098289 h 3498714"/>
                <a:gd name="connsiteX41" fmla="*/ 1042136 w 6499257"/>
                <a:gd name="connsiteY41" fmla="*/ 1419754 h 3498714"/>
                <a:gd name="connsiteX42" fmla="*/ 1042136 w 6499257"/>
                <a:gd name="connsiteY42" fmla="*/ 3337652 h 3498714"/>
                <a:gd name="connsiteX43" fmla="*/ 881075 w 6499257"/>
                <a:gd name="connsiteY43" fmla="*/ 3498714 h 3498714"/>
                <a:gd name="connsiteX44" fmla="*/ 720012 w 6499257"/>
                <a:gd name="connsiteY44" fmla="*/ 3337652 h 3498714"/>
                <a:gd name="connsiteX45" fmla="*/ 720012 w 6499257"/>
                <a:gd name="connsiteY45" fmla="*/ 2125717 h 3498714"/>
                <a:gd name="connsiteX46" fmla="*/ 718947 w 6499257"/>
                <a:gd name="connsiteY46" fmla="*/ 2033194 h 3498714"/>
                <a:gd name="connsiteX47" fmla="*/ 714162 w 6499257"/>
                <a:gd name="connsiteY47" fmla="*/ 2028410 h 3498714"/>
                <a:gd name="connsiteX48" fmla="*/ 654759 w 6499257"/>
                <a:gd name="connsiteY48" fmla="*/ 2028410 h 3498714"/>
                <a:gd name="connsiteX49" fmla="*/ 649974 w 6499257"/>
                <a:gd name="connsiteY49" fmla="*/ 2033194 h 3498714"/>
                <a:gd name="connsiteX50" fmla="*/ 649974 w 6499257"/>
                <a:gd name="connsiteY50" fmla="*/ 2125717 h 3498714"/>
                <a:gd name="connsiteX51" fmla="*/ 649574 w 6499257"/>
                <a:gd name="connsiteY51" fmla="*/ 3337652 h 3498714"/>
                <a:gd name="connsiteX52" fmla="*/ 488511 w 6499257"/>
                <a:gd name="connsiteY52" fmla="*/ 3498714 h 3498714"/>
                <a:gd name="connsiteX53" fmla="*/ 327450 w 6499257"/>
                <a:gd name="connsiteY53" fmla="*/ 3337652 h 3498714"/>
                <a:gd name="connsiteX54" fmla="*/ 327450 w 6499257"/>
                <a:gd name="connsiteY54" fmla="*/ 1458216 h 3498714"/>
                <a:gd name="connsiteX55" fmla="*/ 322427 w 6499257"/>
                <a:gd name="connsiteY55" fmla="*/ 1098205 h 3498714"/>
                <a:gd name="connsiteX56" fmla="*/ 317058 w 6499257"/>
                <a:gd name="connsiteY56" fmla="*/ 1092836 h 3498714"/>
                <a:gd name="connsiteX57" fmla="*/ 263371 w 6499257"/>
                <a:gd name="connsiteY57" fmla="*/ 1092836 h 3498714"/>
                <a:gd name="connsiteX58" fmla="*/ 258001 w 6499257"/>
                <a:gd name="connsiteY58" fmla="*/ 1098205 h 3498714"/>
                <a:gd name="connsiteX59" fmla="*/ 258001 w 6499257"/>
                <a:gd name="connsiteY59" fmla="*/ 1444446 h 3498714"/>
                <a:gd name="connsiteX60" fmla="*/ 257700 w 6499257"/>
                <a:gd name="connsiteY60" fmla="*/ 1444370 h 3498714"/>
                <a:gd name="connsiteX61" fmla="*/ 257700 w 6499257"/>
                <a:gd name="connsiteY61" fmla="*/ 1912573 h 3498714"/>
                <a:gd name="connsiteX62" fmla="*/ 128850 w 6499257"/>
                <a:gd name="connsiteY62" fmla="*/ 2041423 h 3498714"/>
                <a:gd name="connsiteX63" fmla="*/ 0 w 6499257"/>
                <a:gd name="connsiteY63" fmla="*/ 1912573 h 3498714"/>
                <a:gd name="connsiteX64" fmla="*/ 0 w 6499257"/>
                <a:gd name="connsiteY64" fmla="*/ 1101802 h 3498714"/>
                <a:gd name="connsiteX65" fmla="*/ 0 w 6499257"/>
                <a:gd name="connsiteY65" fmla="*/ 1003338 h 3498714"/>
                <a:gd name="connsiteX66" fmla="*/ 0 w 6499257"/>
                <a:gd name="connsiteY66" fmla="*/ 982486 h 3498714"/>
                <a:gd name="connsiteX67" fmla="*/ 12733 w 6499257"/>
                <a:gd name="connsiteY67" fmla="*/ 894663 h 3498714"/>
                <a:gd name="connsiteX68" fmla="*/ 20539 w 6499257"/>
                <a:gd name="connsiteY68" fmla="*/ 868773 h 3498714"/>
                <a:gd name="connsiteX69" fmla="*/ 358791 w 6499257"/>
                <a:gd name="connsiteY69" fmla="*/ 644545 h 3498714"/>
                <a:gd name="connsiteX70" fmla="*/ 682782 w 6499257"/>
                <a:gd name="connsiteY70" fmla="*/ 0 h 3498714"/>
                <a:gd name="connsiteX71" fmla="*/ 966919 w 6499257"/>
                <a:gd name="connsiteY71" fmla="*/ 284138 h 3498714"/>
                <a:gd name="connsiteX72" fmla="*/ 682782 w 6499257"/>
                <a:gd name="connsiteY72" fmla="*/ 568275 h 3498714"/>
                <a:gd name="connsiteX73" fmla="*/ 398645 w 6499257"/>
                <a:gd name="connsiteY73" fmla="*/ 284138 h 3498714"/>
                <a:gd name="connsiteX74" fmla="*/ 682782 w 6499257"/>
                <a:gd name="connsiteY74" fmla="*/ 0 h 3498714"/>
                <a:gd name="connsiteX75" fmla="*/ 4707054 w 6499257"/>
                <a:gd name="connsiteY75" fmla="*/ 2902312 h 3498714"/>
                <a:gd name="connsiteX76" fmla="*/ 4818179 w 6499257"/>
                <a:gd name="connsiteY76" fmla="*/ 3013437 h 3498714"/>
                <a:gd name="connsiteX77" fmla="*/ 4707054 w 6499257"/>
                <a:gd name="connsiteY77" fmla="*/ 3124562 h 3498714"/>
                <a:gd name="connsiteX78" fmla="*/ 4545125 w 6499257"/>
                <a:gd name="connsiteY78" fmla="*/ 3124562 h 3498714"/>
                <a:gd name="connsiteX79" fmla="*/ 4545125 w 6499257"/>
                <a:gd name="connsiteY79" fmla="*/ 3361625 h 3498714"/>
                <a:gd name="connsiteX80" fmla="*/ 4436113 w 6499257"/>
                <a:gd name="connsiteY80" fmla="*/ 3470637 h 3498714"/>
                <a:gd name="connsiteX81" fmla="*/ 4235039 w 6499257"/>
                <a:gd name="connsiteY81" fmla="*/ 3470637 h 3498714"/>
                <a:gd name="connsiteX82" fmla="*/ 4126027 w 6499257"/>
                <a:gd name="connsiteY82" fmla="*/ 3361625 h 3498714"/>
                <a:gd name="connsiteX83" fmla="*/ 4126027 w 6499257"/>
                <a:gd name="connsiteY83" fmla="*/ 3124562 h 3498714"/>
                <a:gd name="connsiteX84" fmla="*/ 2589325 w 6499257"/>
                <a:gd name="connsiteY84" fmla="*/ 3124562 h 3498714"/>
                <a:gd name="connsiteX85" fmla="*/ 2589325 w 6499257"/>
                <a:gd name="connsiteY85" fmla="*/ 3361625 h 3498714"/>
                <a:gd name="connsiteX86" fmla="*/ 2480313 w 6499257"/>
                <a:gd name="connsiteY86" fmla="*/ 3470637 h 3498714"/>
                <a:gd name="connsiteX87" fmla="*/ 2279239 w 6499257"/>
                <a:gd name="connsiteY87" fmla="*/ 3470637 h 3498714"/>
                <a:gd name="connsiteX88" fmla="*/ 2170227 w 6499257"/>
                <a:gd name="connsiteY88" fmla="*/ 3361625 h 3498714"/>
                <a:gd name="connsiteX89" fmla="*/ 2170227 w 6499257"/>
                <a:gd name="connsiteY89" fmla="*/ 3124562 h 3498714"/>
                <a:gd name="connsiteX90" fmla="*/ 2052754 w 6499257"/>
                <a:gd name="connsiteY90" fmla="*/ 3124562 h 3498714"/>
                <a:gd name="connsiteX91" fmla="*/ 1941629 w 6499257"/>
                <a:gd name="connsiteY91" fmla="*/ 3013437 h 3498714"/>
                <a:gd name="connsiteX92" fmla="*/ 2052754 w 6499257"/>
                <a:gd name="connsiteY92" fmla="*/ 2902312 h 3498714"/>
                <a:gd name="connsiteX93" fmla="*/ 682782 w 6499257"/>
                <a:gd name="connsiteY93" fmla="*/ 0 h 3498714"/>
                <a:gd name="connsiteX94" fmla="*/ 4492583 w 6499257"/>
                <a:gd name="connsiteY94" fmla="*/ 2089512 h 3498714"/>
                <a:gd name="connsiteX95" fmla="*/ 4311608 w 6499257"/>
                <a:gd name="connsiteY95" fmla="*/ 2270487 h 3498714"/>
                <a:gd name="connsiteX96" fmla="*/ 4492583 w 6499257"/>
                <a:gd name="connsiteY96" fmla="*/ 2451462 h 3498714"/>
                <a:gd name="connsiteX97" fmla="*/ 5407618 w 6499257"/>
                <a:gd name="connsiteY97" fmla="*/ 2468742 h 3498714"/>
                <a:gd name="connsiteX98" fmla="*/ 6498753 w 6499257"/>
                <a:gd name="connsiteY98" fmla="*/ 2404799 h 3498714"/>
                <a:gd name="connsiteX99" fmla="*/ 5388995 w 6499257"/>
                <a:gd name="connsiteY99"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842751 w 6499257"/>
                <a:gd name="connsiteY12" fmla="*/ 1749356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2534724 w 6499257"/>
                <a:gd name="connsiteY16" fmla="*/ 982297 h 3498714"/>
                <a:gd name="connsiteX17" fmla="*/ 4936448 w 6499257"/>
                <a:gd name="connsiteY17" fmla="*/ 2279217 h 3498714"/>
                <a:gd name="connsiteX18" fmla="*/ 4802103 w 6499257"/>
                <a:gd name="connsiteY18" fmla="*/ 2588456 h 3498714"/>
                <a:gd name="connsiteX19" fmla="*/ 4904699 w 6499257"/>
                <a:gd name="connsiteY19" fmla="*/ 2705462 h 3498714"/>
                <a:gd name="connsiteX20" fmla="*/ 4904698 w 6499257"/>
                <a:gd name="connsiteY20" fmla="*/ 2705462 h 3498714"/>
                <a:gd name="connsiteX21" fmla="*/ 4784047 w 6499257"/>
                <a:gd name="connsiteY21" fmla="*/ 2826113 h 3498714"/>
                <a:gd name="connsiteX22" fmla="*/ 1970999 w 6499257"/>
                <a:gd name="connsiteY22" fmla="*/ 2826112 h 3498714"/>
                <a:gd name="connsiteX23" fmla="*/ 1850348 w 6499257"/>
                <a:gd name="connsiteY23" fmla="*/ 2705462 h 3498714"/>
                <a:gd name="connsiteX24" fmla="*/ 1956769 w 6499257"/>
                <a:gd name="connsiteY24" fmla="*/ 2587684 h 3498714"/>
                <a:gd name="connsiteX25" fmla="*/ 1823360 w 6499257"/>
                <a:gd name="connsiteY25" fmla="*/ 2279217 h 3498714"/>
                <a:gd name="connsiteX26" fmla="*/ 2217440 w 6499257"/>
                <a:gd name="connsiteY26" fmla="*/ 1856216 h 3498714"/>
                <a:gd name="connsiteX27" fmla="*/ 2534724 w 6499257"/>
                <a:gd name="connsiteY27" fmla="*/ 982297 h 3498714"/>
                <a:gd name="connsiteX28" fmla="*/ 358791 w 6499257"/>
                <a:gd name="connsiteY28" fmla="*/ 644545 h 3498714"/>
                <a:gd name="connsiteX29" fmla="*/ 1006774 w 6499257"/>
                <a:gd name="connsiteY29" fmla="*/ 644545 h 3498714"/>
                <a:gd name="connsiteX30" fmla="*/ 1542636 w 6499257"/>
                <a:gd name="connsiteY30" fmla="*/ 1193969 h 3498714"/>
                <a:gd name="connsiteX31" fmla="*/ 1929878 w 6499257"/>
                <a:gd name="connsiteY31" fmla="*/ 1193970 h 3498714"/>
                <a:gd name="connsiteX32" fmla="*/ 2070059 w 6499257"/>
                <a:gd name="connsiteY32" fmla="*/ 1334152 h 3498714"/>
                <a:gd name="connsiteX33" fmla="*/ 1929878 w 6499257"/>
                <a:gd name="connsiteY33" fmla="*/ 1474333 h 3498714"/>
                <a:gd name="connsiteX34" fmla="*/ 1520943 w 6499257"/>
                <a:gd name="connsiteY34" fmla="*/ 1470388 h 3498714"/>
                <a:gd name="connsiteX35" fmla="*/ 1332825 w 6499257"/>
                <a:gd name="connsiteY35" fmla="*/ 1367201 h 3498714"/>
                <a:gd name="connsiteX36" fmla="*/ 1106501 w 6499257"/>
                <a:gd name="connsiteY36" fmla="*/ 1098289 h 3498714"/>
                <a:gd name="connsiteX37" fmla="*/ 1101049 w 6499257"/>
                <a:gd name="connsiteY37" fmla="*/ 1092836 h 3498714"/>
                <a:gd name="connsiteX38" fmla="*/ 1046523 w 6499257"/>
                <a:gd name="connsiteY38" fmla="*/ 1092836 h 3498714"/>
                <a:gd name="connsiteX39" fmla="*/ 1041071 w 6499257"/>
                <a:gd name="connsiteY39" fmla="*/ 1098289 h 3498714"/>
                <a:gd name="connsiteX40" fmla="*/ 1042136 w 6499257"/>
                <a:gd name="connsiteY40" fmla="*/ 1419754 h 3498714"/>
                <a:gd name="connsiteX41" fmla="*/ 1042136 w 6499257"/>
                <a:gd name="connsiteY41" fmla="*/ 3337652 h 3498714"/>
                <a:gd name="connsiteX42" fmla="*/ 881075 w 6499257"/>
                <a:gd name="connsiteY42" fmla="*/ 3498714 h 3498714"/>
                <a:gd name="connsiteX43" fmla="*/ 720012 w 6499257"/>
                <a:gd name="connsiteY43" fmla="*/ 3337652 h 3498714"/>
                <a:gd name="connsiteX44" fmla="*/ 720012 w 6499257"/>
                <a:gd name="connsiteY44" fmla="*/ 2125717 h 3498714"/>
                <a:gd name="connsiteX45" fmla="*/ 718947 w 6499257"/>
                <a:gd name="connsiteY45" fmla="*/ 2033194 h 3498714"/>
                <a:gd name="connsiteX46" fmla="*/ 714162 w 6499257"/>
                <a:gd name="connsiteY46" fmla="*/ 2028410 h 3498714"/>
                <a:gd name="connsiteX47" fmla="*/ 654759 w 6499257"/>
                <a:gd name="connsiteY47" fmla="*/ 2028410 h 3498714"/>
                <a:gd name="connsiteX48" fmla="*/ 649974 w 6499257"/>
                <a:gd name="connsiteY48" fmla="*/ 2033194 h 3498714"/>
                <a:gd name="connsiteX49" fmla="*/ 649974 w 6499257"/>
                <a:gd name="connsiteY49" fmla="*/ 2125717 h 3498714"/>
                <a:gd name="connsiteX50" fmla="*/ 649574 w 6499257"/>
                <a:gd name="connsiteY50" fmla="*/ 3337652 h 3498714"/>
                <a:gd name="connsiteX51" fmla="*/ 488511 w 6499257"/>
                <a:gd name="connsiteY51" fmla="*/ 3498714 h 3498714"/>
                <a:gd name="connsiteX52" fmla="*/ 327450 w 6499257"/>
                <a:gd name="connsiteY52" fmla="*/ 3337652 h 3498714"/>
                <a:gd name="connsiteX53" fmla="*/ 327450 w 6499257"/>
                <a:gd name="connsiteY53" fmla="*/ 1458216 h 3498714"/>
                <a:gd name="connsiteX54" fmla="*/ 322427 w 6499257"/>
                <a:gd name="connsiteY54" fmla="*/ 1098205 h 3498714"/>
                <a:gd name="connsiteX55" fmla="*/ 317058 w 6499257"/>
                <a:gd name="connsiteY55" fmla="*/ 1092836 h 3498714"/>
                <a:gd name="connsiteX56" fmla="*/ 263371 w 6499257"/>
                <a:gd name="connsiteY56" fmla="*/ 1092836 h 3498714"/>
                <a:gd name="connsiteX57" fmla="*/ 258001 w 6499257"/>
                <a:gd name="connsiteY57" fmla="*/ 1098205 h 3498714"/>
                <a:gd name="connsiteX58" fmla="*/ 258001 w 6499257"/>
                <a:gd name="connsiteY58" fmla="*/ 1444446 h 3498714"/>
                <a:gd name="connsiteX59" fmla="*/ 257700 w 6499257"/>
                <a:gd name="connsiteY59" fmla="*/ 1444370 h 3498714"/>
                <a:gd name="connsiteX60" fmla="*/ 257700 w 6499257"/>
                <a:gd name="connsiteY60" fmla="*/ 1912573 h 3498714"/>
                <a:gd name="connsiteX61" fmla="*/ 128850 w 6499257"/>
                <a:gd name="connsiteY61" fmla="*/ 2041423 h 3498714"/>
                <a:gd name="connsiteX62" fmla="*/ 0 w 6499257"/>
                <a:gd name="connsiteY62" fmla="*/ 1912573 h 3498714"/>
                <a:gd name="connsiteX63" fmla="*/ 0 w 6499257"/>
                <a:gd name="connsiteY63" fmla="*/ 1101802 h 3498714"/>
                <a:gd name="connsiteX64" fmla="*/ 0 w 6499257"/>
                <a:gd name="connsiteY64" fmla="*/ 1003338 h 3498714"/>
                <a:gd name="connsiteX65" fmla="*/ 0 w 6499257"/>
                <a:gd name="connsiteY65" fmla="*/ 982486 h 3498714"/>
                <a:gd name="connsiteX66" fmla="*/ 12733 w 6499257"/>
                <a:gd name="connsiteY66" fmla="*/ 894663 h 3498714"/>
                <a:gd name="connsiteX67" fmla="*/ 20539 w 6499257"/>
                <a:gd name="connsiteY67" fmla="*/ 868773 h 3498714"/>
                <a:gd name="connsiteX68" fmla="*/ 358791 w 6499257"/>
                <a:gd name="connsiteY68" fmla="*/ 644545 h 3498714"/>
                <a:gd name="connsiteX69" fmla="*/ 682782 w 6499257"/>
                <a:gd name="connsiteY69" fmla="*/ 0 h 3498714"/>
                <a:gd name="connsiteX70" fmla="*/ 966919 w 6499257"/>
                <a:gd name="connsiteY70" fmla="*/ 284138 h 3498714"/>
                <a:gd name="connsiteX71" fmla="*/ 682782 w 6499257"/>
                <a:gd name="connsiteY71" fmla="*/ 568275 h 3498714"/>
                <a:gd name="connsiteX72" fmla="*/ 398645 w 6499257"/>
                <a:gd name="connsiteY72" fmla="*/ 284138 h 3498714"/>
                <a:gd name="connsiteX73" fmla="*/ 682782 w 6499257"/>
                <a:gd name="connsiteY73" fmla="*/ 0 h 3498714"/>
                <a:gd name="connsiteX74" fmla="*/ 4707054 w 6499257"/>
                <a:gd name="connsiteY74" fmla="*/ 2902312 h 3498714"/>
                <a:gd name="connsiteX75" fmla="*/ 4818179 w 6499257"/>
                <a:gd name="connsiteY75" fmla="*/ 3013437 h 3498714"/>
                <a:gd name="connsiteX76" fmla="*/ 4707054 w 6499257"/>
                <a:gd name="connsiteY76" fmla="*/ 3124562 h 3498714"/>
                <a:gd name="connsiteX77" fmla="*/ 4545125 w 6499257"/>
                <a:gd name="connsiteY77" fmla="*/ 3124562 h 3498714"/>
                <a:gd name="connsiteX78" fmla="*/ 4545125 w 6499257"/>
                <a:gd name="connsiteY78" fmla="*/ 3361625 h 3498714"/>
                <a:gd name="connsiteX79" fmla="*/ 4436113 w 6499257"/>
                <a:gd name="connsiteY79" fmla="*/ 3470637 h 3498714"/>
                <a:gd name="connsiteX80" fmla="*/ 4235039 w 6499257"/>
                <a:gd name="connsiteY80" fmla="*/ 3470637 h 3498714"/>
                <a:gd name="connsiteX81" fmla="*/ 4126027 w 6499257"/>
                <a:gd name="connsiteY81" fmla="*/ 3361625 h 3498714"/>
                <a:gd name="connsiteX82" fmla="*/ 4126027 w 6499257"/>
                <a:gd name="connsiteY82" fmla="*/ 3124562 h 3498714"/>
                <a:gd name="connsiteX83" fmla="*/ 2589325 w 6499257"/>
                <a:gd name="connsiteY83" fmla="*/ 3124562 h 3498714"/>
                <a:gd name="connsiteX84" fmla="*/ 2589325 w 6499257"/>
                <a:gd name="connsiteY84" fmla="*/ 3361625 h 3498714"/>
                <a:gd name="connsiteX85" fmla="*/ 2480313 w 6499257"/>
                <a:gd name="connsiteY85" fmla="*/ 3470637 h 3498714"/>
                <a:gd name="connsiteX86" fmla="*/ 2279239 w 6499257"/>
                <a:gd name="connsiteY86" fmla="*/ 3470637 h 3498714"/>
                <a:gd name="connsiteX87" fmla="*/ 2170227 w 6499257"/>
                <a:gd name="connsiteY87" fmla="*/ 3361625 h 3498714"/>
                <a:gd name="connsiteX88" fmla="*/ 2170227 w 6499257"/>
                <a:gd name="connsiteY88" fmla="*/ 3124562 h 3498714"/>
                <a:gd name="connsiteX89" fmla="*/ 2052754 w 6499257"/>
                <a:gd name="connsiteY89" fmla="*/ 3124562 h 3498714"/>
                <a:gd name="connsiteX90" fmla="*/ 1941629 w 6499257"/>
                <a:gd name="connsiteY90" fmla="*/ 3013437 h 3498714"/>
                <a:gd name="connsiteX91" fmla="*/ 2052754 w 6499257"/>
                <a:gd name="connsiteY91" fmla="*/ 2902312 h 3498714"/>
                <a:gd name="connsiteX92" fmla="*/ 682782 w 6499257"/>
                <a:gd name="connsiteY92" fmla="*/ 0 h 3498714"/>
                <a:gd name="connsiteX93" fmla="*/ 4492583 w 6499257"/>
                <a:gd name="connsiteY93" fmla="*/ 2089512 h 3498714"/>
                <a:gd name="connsiteX94" fmla="*/ 4311608 w 6499257"/>
                <a:gd name="connsiteY94" fmla="*/ 2270487 h 3498714"/>
                <a:gd name="connsiteX95" fmla="*/ 4492583 w 6499257"/>
                <a:gd name="connsiteY95" fmla="*/ 2451462 h 3498714"/>
                <a:gd name="connsiteX96" fmla="*/ 5407618 w 6499257"/>
                <a:gd name="connsiteY96" fmla="*/ 2468742 h 3498714"/>
                <a:gd name="connsiteX97" fmla="*/ 6498753 w 6499257"/>
                <a:gd name="connsiteY97" fmla="*/ 2404799 h 3498714"/>
                <a:gd name="connsiteX98" fmla="*/ 5388995 w 6499257"/>
                <a:gd name="connsiteY98"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842751 w 6499257"/>
                <a:gd name="connsiteY12" fmla="*/ 1749356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2534724 w 6499257"/>
                <a:gd name="connsiteY16" fmla="*/ 982297 h 3498714"/>
                <a:gd name="connsiteX17" fmla="*/ 4936448 w 6499257"/>
                <a:gd name="connsiteY17" fmla="*/ 2279217 h 3498714"/>
                <a:gd name="connsiteX18" fmla="*/ 4802103 w 6499257"/>
                <a:gd name="connsiteY18" fmla="*/ 2588456 h 3498714"/>
                <a:gd name="connsiteX19" fmla="*/ 4904699 w 6499257"/>
                <a:gd name="connsiteY19" fmla="*/ 2705462 h 3498714"/>
                <a:gd name="connsiteX20" fmla="*/ 4904698 w 6499257"/>
                <a:gd name="connsiteY20" fmla="*/ 2705462 h 3498714"/>
                <a:gd name="connsiteX21" fmla="*/ 4784047 w 6499257"/>
                <a:gd name="connsiteY21" fmla="*/ 2826113 h 3498714"/>
                <a:gd name="connsiteX22" fmla="*/ 1970999 w 6499257"/>
                <a:gd name="connsiteY22" fmla="*/ 2826112 h 3498714"/>
                <a:gd name="connsiteX23" fmla="*/ 1850348 w 6499257"/>
                <a:gd name="connsiteY23" fmla="*/ 2705462 h 3498714"/>
                <a:gd name="connsiteX24" fmla="*/ 1956769 w 6499257"/>
                <a:gd name="connsiteY24" fmla="*/ 2587684 h 3498714"/>
                <a:gd name="connsiteX25" fmla="*/ 1823360 w 6499257"/>
                <a:gd name="connsiteY25" fmla="*/ 2279217 h 3498714"/>
                <a:gd name="connsiteX26" fmla="*/ 2217440 w 6499257"/>
                <a:gd name="connsiteY26" fmla="*/ 1856216 h 3498714"/>
                <a:gd name="connsiteX27" fmla="*/ 2534724 w 6499257"/>
                <a:gd name="connsiteY27" fmla="*/ 982297 h 3498714"/>
                <a:gd name="connsiteX28" fmla="*/ 358791 w 6499257"/>
                <a:gd name="connsiteY28" fmla="*/ 644545 h 3498714"/>
                <a:gd name="connsiteX29" fmla="*/ 1006774 w 6499257"/>
                <a:gd name="connsiteY29" fmla="*/ 644545 h 3498714"/>
                <a:gd name="connsiteX30" fmla="*/ 1542636 w 6499257"/>
                <a:gd name="connsiteY30" fmla="*/ 1193969 h 3498714"/>
                <a:gd name="connsiteX31" fmla="*/ 1929878 w 6499257"/>
                <a:gd name="connsiteY31" fmla="*/ 1193970 h 3498714"/>
                <a:gd name="connsiteX32" fmla="*/ 2070059 w 6499257"/>
                <a:gd name="connsiteY32" fmla="*/ 1334152 h 3498714"/>
                <a:gd name="connsiteX33" fmla="*/ 1929878 w 6499257"/>
                <a:gd name="connsiteY33" fmla="*/ 1474333 h 3498714"/>
                <a:gd name="connsiteX34" fmla="*/ 1520943 w 6499257"/>
                <a:gd name="connsiteY34" fmla="*/ 1470388 h 3498714"/>
                <a:gd name="connsiteX35" fmla="*/ 1332825 w 6499257"/>
                <a:gd name="connsiteY35" fmla="*/ 1367201 h 3498714"/>
                <a:gd name="connsiteX36" fmla="*/ 1106501 w 6499257"/>
                <a:gd name="connsiteY36" fmla="*/ 1098289 h 3498714"/>
                <a:gd name="connsiteX37" fmla="*/ 1101049 w 6499257"/>
                <a:gd name="connsiteY37" fmla="*/ 1092836 h 3498714"/>
                <a:gd name="connsiteX38" fmla="*/ 1046523 w 6499257"/>
                <a:gd name="connsiteY38" fmla="*/ 1092836 h 3498714"/>
                <a:gd name="connsiteX39" fmla="*/ 1041071 w 6499257"/>
                <a:gd name="connsiteY39" fmla="*/ 1098289 h 3498714"/>
                <a:gd name="connsiteX40" fmla="*/ 1042136 w 6499257"/>
                <a:gd name="connsiteY40" fmla="*/ 1419754 h 3498714"/>
                <a:gd name="connsiteX41" fmla="*/ 1042136 w 6499257"/>
                <a:gd name="connsiteY41" fmla="*/ 3337652 h 3498714"/>
                <a:gd name="connsiteX42" fmla="*/ 881075 w 6499257"/>
                <a:gd name="connsiteY42" fmla="*/ 3498714 h 3498714"/>
                <a:gd name="connsiteX43" fmla="*/ 720012 w 6499257"/>
                <a:gd name="connsiteY43" fmla="*/ 3337652 h 3498714"/>
                <a:gd name="connsiteX44" fmla="*/ 720012 w 6499257"/>
                <a:gd name="connsiteY44" fmla="*/ 2125717 h 3498714"/>
                <a:gd name="connsiteX45" fmla="*/ 718947 w 6499257"/>
                <a:gd name="connsiteY45" fmla="*/ 2033194 h 3498714"/>
                <a:gd name="connsiteX46" fmla="*/ 714162 w 6499257"/>
                <a:gd name="connsiteY46" fmla="*/ 2028410 h 3498714"/>
                <a:gd name="connsiteX47" fmla="*/ 654759 w 6499257"/>
                <a:gd name="connsiteY47" fmla="*/ 2028410 h 3498714"/>
                <a:gd name="connsiteX48" fmla="*/ 649974 w 6499257"/>
                <a:gd name="connsiteY48" fmla="*/ 2033194 h 3498714"/>
                <a:gd name="connsiteX49" fmla="*/ 649974 w 6499257"/>
                <a:gd name="connsiteY49" fmla="*/ 2125717 h 3498714"/>
                <a:gd name="connsiteX50" fmla="*/ 649574 w 6499257"/>
                <a:gd name="connsiteY50" fmla="*/ 3337652 h 3498714"/>
                <a:gd name="connsiteX51" fmla="*/ 488511 w 6499257"/>
                <a:gd name="connsiteY51" fmla="*/ 3498714 h 3498714"/>
                <a:gd name="connsiteX52" fmla="*/ 327450 w 6499257"/>
                <a:gd name="connsiteY52" fmla="*/ 3337652 h 3498714"/>
                <a:gd name="connsiteX53" fmla="*/ 327450 w 6499257"/>
                <a:gd name="connsiteY53" fmla="*/ 1458216 h 3498714"/>
                <a:gd name="connsiteX54" fmla="*/ 322427 w 6499257"/>
                <a:gd name="connsiteY54" fmla="*/ 1098205 h 3498714"/>
                <a:gd name="connsiteX55" fmla="*/ 317058 w 6499257"/>
                <a:gd name="connsiteY55" fmla="*/ 1092836 h 3498714"/>
                <a:gd name="connsiteX56" fmla="*/ 263371 w 6499257"/>
                <a:gd name="connsiteY56" fmla="*/ 1092836 h 3498714"/>
                <a:gd name="connsiteX57" fmla="*/ 258001 w 6499257"/>
                <a:gd name="connsiteY57" fmla="*/ 1098205 h 3498714"/>
                <a:gd name="connsiteX58" fmla="*/ 258001 w 6499257"/>
                <a:gd name="connsiteY58" fmla="*/ 1444446 h 3498714"/>
                <a:gd name="connsiteX59" fmla="*/ 257700 w 6499257"/>
                <a:gd name="connsiteY59" fmla="*/ 1444370 h 3498714"/>
                <a:gd name="connsiteX60" fmla="*/ 257700 w 6499257"/>
                <a:gd name="connsiteY60" fmla="*/ 1912573 h 3498714"/>
                <a:gd name="connsiteX61" fmla="*/ 128850 w 6499257"/>
                <a:gd name="connsiteY61" fmla="*/ 2041423 h 3498714"/>
                <a:gd name="connsiteX62" fmla="*/ 0 w 6499257"/>
                <a:gd name="connsiteY62" fmla="*/ 1912573 h 3498714"/>
                <a:gd name="connsiteX63" fmla="*/ 0 w 6499257"/>
                <a:gd name="connsiteY63" fmla="*/ 1101802 h 3498714"/>
                <a:gd name="connsiteX64" fmla="*/ 0 w 6499257"/>
                <a:gd name="connsiteY64" fmla="*/ 1003338 h 3498714"/>
                <a:gd name="connsiteX65" fmla="*/ 0 w 6499257"/>
                <a:gd name="connsiteY65" fmla="*/ 982486 h 3498714"/>
                <a:gd name="connsiteX66" fmla="*/ 12733 w 6499257"/>
                <a:gd name="connsiteY66" fmla="*/ 894663 h 3498714"/>
                <a:gd name="connsiteX67" fmla="*/ 20539 w 6499257"/>
                <a:gd name="connsiteY67" fmla="*/ 868773 h 3498714"/>
                <a:gd name="connsiteX68" fmla="*/ 358791 w 6499257"/>
                <a:gd name="connsiteY68" fmla="*/ 644545 h 3498714"/>
                <a:gd name="connsiteX69" fmla="*/ 682782 w 6499257"/>
                <a:gd name="connsiteY69" fmla="*/ 0 h 3498714"/>
                <a:gd name="connsiteX70" fmla="*/ 966919 w 6499257"/>
                <a:gd name="connsiteY70" fmla="*/ 284138 h 3498714"/>
                <a:gd name="connsiteX71" fmla="*/ 682782 w 6499257"/>
                <a:gd name="connsiteY71" fmla="*/ 568275 h 3498714"/>
                <a:gd name="connsiteX72" fmla="*/ 398645 w 6499257"/>
                <a:gd name="connsiteY72" fmla="*/ 284138 h 3498714"/>
                <a:gd name="connsiteX73" fmla="*/ 682782 w 6499257"/>
                <a:gd name="connsiteY73" fmla="*/ 0 h 3498714"/>
                <a:gd name="connsiteX74" fmla="*/ 4707054 w 6499257"/>
                <a:gd name="connsiteY74" fmla="*/ 2902312 h 3498714"/>
                <a:gd name="connsiteX75" fmla="*/ 4818179 w 6499257"/>
                <a:gd name="connsiteY75" fmla="*/ 3013437 h 3498714"/>
                <a:gd name="connsiteX76" fmla="*/ 4707054 w 6499257"/>
                <a:gd name="connsiteY76" fmla="*/ 3124562 h 3498714"/>
                <a:gd name="connsiteX77" fmla="*/ 4545125 w 6499257"/>
                <a:gd name="connsiteY77" fmla="*/ 3124562 h 3498714"/>
                <a:gd name="connsiteX78" fmla="*/ 4545125 w 6499257"/>
                <a:gd name="connsiteY78" fmla="*/ 3361625 h 3498714"/>
                <a:gd name="connsiteX79" fmla="*/ 4436113 w 6499257"/>
                <a:gd name="connsiteY79" fmla="*/ 3470637 h 3498714"/>
                <a:gd name="connsiteX80" fmla="*/ 4235039 w 6499257"/>
                <a:gd name="connsiteY80" fmla="*/ 3470637 h 3498714"/>
                <a:gd name="connsiteX81" fmla="*/ 4126027 w 6499257"/>
                <a:gd name="connsiteY81" fmla="*/ 3361625 h 3498714"/>
                <a:gd name="connsiteX82" fmla="*/ 4126027 w 6499257"/>
                <a:gd name="connsiteY82" fmla="*/ 3124562 h 3498714"/>
                <a:gd name="connsiteX83" fmla="*/ 2589325 w 6499257"/>
                <a:gd name="connsiteY83" fmla="*/ 3124562 h 3498714"/>
                <a:gd name="connsiteX84" fmla="*/ 2589325 w 6499257"/>
                <a:gd name="connsiteY84" fmla="*/ 3361625 h 3498714"/>
                <a:gd name="connsiteX85" fmla="*/ 2480313 w 6499257"/>
                <a:gd name="connsiteY85" fmla="*/ 3470637 h 3498714"/>
                <a:gd name="connsiteX86" fmla="*/ 2279239 w 6499257"/>
                <a:gd name="connsiteY86" fmla="*/ 3470637 h 3498714"/>
                <a:gd name="connsiteX87" fmla="*/ 2170227 w 6499257"/>
                <a:gd name="connsiteY87" fmla="*/ 3361625 h 3498714"/>
                <a:gd name="connsiteX88" fmla="*/ 2170227 w 6499257"/>
                <a:gd name="connsiteY88" fmla="*/ 3124562 h 3498714"/>
                <a:gd name="connsiteX89" fmla="*/ 2052754 w 6499257"/>
                <a:gd name="connsiteY89" fmla="*/ 3124562 h 3498714"/>
                <a:gd name="connsiteX90" fmla="*/ 1941629 w 6499257"/>
                <a:gd name="connsiteY90" fmla="*/ 3013437 h 3498714"/>
                <a:gd name="connsiteX91" fmla="*/ 2052754 w 6499257"/>
                <a:gd name="connsiteY91" fmla="*/ 2902312 h 3498714"/>
                <a:gd name="connsiteX92" fmla="*/ 682782 w 6499257"/>
                <a:gd name="connsiteY92" fmla="*/ 0 h 3498714"/>
                <a:gd name="connsiteX93" fmla="*/ 4492583 w 6499257"/>
                <a:gd name="connsiteY93" fmla="*/ 2089512 h 3498714"/>
                <a:gd name="connsiteX94" fmla="*/ 4311608 w 6499257"/>
                <a:gd name="connsiteY94" fmla="*/ 2270487 h 3498714"/>
                <a:gd name="connsiteX95" fmla="*/ 4492583 w 6499257"/>
                <a:gd name="connsiteY95" fmla="*/ 2451462 h 3498714"/>
                <a:gd name="connsiteX96" fmla="*/ 5407618 w 6499257"/>
                <a:gd name="connsiteY96" fmla="*/ 2468742 h 3498714"/>
                <a:gd name="connsiteX97" fmla="*/ 6498753 w 6499257"/>
                <a:gd name="connsiteY97" fmla="*/ 2404799 h 3498714"/>
                <a:gd name="connsiteX98" fmla="*/ 5388995 w 6499257"/>
                <a:gd name="connsiteY98"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842751 w 6499257"/>
                <a:gd name="connsiteY12" fmla="*/ 1749356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2534724 w 6499257"/>
                <a:gd name="connsiteY16" fmla="*/ 982297 h 3498714"/>
                <a:gd name="connsiteX17" fmla="*/ 4802103 w 6499257"/>
                <a:gd name="connsiteY17" fmla="*/ 2588456 h 3498714"/>
                <a:gd name="connsiteX18" fmla="*/ 4904699 w 6499257"/>
                <a:gd name="connsiteY18" fmla="*/ 2705462 h 3498714"/>
                <a:gd name="connsiteX19" fmla="*/ 4904698 w 6499257"/>
                <a:gd name="connsiteY19" fmla="*/ 2705462 h 3498714"/>
                <a:gd name="connsiteX20" fmla="*/ 4784047 w 6499257"/>
                <a:gd name="connsiteY20" fmla="*/ 2826113 h 3498714"/>
                <a:gd name="connsiteX21" fmla="*/ 1970999 w 6499257"/>
                <a:gd name="connsiteY21" fmla="*/ 2826112 h 3498714"/>
                <a:gd name="connsiteX22" fmla="*/ 1850348 w 6499257"/>
                <a:gd name="connsiteY22" fmla="*/ 2705462 h 3498714"/>
                <a:gd name="connsiteX23" fmla="*/ 1956769 w 6499257"/>
                <a:gd name="connsiteY23" fmla="*/ 2587684 h 3498714"/>
                <a:gd name="connsiteX24" fmla="*/ 1823360 w 6499257"/>
                <a:gd name="connsiteY24" fmla="*/ 2279217 h 3498714"/>
                <a:gd name="connsiteX25" fmla="*/ 2217440 w 6499257"/>
                <a:gd name="connsiteY25" fmla="*/ 1856216 h 3498714"/>
                <a:gd name="connsiteX26" fmla="*/ 2534724 w 6499257"/>
                <a:gd name="connsiteY26" fmla="*/ 982297 h 3498714"/>
                <a:gd name="connsiteX27" fmla="*/ 358791 w 6499257"/>
                <a:gd name="connsiteY27" fmla="*/ 644545 h 3498714"/>
                <a:gd name="connsiteX28" fmla="*/ 1006774 w 6499257"/>
                <a:gd name="connsiteY28" fmla="*/ 644545 h 3498714"/>
                <a:gd name="connsiteX29" fmla="*/ 1542636 w 6499257"/>
                <a:gd name="connsiteY29" fmla="*/ 1193969 h 3498714"/>
                <a:gd name="connsiteX30" fmla="*/ 1929878 w 6499257"/>
                <a:gd name="connsiteY30" fmla="*/ 1193970 h 3498714"/>
                <a:gd name="connsiteX31" fmla="*/ 2070059 w 6499257"/>
                <a:gd name="connsiteY31" fmla="*/ 1334152 h 3498714"/>
                <a:gd name="connsiteX32" fmla="*/ 1929878 w 6499257"/>
                <a:gd name="connsiteY32" fmla="*/ 1474333 h 3498714"/>
                <a:gd name="connsiteX33" fmla="*/ 1520943 w 6499257"/>
                <a:gd name="connsiteY33" fmla="*/ 1470388 h 3498714"/>
                <a:gd name="connsiteX34" fmla="*/ 1332825 w 6499257"/>
                <a:gd name="connsiteY34" fmla="*/ 1367201 h 3498714"/>
                <a:gd name="connsiteX35" fmla="*/ 1106501 w 6499257"/>
                <a:gd name="connsiteY35" fmla="*/ 1098289 h 3498714"/>
                <a:gd name="connsiteX36" fmla="*/ 1101049 w 6499257"/>
                <a:gd name="connsiteY36" fmla="*/ 1092836 h 3498714"/>
                <a:gd name="connsiteX37" fmla="*/ 1046523 w 6499257"/>
                <a:gd name="connsiteY37" fmla="*/ 1092836 h 3498714"/>
                <a:gd name="connsiteX38" fmla="*/ 1041071 w 6499257"/>
                <a:gd name="connsiteY38" fmla="*/ 1098289 h 3498714"/>
                <a:gd name="connsiteX39" fmla="*/ 1042136 w 6499257"/>
                <a:gd name="connsiteY39" fmla="*/ 1419754 h 3498714"/>
                <a:gd name="connsiteX40" fmla="*/ 1042136 w 6499257"/>
                <a:gd name="connsiteY40" fmla="*/ 3337652 h 3498714"/>
                <a:gd name="connsiteX41" fmla="*/ 881075 w 6499257"/>
                <a:gd name="connsiteY41" fmla="*/ 3498714 h 3498714"/>
                <a:gd name="connsiteX42" fmla="*/ 720012 w 6499257"/>
                <a:gd name="connsiteY42" fmla="*/ 3337652 h 3498714"/>
                <a:gd name="connsiteX43" fmla="*/ 720012 w 6499257"/>
                <a:gd name="connsiteY43" fmla="*/ 2125717 h 3498714"/>
                <a:gd name="connsiteX44" fmla="*/ 718947 w 6499257"/>
                <a:gd name="connsiteY44" fmla="*/ 2033194 h 3498714"/>
                <a:gd name="connsiteX45" fmla="*/ 714162 w 6499257"/>
                <a:gd name="connsiteY45" fmla="*/ 2028410 h 3498714"/>
                <a:gd name="connsiteX46" fmla="*/ 654759 w 6499257"/>
                <a:gd name="connsiteY46" fmla="*/ 2028410 h 3498714"/>
                <a:gd name="connsiteX47" fmla="*/ 649974 w 6499257"/>
                <a:gd name="connsiteY47" fmla="*/ 2033194 h 3498714"/>
                <a:gd name="connsiteX48" fmla="*/ 649974 w 6499257"/>
                <a:gd name="connsiteY48" fmla="*/ 2125717 h 3498714"/>
                <a:gd name="connsiteX49" fmla="*/ 649574 w 6499257"/>
                <a:gd name="connsiteY49" fmla="*/ 3337652 h 3498714"/>
                <a:gd name="connsiteX50" fmla="*/ 488511 w 6499257"/>
                <a:gd name="connsiteY50" fmla="*/ 3498714 h 3498714"/>
                <a:gd name="connsiteX51" fmla="*/ 327450 w 6499257"/>
                <a:gd name="connsiteY51" fmla="*/ 3337652 h 3498714"/>
                <a:gd name="connsiteX52" fmla="*/ 327450 w 6499257"/>
                <a:gd name="connsiteY52" fmla="*/ 1458216 h 3498714"/>
                <a:gd name="connsiteX53" fmla="*/ 322427 w 6499257"/>
                <a:gd name="connsiteY53" fmla="*/ 1098205 h 3498714"/>
                <a:gd name="connsiteX54" fmla="*/ 317058 w 6499257"/>
                <a:gd name="connsiteY54" fmla="*/ 1092836 h 3498714"/>
                <a:gd name="connsiteX55" fmla="*/ 263371 w 6499257"/>
                <a:gd name="connsiteY55" fmla="*/ 1092836 h 3498714"/>
                <a:gd name="connsiteX56" fmla="*/ 258001 w 6499257"/>
                <a:gd name="connsiteY56" fmla="*/ 1098205 h 3498714"/>
                <a:gd name="connsiteX57" fmla="*/ 258001 w 6499257"/>
                <a:gd name="connsiteY57" fmla="*/ 1444446 h 3498714"/>
                <a:gd name="connsiteX58" fmla="*/ 257700 w 6499257"/>
                <a:gd name="connsiteY58" fmla="*/ 1444370 h 3498714"/>
                <a:gd name="connsiteX59" fmla="*/ 257700 w 6499257"/>
                <a:gd name="connsiteY59" fmla="*/ 1912573 h 3498714"/>
                <a:gd name="connsiteX60" fmla="*/ 128850 w 6499257"/>
                <a:gd name="connsiteY60" fmla="*/ 2041423 h 3498714"/>
                <a:gd name="connsiteX61" fmla="*/ 0 w 6499257"/>
                <a:gd name="connsiteY61" fmla="*/ 1912573 h 3498714"/>
                <a:gd name="connsiteX62" fmla="*/ 0 w 6499257"/>
                <a:gd name="connsiteY62" fmla="*/ 1101802 h 3498714"/>
                <a:gd name="connsiteX63" fmla="*/ 0 w 6499257"/>
                <a:gd name="connsiteY63" fmla="*/ 1003338 h 3498714"/>
                <a:gd name="connsiteX64" fmla="*/ 0 w 6499257"/>
                <a:gd name="connsiteY64" fmla="*/ 982486 h 3498714"/>
                <a:gd name="connsiteX65" fmla="*/ 12733 w 6499257"/>
                <a:gd name="connsiteY65" fmla="*/ 894663 h 3498714"/>
                <a:gd name="connsiteX66" fmla="*/ 20539 w 6499257"/>
                <a:gd name="connsiteY66" fmla="*/ 868773 h 3498714"/>
                <a:gd name="connsiteX67" fmla="*/ 358791 w 6499257"/>
                <a:gd name="connsiteY67" fmla="*/ 644545 h 3498714"/>
                <a:gd name="connsiteX68" fmla="*/ 682782 w 6499257"/>
                <a:gd name="connsiteY68" fmla="*/ 0 h 3498714"/>
                <a:gd name="connsiteX69" fmla="*/ 966919 w 6499257"/>
                <a:gd name="connsiteY69" fmla="*/ 284138 h 3498714"/>
                <a:gd name="connsiteX70" fmla="*/ 682782 w 6499257"/>
                <a:gd name="connsiteY70" fmla="*/ 568275 h 3498714"/>
                <a:gd name="connsiteX71" fmla="*/ 398645 w 6499257"/>
                <a:gd name="connsiteY71" fmla="*/ 284138 h 3498714"/>
                <a:gd name="connsiteX72" fmla="*/ 682782 w 6499257"/>
                <a:gd name="connsiteY72" fmla="*/ 0 h 3498714"/>
                <a:gd name="connsiteX73" fmla="*/ 4707054 w 6499257"/>
                <a:gd name="connsiteY73" fmla="*/ 2902312 h 3498714"/>
                <a:gd name="connsiteX74" fmla="*/ 4818179 w 6499257"/>
                <a:gd name="connsiteY74" fmla="*/ 3013437 h 3498714"/>
                <a:gd name="connsiteX75" fmla="*/ 4707054 w 6499257"/>
                <a:gd name="connsiteY75" fmla="*/ 3124562 h 3498714"/>
                <a:gd name="connsiteX76" fmla="*/ 4545125 w 6499257"/>
                <a:gd name="connsiteY76" fmla="*/ 3124562 h 3498714"/>
                <a:gd name="connsiteX77" fmla="*/ 4545125 w 6499257"/>
                <a:gd name="connsiteY77" fmla="*/ 3361625 h 3498714"/>
                <a:gd name="connsiteX78" fmla="*/ 4436113 w 6499257"/>
                <a:gd name="connsiteY78" fmla="*/ 3470637 h 3498714"/>
                <a:gd name="connsiteX79" fmla="*/ 4235039 w 6499257"/>
                <a:gd name="connsiteY79" fmla="*/ 3470637 h 3498714"/>
                <a:gd name="connsiteX80" fmla="*/ 4126027 w 6499257"/>
                <a:gd name="connsiteY80" fmla="*/ 3361625 h 3498714"/>
                <a:gd name="connsiteX81" fmla="*/ 4126027 w 6499257"/>
                <a:gd name="connsiteY81" fmla="*/ 3124562 h 3498714"/>
                <a:gd name="connsiteX82" fmla="*/ 2589325 w 6499257"/>
                <a:gd name="connsiteY82" fmla="*/ 3124562 h 3498714"/>
                <a:gd name="connsiteX83" fmla="*/ 2589325 w 6499257"/>
                <a:gd name="connsiteY83" fmla="*/ 3361625 h 3498714"/>
                <a:gd name="connsiteX84" fmla="*/ 2480313 w 6499257"/>
                <a:gd name="connsiteY84" fmla="*/ 3470637 h 3498714"/>
                <a:gd name="connsiteX85" fmla="*/ 2279239 w 6499257"/>
                <a:gd name="connsiteY85" fmla="*/ 3470637 h 3498714"/>
                <a:gd name="connsiteX86" fmla="*/ 2170227 w 6499257"/>
                <a:gd name="connsiteY86" fmla="*/ 3361625 h 3498714"/>
                <a:gd name="connsiteX87" fmla="*/ 2170227 w 6499257"/>
                <a:gd name="connsiteY87" fmla="*/ 3124562 h 3498714"/>
                <a:gd name="connsiteX88" fmla="*/ 2052754 w 6499257"/>
                <a:gd name="connsiteY88" fmla="*/ 3124562 h 3498714"/>
                <a:gd name="connsiteX89" fmla="*/ 1941629 w 6499257"/>
                <a:gd name="connsiteY89" fmla="*/ 3013437 h 3498714"/>
                <a:gd name="connsiteX90" fmla="*/ 2052754 w 6499257"/>
                <a:gd name="connsiteY90" fmla="*/ 2902312 h 3498714"/>
                <a:gd name="connsiteX91" fmla="*/ 682782 w 6499257"/>
                <a:gd name="connsiteY91" fmla="*/ 0 h 3498714"/>
                <a:gd name="connsiteX92" fmla="*/ 4492583 w 6499257"/>
                <a:gd name="connsiteY92" fmla="*/ 2089512 h 3498714"/>
                <a:gd name="connsiteX93" fmla="*/ 4311608 w 6499257"/>
                <a:gd name="connsiteY93" fmla="*/ 2270487 h 3498714"/>
                <a:gd name="connsiteX94" fmla="*/ 4492583 w 6499257"/>
                <a:gd name="connsiteY94" fmla="*/ 2451462 h 3498714"/>
                <a:gd name="connsiteX95" fmla="*/ 5407618 w 6499257"/>
                <a:gd name="connsiteY95" fmla="*/ 2468742 h 3498714"/>
                <a:gd name="connsiteX96" fmla="*/ 6498753 w 6499257"/>
                <a:gd name="connsiteY96" fmla="*/ 2404799 h 3498714"/>
                <a:gd name="connsiteX97" fmla="*/ 5388995 w 6499257"/>
                <a:gd name="connsiteY97" fmla="*/ 2075460 h 3498714"/>
                <a:gd name="connsiteX0" fmla="*/ 2979061 w 6462083"/>
                <a:gd name="connsiteY0" fmla="*/ 2089512 h 3498714"/>
                <a:gd name="connsiteX1" fmla="*/ 2671086 w 6462083"/>
                <a:gd name="connsiteY1" fmla="*/ 2397487 h 3498714"/>
                <a:gd name="connsiteX2" fmla="*/ 2671086 w 6462083"/>
                <a:gd name="connsiteY2" fmla="*/ 2584811 h 3498714"/>
                <a:gd name="connsiteX3" fmla="*/ 4083961 w 6462083"/>
                <a:gd name="connsiteY3" fmla="*/ 2584811 h 3498714"/>
                <a:gd name="connsiteX4" fmla="*/ 4083961 w 6462083"/>
                <a:gd name="connsiteY4" fmla="*/ 2397487 h 3498714"/>
                <a:gd name="connsiteX5" fmla="*/ 3775986 w 6462083"/>
                <a:gd name="connsiteY5" fmla="*/ 2089512 h 3498714"/>
                <a:gd name="connsiteX6" fmla="*/ 2979061 w 6462083"/>
                <a:gd name="connsiteY6" fmla="*/ 2089512 h 3498714"/>
                <a:gd name="connsiteX7" fmla="*/ 2251033 w 6462083"/>
                <a:gd name="connsiteY7" fmla="*/ 2089512 h 3498714"/>
                <a:gd name="connsiteX8" fmla="*/ 2070058 w 6462083"/>
                <a:gd name="connsiteY8" fmla="*/ 2270487 h 3498714"/>
                <a:gd name="connsiteX9" fmla="*/ 2251033 w 6462083"/>
                <a:gd name="connsiteY9" fmla="*/ 2451462 h 3498714"/>
                <a:gd name="connsiteX10" fmla="*/ 2432008 w 6462083"/>
                <a:gd name="connsiteY10" fmla="*/ 2270487 h 3498714"/>
                <a:gd name="connsiteX11" fmla="*/ 2251033 w 6462083"/>
                <a:gd name="connsiteY11" fmla="*/ 2089512 h 3498714"/>
                <a:gd name="connsiteX12" fmla="*/ 2842751 w 6462083"/>
                <a:gd name="connsiteY12" fmla="*/ 1749356 h 3498714"/>
                <a:gd name="connsiteX13" fmla="*/ 2392797 w 6462083"/>
                <a:gd name="connsiteY13" fmla="*/ 1878907 h 3498714"/>
                <a:gd name="connsiteX14" fmla="*/ 2478781 w 6462083"/>
                <a:gd name="connsiteY14" fmla="*/ 1920808 h 3498714"/>
                <a:gd name="connsiteX15" fmla="*/ 2842751 w 6462083"/>
                <a:gd name="connsiteY15" fmla="*/ 1749356 h 3498714"/>
                <a:gd name="connsiteX16" fmla="*/ 2534724 w 6462083"/>
                <a:gd name="connsiteY16" fmla="*/ 982297 h 3498714"/>
                <a:gd name="connsiteX17" fmla="*/ 4802103 w 6462083"/>
                <a:gd name="connsiteY17" fmla="*/ 2588456 h 3498714"/>
                <a:gd name="connsiteX18" fmla="*/ 4904699 w 6462083"/>
                <a:gd name="connsiteY18" fmla="*/ 2705462 h 3498714"/>
                <a:gd name="connsiteX19" fmla="*/ 4904698 w 6462083"/>
                <a:gd name="connsiteY19" fmla="*/ 2705462 h 3498714"/>
                <a:gd name="connsiteX20" fmla="*/ 4784047 w 6462083"/>
                <a:gd name="connsiteY20" fmla="*/ 2826113 h 3498714"/>
                <a:gd name="connsiteX21" fmla="*/ 1970999 w 6462083"/>
                <a:gd name="connsiteY21" fmla="*/ 2826112 h 3498714"/>
                <a:gd name="connsiteX22" fmla="*/ 1850348 w 6462083"/>
                <a:gd name="connsiteY22" fmla="*/ 2705462 h 3498714"/>
                <a:gd name="connsiteX23" fmla="*/ 1956769 w 6462083"/>
                <a:gd name="connsiteY23" fmla="*/ 2587684 h 3498714"/>
                <a:gd name="connsiteX24" fmla="*/ 1823360 w 6462083"/>
                <a:gd name="connsiteY24" fmla="*/ 2279217 h 3498714"/>
                <a:gd name="connsiteX25" fmla="*/ 2217440 w 6462083"/>
                <a:gd name="connsiteY25" fmla="*/ 1856216 h 3498714"/>
                <a:gd name="connsiteX26" fmla="*/ 2534724 w 6462083"/>
                <a:gd name="connsiteY26" fmla="*/ 982297 h 3498714"/>
                <a:gd name="connsiteX27" fmla="*/ 358791 w 6462083"/>
                <a:gd name="connsiteY27" fmla="*/ 644545 h 3498714"/>
                <a:gd name="connsiteX28" fmla="*/ 1006774 w 6462083"/>
                <a:gd name="connsiteY28" fmla="*/ 644545 h 3498714"/>
                <a:gd name="connsiteX29" fmla="*/ 1542636 w 6462083"/>
                <a:gd name="connsiteY29" fmla="*/ 1193969 h 3498714"/>
                <a:gd name="connsiteX30" fmla="*/ 1929878 w 6462083"/>
                <a:gd name="connsiteY30" fmla="*/ 1193970 h 3498714"/>
                <a:gd name="connsiteX31" fmla="*/ 2070059 w 6462083"/>
                <a:gd name="connsiteY31" fmla="*/ 1334152 h 3498714"/>
                <a:gd name="connsiteX32" fmla="*/ 1929878 w 6462083"/>
                <a:gd name="connsiteY32" fmla="*/ 1474333 h 3498714"/>
                <a:gd name="connsiteX33" fmla="*/ 1520943 w 6462083"/>
                <a:gd name="connsiteY33" fmla="*/ 1470388 h 3498714"/>
                <a:gd name="connsiteX34" fmla="*/ 1332825 w 6462083"/>
                <a:gd name="connsiteY34" fmla="*/ 1367201 h 3498714"/>
                <a:gd name="connsiteX35" fmla="*/ 1106501 w 6462083"/>
                <a:gd name="connsiteY35" fmla="*/ 1098289 h 3498714"/>
                <a:gd name="connsiteX36" fmla="*/ 1101049 w 6462083"/>
                <a:gd name="connsiteY36" fmla="*/ 1092836 h 3498714"/>
                <a:gd name="connsiteX37" fmla="*/ 1046523 w 6462083"/>
                <a:gd name="connsiteY37" fmla="*/ 1092836 h 3498714"/>
                <a:gd name="connsiteX38" fmla="*/ 1041071 w 6462083"/>
                <a:gd name="connsiteY38" fmla="*/ 1098289 h 3498714"/>
                <a:gd name="connsiteX39" fmla="*/ 1042136 w 6462083"/>
                <a:gd name="connsiteY39" fmla="*/ 1419754 h 3498714"/>
                <a:gd name="connsiteX40" fmla="*/ 1042136 w 6462083"/>
                <a:gd name="connsiteY40" fmla="*/ 3337652 h 3498714"/>
                <a:gd name="connsiteX41" fmla="*/ 881075 w 6462083"/>
                <a:gd name="connsiteY41" fmla="*/ 3498714 h 3498714"/>
                <a:gd name="connsiteX42" fmla="*/ 720012 w 6462083"/>
                <a:gd name="connsiteY42" fmla="*/ 3337652 h 3498714"/>
                <a:gd name="connsiteX43" fmla="*/ 720012 w 6462083"/>
                <a:gd name="connsiteY43" fmla="*/ 2125717 h 3498714"/>
                <a:gd name="connsiteX44" fmla="*/ 718947 w 6462083"/>
                <a:gd name="connsiteY44" fmla="*/ 2033194 h 3498714"/>
                <a:gd name="connsiteX45" fmla="*/ 714162 w 6462083"/>
                <a:gd name="connsiteY45" fmla="*/ 2028410 h 3498714"/>
                <a:gd name="connsiteX46" fmla="*/ 654759 w 6462083"/>
                <a:gd name="connsiteY46" fmla="*/ 2028410 h 3498714"/>
                <a:gd name="connsiteX47" fmla="*/ 649974 w 6462083"/>
                <a:gd name="connsiteY47" fmla="*/ 2033194 h 3498714"/>
                <a:gd name="connsiteX48" fmla="*/ 649974 w 6462083"/>
                <a:gd name="connsiteY48" fmla="*/ 2125717 h 3498714"/>
                <a:gd name="connsiteX49" fmla="*/ 649574 w 6462083"/>
                <a:gd name="connsiteY49" fmla="*/ 3337652 h 3498714"/>
                <a:gd name="connsiteX50" fmla="*/ 488511 w 6462083"/>
                <a:gd name="connsiteY50" fmla="*/ 3498714 h 3498714"/>
                <a:gd name="connsiteX51" fmla="*/ 327450 w 6462083"/>
                <a:gd name="connsiteY51" fmla="*/ 3337652 h 3498714"/>
                <a:gd name="connsiteX52" fmla="*/ 327450 w 6462083"/>
                <a:gd name="connsiteY52" fmla="*/ 1458216 h 3498714"/>
                <a:gd name="connsiteX53" fmla="*/ 322427 w 6462083"/>
                <a:gd name="connsiteY53" fmla="*/ 1098205 h 3498714"/>
                <a:gd name="connsiteX54" fmla="*/ 317058 w 6462083"/>
                <a:gd name="connsiteY54" fmla="*/ 1092836 h 3498714"/>
                <a:gd name="connsiteX55" fmla="*/ 263371 w 6462083"/>
                <a:gd name="connsiteY55" fmla="*/ 1092836 h 3498714"/>
                <a:gd name="connsiteX56" fmla="*/ 258001 w 6462083"/>
                <a:gd name="connsiteY56" fmla="*/ 1098205 h 3498714"/>
                <a:gd name="connsiteX57" fmla="*/ 258001 w 6462083"/>
                <a:gd name="connsiteY57" fmla="*/ 1444446 h 3498714"/>
                <a:gd name="connsiteX58" fmla="*/ 257700 w 6462083"/>
                <a:gd name="connsiteY58" fmla="*/ 1444370 h 3498714"/>
                <a:gd name="connsiteX59" fmla="*/ 257700 w 6462083"/>
                <a:gd name="connsiteY59" fmla="*/ 1912573 h 3498714"/>
                <a:gd name="connsiteX60" fmla="*/ 128850 w 6462083"/>
                <a:gd name="connsiteY60" fmla="*/ 2041423 h 3498714"/>
                <a:gd name="connsiteX61" fmla="*/ 0 w 6462083"/>
                <a:gd name="connsiteY61" fmla="*/ 1912573 h 3498714"/>
                <a:gd name="connsiteX62" fmla="*/ 0 w 6462083"/>
                <a:gd name="connsiteY62" fmla="*/ 1101802 h 3498714"/>
                <a:gd name="connsiteX63" fmla="*/ 0 w 6462083"/>
                <a:gd name="connsiteY63" fmla="*/ 1003338 h 3498714"/>
                <a:gd name="connsiteX64" fmla="*/ 0 w 6462083"/>
                <a:gd name="connsiteY64" fmla="*/ 982486 h 3498714"/>
                <a:gd name="connsiteX65" fmla="*/ 12733 w 6462083"/>
                <a:gd name="connsiteY65" fmla="*/ 894663 h 3498714"/>
                <a:gd name="connsiteX66" fmla="*/ 20539 w 6462083"/>
                <a:gd name="connsiteY66" fmla="*/ 868773 h 3498714"/>
                <a:gd name="connsiteX67" fmla="*/ 358791 w 6462083"/>
                <a:gd name="connsiteY67" fmla="*/ 644545 h 3498714"/>
                <a:gd name="connsiteX68" fmla="*/ 682782 w 6462083"/>
                <a:gd name="connsiteY68" fmla="*/ 0 h 3498714"/>
                <a:gd name="connsiteX69" fmla="*/ 966919 w 6462083"/>
                <a:gd name="connsiteY69" fmla="*/ 284138 h 3498714"/>
                <a:gd name="connsiteX70" fmla="*/ 682782 w 6462083"/>
                <a:gd name="connsiteY70" fmla="*/ 568275 h 3498714"/>
                <a:gd name="connsiteX71" fmla="*/ 398645 w 6462083"/>
                <a:gd name="connsiteY71" fmla="*/ 284138 h 3498714"/>
                <a:gd name="connsiteX72" fmla="*/ 682782 w 6462083"/>
                <a:gd name="connsiteY72" fmla="*/ 0 h 3498714"/>
                <a:gd name="connsiteX73" fmla="*/ 4707054 w 6462083"/>
                <a:gd name="connsiteY73" fmla="*/ 2902312 h 3498714"/>
                <a:gd name="connsiteX74" fmla="*/ 4818179 w 6462083"/>
                <a:gd name="connsiteY74" fmla="*/ 3013437 h 3498714"/>
                <a:gd name="connsiteX75" fmla="*/ 4707054 w 6462083"/>
                <a:gd name="connsiteY75" fmla="*/ 3124562 h 3498714"/>
                <a:gd name="connsiteX76" fmla="*/ 4545125 w 6462083"/>
                <a:gd name="connsiteY76" fmla="*/ 3124562 h 3498714"/>
                <a:gd name="connsiteX77" fmla="*/ 4545125 w 6462083"/>
                <a:gd name="connsiteY77" fmla="*/ 3361625 h 3498714"/>
                <a:gd name="connsiteX78" fmla="*/ 4436113 w 6462083"/>
                <a:gd name="connsiteY78" fmla="*/ 3470637 h 3498714"/>
                <a:gd name="connsiteX79" fmla="*/ 4235039 w 6462083"/>
                <a:gd name="connsiteY79" fmla="*/ 3470637 h 3498714"/>
                <a:gd name="connsiteX80" fmla="*/ 4126027 w 6462083"/>
                <a:gd name="connsiteY80" fmla="*/ 3361625 h 3498714"/>
                <a:gd name="connsiteX81" fmla="*/ 4126027 w 6462083"/>
                <a:gd name="connsiteY81" fmla="*/ 3124562 h 3498714"/>
                <a:gd name="connsiteX82" fmla="*/ 2589325 w 6462083"/>
                <a:gd name="connsiteY82" fmla="*/ 3124562 h 3498714"/>
                <a:gd name="connsiteX83" fmla="*/ 2589325 w 6462083"/>
                <a:gd name="connsiteY83" fmla="*/ 3361625 h 3498714"/>
                <a:gd name="connsiteX84" fmla="*/ 2480313 w 6462083"/>
                <a:gd name="connsiteY84" fmla="*/ 3470637 h 3498714"/>
                <a:gd name="connsiteX85" fmla="*/ 2279239 w 6462083"/>
                <a:gd name="connsiteY85" fmla="*/ 3470637 h 3498714"/>
                <a:gd name="connsiteX86" fmla="*/ 2170227 w 6462083"/>
                <a:gd name="connsiteY86" fmla="*/ 3361625 h 3498714"/>
                <a:gd name="connsiteX87" fmla="*/ 2170227 w 6462083"/>
                <a:gd name="connsiteY87" fmla="*/ 3124562 h 3498714"/>
                <a:gd name="connsiteX88" fmla="*/ 2052754 w 6462083"/>
                <a:gd name="connsiteY88" fmla="*/ 3124562 h 3498714"/>
                <a:gd name="connsiteX89" fmla="*/ 1941629 w 6462083"/>
                <a:gd name="connsiteY89" fmla="*/ 3013437 h 3498714"/>
                <a:gd name="connsiteX90" fmla="*/ 2052754 w 6462083"/>
                <a:gd name="connsiteY90" fmla="*/ 2902312 h 3498714"/>
                <a:gd name="connsiteX91" fmla="*/ 682782 w 6462083"/>
                <a:gd name="connsiteY91" fmla="*/ 0 h 3498714"/>
                <a:gd name="connsiteX92" fmla="*/ 4492583 w 6462083"/>
                <a:gd name="connsiteY92" fmla="*/ 2089512 h 3498714"/>
                <a:gd name="connsiteX93" fmla="*/ 4311608 w 6462083"/>
                <a:gd name="connsiteY93" fmla="*/ 2270487 h 3498714"/>
                <a:gd name="connsiteX94" fmla="*/ 4492583 w 6462083"/>
                <a:gd name="connsiteY94" fmla="*/ 2451462 h 3498714"/>
                <a:gd name="connsiteX95" fmla="*/ 5407618 w 6462083"/>
                <a:gd name="connsiteY95" fmla="*/ 2468742 h 3498714"/>
                <a:gd name="connsiteX96" fmla="*/ 6461556 w 6462083"/>
                <a:gd name="connsiteY96" fmla="*/ 2404799 h 3498714"/>
                <a:gd name="connsiteX97" fmla="*/ 5388995 w 6462083"/>
                <a:gd name="connsiteY97" fmla="*/ 2075460 h 3498714"/>
                <a:gd name="connsiteX0" fmla="*/ 2979061 w 5470282"/>
                <a:gd name="connsiteY0" fmla="*/ 2089512 h 3498714"/>
                <a:gd name="connsiteX1" fmla="*/ 2671086 w 5470282"/>
                <a:gd name="connsiteY1" fmla="*/ 2397487 h 3498714"/>
                <a:gd name="connsiteX2" fmla="*/ 2671086 w 5470282"/>
                <a:gd name="connsiteY2" fmla="*/ 2584811 h 3498714"/>
                <a:gd name="connsiteX3" fmla="*/ 4083961 w 5470282"/>
                <a:gd name="connsiteY3" fmla="*/ 2584811 h 3498714"/>
                <a:gd name="connsiteX4" fmla="*/ 4083961 w 5470282"/>
                <a:gd name="connsiteY4" fmla="*/ 2397487 h 3498714"/>
                <a:gd name="connsiteX5" fmla="*/ 3775986 w 5470282"/>
                <a:gd name="connsiteY5" fmla="*/ 2089512 h 3498714"/>
                <a:gd name="connsiteX6" fmla="*/ 2979061 w 5470282"/>
                <a:gd name="connsiteY6" fmla="*/ 2089512 h 3498714"/>
                <a:gd name="connsiteX7" fmla="*/ 2251033 w 5470282"/>
                <a:gd name="connsiteY7" fmla="*/ 2089512 h 3498714"/>
                <a:gd name="connsiteX8" fmla="*/ 2070058 w 5470282"/>
                <a:gd name="connsiteY8" fmla="*/ 2270487 h 3498714"/>
                <a:gd name="connsiteX9" fmla="*/ 2251033 w 5470282"/>
                <a:gd name="connsiteY9" fmla="*/ 2451462 h 3498714"/>
                <a:gd name="connsiteX10" fmla="*/ 2432008 w 5470282"/>
                <a:gd name="connsiteY10" fmla="*/ 2270487 h 3498714"/>
                <a:gd name="connsiteX11" fmla="*/ 2251033 w 5470282"/>
                <a:gd name="connsiteY11" fmla="*/ 2089512 h 3498714"/>
                <a:gd name="connsiteX12" fmla="*/ 2842751 w 5470282"/>
                <a:gd name="connsiteY12" fmla="*/ 1749356 h 3498714"/>
                <a:gd name="connsiteX13" fmla="*/ 2392797 w 5470282"/>
                <a:gd name="connsiteY13" fmla="*/ 1878907 h 3498714"/>
                <a:gd name="connsiteX14" fmla="*/ 2478781 w 5470282"/>
                <a:gd name="connsiteY14" fmla="*/ 1920808 h 3498714"/>
                <a:gd name="connsiteX15" fmla="*/ 2842751 w 5470282"/>
                <a:gd name="connsiteY15" fmla="*/ 1749356 h 3498714"/>
                <a:gd name="connsiteX16" fmla="*/ 2534724 w 5470282"/>
                <a:gd name="connsiteY16" fmla="*/ 982297 h 3498714"/>
                <a:gd name="connsiteX17" fmla="*/ 4802103 w 5470282"/>
                <a:gd name="connsiteY17" fmla="*/ 2588456 h 3498714"/>
                <a:gd name="connsiteX18" fmla="*/ 4904699 w 5470282"/>
                <a:gd name="connsiteY18" fmla="*/ 2705462 h 3498714"/>
                <a:gd name="connsiteX19" fmla="*/ 4904698 w 5470282"/>
                <a:gd name="connsiteY19" fmla="*/ 2705462 h 3498714"/>
                <a:gd name="connsiteX20" fmla="*/ 4784047 w 5470282"/>
                <a:gd name="connsiteY20" fmla="*/ 2826113 h 3498714"/>
                <a:gd name="connsiteX21" fmla="*/ 1970999 w 5470282"/>
                <a:gd name="connsiteY21" fmla="*/ 2826112 h 3498714"/>
                <a:gd name="connsiteX22" fmla="*/ 1850348 w 5470282"/>
                <a:gd name="connsiteY22" fmla="*/ 2705462 h 3498714"/>
                <a:gd name="connsiteX23" fmla="*/ 1956769 w 5470282"/>
                <a:gd name="connsiteY23" fmla="*/ 2587684 h 3498714"/>
                <a:gd name="connsiteX24" fmla="*/ 1823360 w 5470282"/>
                <a:gd name="connsiteY24" fmla="*/ 2279217 h 3498714"/>
                <a:gd name="connsiteX25" fmla="*/ 2217440 w 5470282"/>
                <a:gd name="connsiteY25" fmla="*/ 1856216 h 3498714"/>
                <a:gd name="connsiteX26" fmla="*/ 2534724 w 5470282"/>
                <a:gd name="connsiteY26" fmla="*/ 982297 h 3498714"/>
                <a:gd name="connsiteX27" fmla="*/ 358791 w 5470282"/>
                <a:gd name="connsiteY27" fmla="*/ 644545 h 3498714"/>
                <a:gd name="connsiteX28" fmla="*/ 1006774 w 5470282"/>
                <a:gd name="connsiteY28" fmla="*/ 644545 h 3498714"/>
                <a:gd name="connsiteX29" fmla="*/ 1542636 w 5470282"/>
                <a:gd name="connsiteY29" fmla="*/ 1193969 h 3498714"/>
                <a:gd name="connsiteX30" fmla="*/ 1929878 w 5470282"/>
                <a:gd name="connsiteY30" fmla="*/ 1193970 h 3498714"/>
                <a:gd name="connsiteX31" fmla="*/ 2070059 w 5470282"/>
                <a:gd name="connsiteY31" fmla="*/ 1334152 h 3498714"/>
                <a:gd name="connsiteX32" fmla="*/ 1929878 w 5470282"/>
                <a:gd name="connsiteY32" fmla="*/ 1474333 h 3498714"/>
                <a:gd name="connsiteX33" fmla="*/ 1520943 w 5470282"/>
                <a:gd name="connsiteY33" fmla="*/ 1470388 h 3498714"/>
                <a:gd name="connsiteX34" fmla="*/ 1332825 w 5470282"/>
                <a:gd name="connsiteY34" fmla="*/ 1367201 h 3498714"/>
                <a:gd name="connsiteX35" fmla="*/ 1106501 w 5470282"/>
                <a:gd name="connsiteY35" fmla="*/ 1098289 h 3498714"/>
                <a:gd name="connsiteX36" fmla="*/ 1101049 w 5470282"/>
                <a:gd name="connsiteY36" fmla="*/ 1092836 h 3498714"/>
                <a:gd name="connsiteX37" fmla="*/ 1046523 w 5470282"/>
                <a:gd name="connsiteY37" fmla="*/ 1092836 h 3498714"/>
                <a:gd name="connsiteX38" fmla="*/ 1041071 w 5470282"/>
                <a:gd name="connsiteY38" fmla="*/ 1098289 h 3498714"/>
                <a:gd name="connsiteX39" fmla="*/ 1042136 w 5470282"/>
                <a:gd name="connsiteY39" fmla="*/ 1419754 h 3498714"/>
                <a:gd name="connsiteX40" fmla="*/ 1042136 w 5470282"/>
                <a:gd name="connsiteY40" fmla="*/ 3337652 h 3498714"/>
                <a:gd name="connsiteX41" fmla="*/ 881075 w 5470282"/>
                <a:gd name="connsiteY41" fmla="*/ 3498714 h 3498714"/>
                <a:gd name="connsiteX42" fmla="*/ 720012 w 5470282"/>
                <a:gd name="connsiteY42" fmla="*/ 3337652 h 3498714"/>
                <a:gd name="connsiteX43" fmla="*/ 720012 w 5470282"/>
                <a:gd name="connsiteY43" fmla="*/ 2125717 h 3498714"/>
                <a:gd name="connsiteX44" fmla="*/ 718947 w 5470282"/>
                <a:gd name="connsiteY44" fmla="*/ 2033194 h 3498714"/>
                <a:gd name="connsiteX45" fmla="*/ 714162 w 5470282"/>
                <a:gd name="connsiteY45" fmla="*/ 2028410 h 3498714"/>
                <a:gd name="connsiteX46" fmla="*/ 654759 w 5470282"/>
                <a:gd name="connsiteY46" fmla="*/ 2028410 h 3498714"/>
                <a:gd name="connsiteX47" fmla="*/ 649974 w 5470282"/>
                <a:gd name="connsiteY47" fmla="*/ 2033194 h 3498714"/>
                <a:gd name="connsiteX48" fmla="*/ 649974 w 5470282"/>
                <a:gd name="connsiteY48" fmla="*/ 2125717 h 3498714"/>
                <a:gd name="connsiteX49" fmla="*/ 649574 w 5470282"/>
                <a:gd name="connsiteY49" fmla="*/ 3337652 h 3498714"/>
                <a:gd name="connsiteX50" fmla="*/ 488511 w 5470282"/>
                <a:gd name="connsiteY50" fmla="*/ 3498714 h 3498714"/>
                <a:gd name="connsiteX51" fmla="*/ 327450 w 5470282"/>
                <a:gd name="connsiteY51" fmla="*/ 3337652 h 3498714"/>
                <a:gd name="connsiteX52" fmla="*/ 327450 w 5470282"/>
                <a:gd name="connsiteY52" fmla="*/ 1458216 h 3498714"/>
                <a:gd name="connsiteX53" fmla="*/ 322427 w 5470282"/>
                <a:gd name="connsiteY53" fmla="*/ 1098205 h 3498714"/>
                <a:gd name="connsiteX54" fmla="*/ 317058 w 5470282"/>
                <a:gd name="connsiteY54" fmla="*/ 1092836 h 3498714"/>
                <a:gd name="connsiteX55" fmla="*/ 263371 w 5470282"/>
                <a:gd name="connsiteY55" fmla="*/ 1092836 h 3498714"/>
                <a:gd name="connsiteX56" fmla="*/ 258001 w 5470282"/>
                <a:gd name="connsiteY56" fmla="*/ 1098205 h 3498714"/>
                <a:gd name="connsiteX57" fmla="*/ 258001 w 5470282"/>
                <a:gd name="connsiteY57" fmla="*/ 1444446 h 3498714"/>
                <a:gd name="connsiteX58" fmla="*/ 257700 w 5470282"/>
                <a:gd name="connsiteY58" fmla="*/ 1444370 h 3498714"/>
                <a:gd name="connsiteX59" fmla="*/ 257700 w 5470282"/>
                <a:gd name="connsiteY59" fmla="*/ 1912573 h 3498714"/>
                <a:gd name="connsiteX60" fmla="*/ 128850 w 5470282"/>
                <a:gd name="connsiteY60" fmla="*/ 2041423 h 3498714"/>
                <a:gd name="connsiteX61" fmla="*/ 0 w 5470282"/>
                <a:gd name="connsiteY61" fmla="*/ 1912573 h 3498714"/>
                <a:gd name="connsiteX62" fmla="*/ 0 w 5470282"/>
                <a:gd name="connsiteY62" fmla="*/ 1101802 h 3498714"/>
                <a:gd name="connsiteX63" fmla="*/ 0 w 5470282"/>
                <a:gd name="connsiteY63" fmla="*/ 1003338 h 3498714"/>
                <a:gd name="connsiteX64" fmla="*/ 0 w 5470282"/>
                <a:gd name="connsiteY64" fmla="*/ 982486 h 3498714"/>
                <a:gd name="connsiteX65" fmla="*/ 12733 w 5470282"/>
                <a:gd name="connsiteY65" fmla="*/ 894663 h 3498714"/>
                <a:gd name="connsiteX66" fmla="*/ 20539 w 5470282"/>
                <a:gd name="connsiteY66" fmla="*/ 868773 h 3498714"/>
                <a:gd name="connsiteX67" fmla="*/ 358791 w 5470282"/>
                <a:gd name="connsiteY67" fmla="*/ 644545 h 3498714"/>
                <a:gd name="connsiteX68" fmla="*/ 682782 w 5470282"/>
                <a:gd name="connsiteY68" fmla="*/ 0 h 3498714"/>
                <a:gd name="connsiteX69" fmla="*/ 966919 w 5470282"/>
                <a:gd name="connsiteY69" fmla="*/ 284138 h 3498714"/>
                <a:gd name="connsiteX70" fmla="*/ 682782 w 5470282"/>
                <a:gd name="connsiteY70" fmla="*/ 568275 h 3498714"/>
                <a:gd name="connsiteX71" fmla="*/ 398645 w 5470282"/>
                <a:gd name="connsiteY71" fmla="*/ 284138 h 3498714"/>
                <a:gd name="connsiteX72" fmla="*/ 682782 w 5470282"/>
                <a:gd name="connsiteY72" fmla="*/ 0 h 3498714"/>
                <a:gd name="connsiteX73" fmla="*/ 4707054 w 5470282"/>
                <a:gd name="connsiteY73" fmla="*/ 2902312 h 3498714"/>
                <a:gd name="connsiteX74" fmla="*/ 4818179 w 5470282"/>
                <a:gd name="connsiteY74" fmla="*/ 3013437 h 3498714"/>
                <a:gd name="connsiteX75" fmla="*/ 4707054 w 5470282"/>
                <a:gd name="connsiteY75" fmla="*/ 3124562 h 3498714"/>
                <a:gd name="connsiteX76" fmla="*/ 4545125 w 5470282"/>
                <a:gd name="connsiteY76" fmla="*/ 3124562 h 3498714"/>
                <a:gd name="connsiteX77" fmla="*/ 4545125 w 5470282"/>
                <a:gd name="connsiteY77" fmla="*/ 3361625 h 3498714"/>
                <a:gd name="connsiteX78" fmla="*/ 4436113 w 5470282"/>
                <a:gd name="connsiteY78" fmla="*/ 3470637 h 3498714"/>
                <a:gd name="connsiteX79" fmla="*/ 4235039 w 5470282"/>
                <a:gd name="connsiteY79" fmla="*/ 3470637 h 3498714"/>
                <a:gd name="connsiteX80" fmla="*/ 4126027 w 5470282"/>
                <a:gd name="connsiteY80" fmla="*/ 3361625 h 3498714"/>
                <a:gd name="connsiteX81" fmla="*/ 4126027 w 5470282"/>
                <a:gd name="connsiteY81" fmla="*/ 3124562 h 3498714"/>
                <a:gd name="connsiteX82" fmla="*/ 2589325 w 5470282"/>
                <a:gd name="connsiteY82" fmla="*/ 3124562 h 3498714"/>
                <a:gd name="connsiteX83" fmla="*/ 2589325 w 5470282"/>
                <a:gd name="connsiteY83" fmla="*/ 3361625 h 3498714"/>
                <a:gd name="connsiteX84" fmla="*/ 2480313 w 5470282"/>
                <a:gd name="connsiteY84" fmla="*/ 3470637 h 3498714"/>
                <a:gd name="connsiteX85" fmla="*/ 2279239 w 5470282"/>
                <a:gd name="connsiteY85" fmla="*/ 3470637 h 3498714"/>
                <a:gd name="connsiteX86" fmla="*/ 2170227 w 5470282"/>
                <a:gd name="connsiteY86" fmla="*/ 3361625 h 3498714"/>
                <a:gd name="connsiteX87" fmla="*/ 2170227 w 5470282"/>
                <a:gd name="connsiteY87" fmla="*/ 3124562 h 3498714"/>
                <a:gd name="connsiteX88" fmla="*/ 2052754 w 5470282"/>
                <a:gd name="connsiteY88" fmla="*/ 3124562 h 3498714"/>
                <a:gd name="connsiteX89" fmla="*/ 1941629 w 5470282"/>
                <a:gd name="connsiteY89" fmla="*/ 3013437 h 3498714"/>
                <a:gd name="connsiteX90" fmla="*/ 2052754 w 5470282"/>
                <a:gd name="connsiteY90" fmla="*/ 2902312 h 3498714"/>
                <a:gd name="connsiteX91" fmla="*/ 682782 w 5470282"/>
                <a:gd name="connsiteY91" fmla="*/ 0 h 3498714"/>
                <a:gd name="connsiteX92" fmla="*/ 4492583 w 5470282"/>
                <a:gd name="connsiteY92" fmla="*/ 2089512 h 3498714"/>
                <a:gd name="connsiteX93" fmla="*/ 4311608 w 5470282"/>
                <a:gd name="connsiteY93" fmla="*/ 2270487 h 3498714"/>
                <a:gd name="connsiteX94" fmla="*/ 4492583 w 5470282"/>
                <a:gd name="connsiteY94" fmla="*/ 2451462 h 3498714"/>
                <a:gd name="connsiteX95" fmla="*/ 5407618 w 5470282"/>
                <a:gd name="connsiteY95" fmla="*/ 2468742 h 3498714"/>
                <a:gd name="connsiteX96" fmla="*/ 5388995 w 5470282"/>
                <a:gd name="connsiteY96" fmla="*/ 2075460 h 3498714"/>
                <a:gd name="connsiteX0" fmla="*/ 2979061 w 5388995"/>
                <a:gd name="connsiteY0" fmla="*/ 2089512 h 3498714"/>
                <a:gd name="connsiteX1" fmla="*/ 2671086 w 5388995"/>
                <a:gd name="connsiteY1" fmla="*/ 2397487 h 3498714"/>
                <a:gd name="connsiteX2" fmla="*/ 2671086 w 5388995"/>
                <a:gd name="connsiteY2" fmla="*/ 2584811 h 3498714"/>
                <a:gd name="connsiteX3" fmla="*/ 4083961 w 5388995"/>
                <a:gd name="connsiteY3" fmla="*/ 2584811 h 3498714"/>
                <a:gd name="connsiteX4" fmla="*/ 4083961 w 5388995"/>
                <a:gd name="connsiteY4" fmla="*/ 2397487 h 3498714"/>
                <a:gd name="connsiteX5" fmla="*/ 3775986 w 5388995"/>
                <a:gd name="connsiteY5" fmla="*/ 2089512 h 3498714"/>
                <a:gd name="connsiteX6" fmla="*/ 2979061 w 5388995"/>
                <a:gd name="connsiteY6" fmla="*/ 2089512 h 3498714"/>
                <a:gd name="connsiteX7" fmla="*/ 2251033 w 5388995"/>
                <a:gd name="connsiteY7" fmla="*/ 2089512 h 3498714"/>
                <a:gd name="connsiteX8" fmla="*/ 2070058 w 5388995"/>
                <a:gd name="connsiteY8" fmla="*/ 2270487 h 3498714"/>
                <a:gd name="connsiteX9" fmla="*/ 2251033 w 5388995"/>
                <a:gd name="connsiteY9" fmla="*/ 2451462 h 3498714"/>
                <a:gd name="connsiteX10" fmla="*/ 2432008 w 5388995"/>
                <a:gd name="connsiteY10" fmla="*/ 2270487 h 3498714"/>
                <a:gd name="connsiteX11" fmla="*/ 2251033 w 5388995"/>
                <a:gd name="connsiteY11" fmla="*/ 2089512 h 3498714"/>
                <a:gd name="connsiteX12" fmla="*/ 2842751 w 5388995"/>
                <a:gd name="connsiteY12" fmla="*/ 1749356 h 3498714"/>
                <a:gd name="connsiteX13" fmla="*/ 2392797 w 5388995"/>
                <a:gd name="connsiteY13" fmla="*/ 1878907 h 3498714"/>
                <a:gd name="connsiteX14" fmla="*/ 2478781 w 5388995"/>
                <a:gd name="connsiteY14" fmla="*/ 1920808 h 3498714"/>
                <a:gd name="connsiteX15" fmla="*/ 2842751 w 5388995"/>
                <a:gd name="connsiteY15" fmla="*/ 1749356 h 3498714"/>
                <a:gd name="connsiteX16" fmla="*/ 2534724 w 5388995"/>
                <a:gd name="connsiteY16" fmla="*/ 982297 h 3498714"/>
                <a:gd name="connsiteX17" fmla="*/ 4802103 w 5388995"/>
                <a:gd name="connsiteY17" fmla="*/ 2588456 h 3498714"/>
                <a:gd name="connsiteX18" fmla="*/ 4904699 w 5388995"/>
                <a:gd name="connsiteY18" fmla="*/ 2705462 h 3498714"/>
                <a:gd name="connsiteX19" fmla="*/ 4904698 w 5388995"/>
                <a:gd name="connsiteY19" fmla="*/ 2705462 h 3498714"/>
                <a:gd name="connsiteX20" fmla="*/ 4784047 w 5388995"/>
                <a:gd name="connsiteY20" fmla="*/ 2826113 h 3498714"/>
                <a:gd name="connsiteX21" fmla="*/ 1970999 w 5388995"/>
                <a:gd name="connsiteY21" fmla="*/ 2826112 h 3498714"/>
                <a:gd name="connsiteX22" fmla="*/ 1850348 w 5388995"/>
                <a:gd name="connsiteY22" fmla="*/ 2705462 h 3498714"/>
                <a:gd name="connsiteX23" fmla="*/ 1956769 w 5388995"/>
                <a:gd name="connsiteY23" fmla="*/ 2587684 h 3498714"/>
                <a:gd name="connsiteX24" fmla="*/ 1823360 w 5388995"/>
                <a:gd name="connsiteY24" fmla="*/ 2279217 h 3498714"/>
                <a:gd name="connsiteX25" fmla="*/ 2217440 w 5388995"/>
                <a:gd name="connsiteY25" fmla="*/ 1856216 h 3498714"/>
                <a:gd name="connsiteX26" fmla="*/ 2534724 w 5388995"/>
                <a:gd name="connsiteY26" fmla="*/ 982297 h 3498714"/>
                <a:gd name="connsiteX27" fmla="*/ 358791 w 5388995"/>
                <a:gd name="connsiteY27" fmla="*/ 644545 h 3498714"/>
                <a:gd name="connsiteX28" fmla="*/ 1006774 w 5388995"/>
                <a:gd name="connsiteY28" fmla="*/ 644545 h 3498714"/>
                <a:gd name="connsiteX29" fmla="*/ 1542636 w 5388995"/>
                <a:gd name="connsiteY29" fmla="*/ 1193969 h 3498714"/>
                <a:gd name="connsiteX30" fmla="*/ 1929878 w 5388995"/>
                <a:gd name="connsiteY30" fmla="*/ 1193970 h 3498714"/>
                <a:gd name="connsiteX31" fmla="*/ 2070059 w 5388995"/>
                <a:gd name="connsiteY31" fmla="*/ 1334152 h 3498714"/>
                <a:gd name="connsiteX32" fmla="*/ 1929878 w 5388995"/>
                <a:gd name="connsiteY32" fmla="*/ 1474333 h 3498714"/>
                <a:gd name="connsiteX33" fmla="*/ 1520943 w 5388995"/>
                <a:gd name="connsiteY33" fmla="*/ 1470388 h 3498714"/>
                <a:gd name="connsiteX34" fmla="*/ 1332825 w 5388995"/>
                <a:gd name="connsiteY34" fmla="*/ 1367201 h 3498714"/>
                <a:gd name="connsiteX35" fmla="*/ 1106501 w 5388995"/>
                <a:gd name="connsiteY35" fmla="*/ 1098289 h 3498714"/>
                <a:gd name="connsiteX36" fmla="*/ 1101049 w 5388995"/>
                <a:gd name="connsiteY36" fmla="*/ 1092836 h 3498714"/>
                <a:gd name="connsiteX37" fmla="*/ 1046523 w 5388995"/>
                <a:gd name="connsiteY37" fmla="*/ 1092836 h 3498714"/>
                <a:gd name="connsiteX38" fmla="*/ 1041071 w 5388995"/>
                <a:gd name="connsiteY38" fmla="*/ 1098289 h 3498714"/>
                <a:gd name="connsiteX39" fmla="*/ 1042136 w 5388995"/>
                <a:gd name="connsiteY39" fmla="*/ 1419754 h 3498714"/>
                <a:gd name="connsiteX40" fmla="*/ 1042136 w 5388995"/>
                <a:gd name="connsiteY40" fmla="*/ 3337652 h 3498714"/>
                <a:gd name="connsiteX41" fmla="*/ 881075 w 5388995"/>
                <a:gd name="connsiteY41" fmla="*/ 3498714 h 3498714"/>
                <a:gd name="connsiteX42" fmla="*/ 720012 w 5388995"/>
                <a:gd name="connsiteY42" fmla="*/ 3337652 h 3498714"/>
                <a:gd name="connsiteX43" fmla="*/ 720012 w 5388995"/>
                <a:gd name="connsiteY43" fmla="*/ 2125717 h 3498714"/>
                <a:gd name="connsiteX44" fmla="*/ 718947 w 5388995"/>
                <a:gd name="connsiteY44" fmla="*/ 2033194 h 3498714"/>
                <a:gd name="connsiteX45" fmla="*/ 714162 w 5388995"/>
                <a:gd name="connsiteY45" fmla="*/ 2028410 h 3498714"/>
                <a:gd name="connsiteX46" fmla="*/ 654759 w 5388995"/>
                <a:gd name="connsiteY46" fmla="*/ 2028410 h 3498714"/>
                <a:gd name="connsiteX47" fmla="*/ 649974 w 5388995"/>
                <a:gd name="connsiteY47" fmla="*/ 2033194 h 3498714"/>
                <a:gd name="connsiteX48" fmla="*/ 649974 w 5388995"/>
                <a:gd name="connsiteY48" fmla="*/ 2125717 h 3498714"/>
                <a:gd name="connsiteX49" fmla="*/ 649574 w 5388995"/>
                <a:gd name="connsiteY49" fmla="*/ 3337652 h 3498714"/>
                <a:gd name="connsiteX50" fmla="*/ 488511 w 5388995"/>
                <a:gd name="connsiteY50" fmla="*/ 3498714 h 3498714"/>
                <a:gd name="connsiteX51" fmla="*/ 327450 w 5388995"/>
                <a:gd name="connsiteY51" fmla="*/ 3337652 h 3498714"/>
                <a:gd name="connsiteX52" fmla="*/ 327450 w 5388995"/>
                <a:gd name="connsiteY52" fmla="*/ 1458216 h 3498714"/>
                <a:gd name="connsiteX53" fmla="*/ 322427 w 5388995"/>
                <a:gd name="connsiteY53" fmla="*/ 1098205 h 3498714"/>
                <a:gd name="connsiteX54" fmla="*/ 317058 w 5388995"/>
                <a:gd name="connsiteY54" fmla="*/ 1092836 h 3498714"/>
                <a:gd name="connsiteX55" fmla="*/ 263371 w 5388995"/>
                <a:gd name="connsiteY55" fmla="*/ 1092836 h 3498714"/>
                <a:gd name="connsiteX56" fmla="*/ 258001 w 5388995"/>
                <a:gd name="connsiteY56" fmla="*/ 1098205 h 3498714"/>
                <a:gd name="connsiteX57" fmla="*/ 258001 w 5388995"/>
                <a:gd name="connsiteY57" fmla="*/ 1444446 h 3498714"/>
                <a:gd name="connsiteX58" fmla="*/ 257700 w 5388995"/>
                <a:gd name="connsiteY58" fmla="*/ 1444370 h 3498714"/>
                <a:gd name="connsiteX59" fmla="*/ 257700 w 5388995"/>
                <a:gd name="connsiteY59" fmla="*/ 1912573 h 3498714"/>
                <a:gd name="connsiteX60" fmla="*/ 128850 w 5388995"/>
                <a:gd name="connsiteY60" fmla="*/ 2041423 h 3498714"/>
                <a:gd name="connsiteX61" fmla="*/ 0 w 5388995"/>
                <a:gd name="connsiteY61" fmla="*/ 1912573 h 3498714"/>
                <a:gd name="connsiteX62" fmla="*/ 0 w 5388995"/>
                <a:gd name="connsiteY62" fmla="*/ 1101802 h 3498714"/>
                <a:gd name="connsiteX63" fmla="*/ 0 w 5388995"/>
                <a:gd name="connsiteY63" fmla="*/ 1003338 h 3498714"/>
                <a:gd name="connsiteX64" fmla="*/ 0 w 5388995"/>
                <a:gd name="connsiteY64" fmla="*/ 982486 h 3498714"/>
                <a:gd name="connsiteX65" fmla="*/ 12733 w 5388995"/>
                <a:gd name="connsiteY65" fmla="*/ 894663 h 3498714"/>
                <a:gd name="connsiteX66" fmla="*/ 20539 w 5388995"/>
                <a:gd name="connsiteY66" fmla="*/ 868773 h 3498714"/>
                <a:gd name="connsiteX67" fmla="*/ 358791 w 5388995"/>
                <a:gd name="connsiteY67" fmla="*/ 644545 h 3498714"/>
                <a:gd name="connsiteX68" fmla="*/ 682782 w 5388995"/>
                <a:gd name="connsiteY68" fmla="*/ 0 h 3498714"/>
                <a:gd name="connsiteX69" fmla="*/ 966919 w 5388995"/>
                <a:gd name="connsiteY69" fmla="*/ 284138 h 3498714"/>
                <a:gd name="connsiteX70" fmla="*/ 682782 w 5388995"/>
                <a:gd name="connsiteY70" fmla="*/ 568275 h 3498714"/>
                <a:gd name="connsiteX71" fmla="*/ 398645 w 5388995"/>
                <a:gd name="connsiteY71" fmla="*/ 284138 h 3498714"/>
                <a:gd name="connsiteX72" fmla="*/ 682782 w 5388995"/>
                <a:gd name="connsiteY72" fmla="*/ 0 h 3498714"/>
                <a:gd name="connsiteX73" fmla="*/ 4707054 w 5388995"/>
                <a:gd name="connsiteY73" fmla="*/ 2902312 h 3498714"/>
                <a:gd name="connsiteX74" fmla="*/ 4818179 w 5388995"/>
                <a:gd name="connsiteY74" fmla="*/ 3013437 h 3498714"/>
                <a:gd name="connsiteX75" fmla="*/ 4707054 w 5388995"/>
                <a:gd name="connsiteY75" fmla="*/ 3124562 h 3498714"/>
                <a:gd name="connsiteX76" fmla="*/ 4545125 w 5388995"/>
                <a:gd name="connsiteY76" fmla="*/ 3124562 h 3498714"/>
                <a:gd name="connsiteX77" fmla="*/ 4545125 w 5388995"/>
                <a:gd name="connsiteY77" fmla="*/ 3361625 h 3498714"/>
                <a:gd name="connsiteX78" fmla="*/ 4436113 w 5388995"/>
                <a:gd name="connsiteY78" fmla="*/ 3470637 h 3498714"/>
                <a:gd name="connsiteX79" fmla="*/ 4235039 w 5388995"/>
                <a:gd name="connsiteY79" fmla="*/ 3470637 h 3498714"/>
                <a:gd name="connsiteX80" fmla="*/ 4126027 w 5388995"/>
                <a:gd name="connsiteY80" fmla="*/ 3361625 h 3498714"/>
                <a:gd name="connsiteX81" fmla="*/ 4126027 w 5388995"/>
                <a:gd name="connsiteY81" fmla="*/ 3124562 h 3498714"/>
                <a:gd name="connsiteX82" fmla="*/ 2589325 w 5388995"/>
                <a:gd name="connsiteY82" fmla="*/ 3124562 h 3498714"/>
                <a:gd name="connsiteX83" fmla="*/ 2589325 w 5388995"/>
                <a:gd name="connsiteY83" fmla="*/ 3361625 h 3498714"/>
                <a:gd name="connsiteX84" fmla="*/ 2480313 w 5388995"/>
                <a:gd name="connsiteY84" fmla="*/ 3470637 h 3498714"/>
                <a:gd name="connsiteX85" fmla="*/ 2279239 w 5388995"/>
                <a:gd name="connsiteY85" fmla="*/ 3470637 h 3498714"/>
                <a:gd name="connsiteX86" fmla="*/ 2170227 w 5388995"/>
                <a:gd name="connsiteY86" fmla="*/ 3361625 h 3498714"/>
                <a:gd name="connsiteX87" fmla="*/ 2170227 w 5388995"/>
                <a:gd name="connsiteY87" fmla="*/ 3124562 h 3498714"/>
                <a:gd name="connsiteX88" fmla="*/ 2052754 w 5388995"/>
                <a:gd name="connsiteY88" fmla="*/ 3124562 h 3498714"/>
                <a:gd name="connsiteX89" fmla="*/ 1941629 w 5388995"/>
                <a:gd name="connsiteY89" fmla="*/ 3013437 h 3498714"/>
                <a:gd name="connsiteX90" fmla="*/ 2052754 w 5388995"/>
                <a:gd name="connsiteY90" fmla="*/ 2902312 h 3498714"/>
                <a:gd name="connsiteX91" fmla="*/ 682782 w 5388995"/>
                <a:gd name="connsiteY91" fmla="*/ 0 h 3498714"/>
                <a:gd name="connsiteX92" fmla="*/ 4492583 w 5388995"/>
                <a:gd name="connsiteY92" fmla="*/ 2089512 h 3498714"/>
                <a:gd name="connsiteX93" fmla="*/ 4311608 w 5388995"/>
                <a:gd name="connsiteY93" fmla="*/ 2270487 h 3498714"/>
                <a:gd name="connsiteX94" fmla="*/ 4492583 w 5388995"/>
                <a:gd name="connsiteY94" fmla="*/ 2451462 h 3498714"/>
                <a:gd name="connsiteX95" fmla="*/ 5388995 w 5388995"/>
                <a:gd name="connsiteY95" fmla="*/ 2075460 h 3498714"/>
                <a:gd name="connsiteX0" fmla="*/ 2979061 w 4904699"/>
                <a:gd name="connsiteY0" fmla="*/ 2089512 h 3498714"/>
                <a:gd name="connsiteX1" fmla="*/ 2671086 w 4904699"/>
                <a:gd name="connsiteY1" fmla="*/ 2397487 h 3498714"/>
                <a:gd name="connsiteX2" fmla="*/ 2671086 w 4904699"/>
                <a:gd name="connsiteY2" fmla="*/ 2584811 h 3498714"/>
                <a:gd name="connsiteX3" fmla="*/ 4083961 w 4904699"/>
                <a:gd name="connsiteY3" fmla="*/ 2584811 h 3498714"/>
                <a:gd name="connsiteX4" fmla="*/ 4083961 w 4904699"/>
                <a:gd name="connsiteY4" fmla="*/ 2397487 h 3498714"/>
                <a:gd name="connsiteX5" fmla="*/ 3775986 w 4904699"/>
                <a:gd name="connsiteY5" fmla="*/ 2089512 h 3498714"/>
                <a:gd name="connsiteX6" fmla="*/ 2979061 w 4904699"/>
                <a:gd name="connsiteY6" fmla="*/ 2089512 h 3498714"/>
                <a:gd name="connsiteX7" fmla="*/ 2251033 w 4904699"/>
                <a:gd name="connsiteY7" fmla="*/ 2089512 h 3498714"/>
                <a:gd name="connsiteX8" fmla="*/ 2070058 w 4904699"/>
                <a:gd name="connsiteY8" fmla="*/ 2270487 h 3498714"/>
                <a:gd name="connsiteX9" fmla="*/ 2251033 w 4904699"/>
                <a:gd name="connsiteY9" fmla="*/ 2451462 h 3498714"/>
                <a:gd name="connsiteX10" fmla="*/ 2432008 w 4904699"/>
                <a:gd name="connsiteY10" fmla="*/ 2270487 h 3498714"/>
                <a:gd name="connsiteX11" fmla="*/ 2251033 w 4904699"/>
                <a:gd name="connsiteY11" fmla="*/ 2089512 h 3498714"/>
                <a:gd name="connsiteX12" fmla="*/ 2842751 w 4904699"/>
                <a:gd name="connsiteY12" fmla="*/ 1749356 h 3498714"/>
                <a:gd name="connsiteX13" fmla="*/ 2392797 w 4904699"/>
                <a:gd name="connsiteY13" fmla="*/ 1878907 h 3498714"/>
                <a:gd name="connsiteX14" fmla="*/ 2478781 w 4904699"/>
                <a:gd name="connsiteY14" fmla="*/ 1920808 h 3498714"/>
                <a:gd name="connsiteX15" fmla="*/ 2842751 w 4904699"/>
                <a:gd name="connsiteY15" fmla="*/ 1749356 h 3498714"/>
                <a:gd name="connsiteX16" fmla="*/ 2534724 w 4904699"/>
                <a:gd name="connsiteY16" fmla="*/ 982297 h 3498714"/>
                <a:gd name="connsiteX17" fmla="*/ 4802103 w 4904699"/>
                <a:gd name="connsiteY17" fmla="*/ 2588456 h 3498714"/>
                <a:gd name="connsiteX18" fmla="*/ 4904699 w 4904699"/>
                <a:gd name="connsiteY18" fmla="*/ 2705462 h 3498714"/>
                <a:gd name="connsiteX19" fmla="*/ 4904698 w 4904699"/>
                <a:gd name="connsiteY19" fmla="*/ 2705462 h 3498714"/>
                <a:gd name="connsiteX20" fmla="*/ 4784047 w 4904699"/>
                <a:gd name="connsiteY20" fmla="*/ 2826113 h 3498714"/>
                <a:gd name="connsiteX21" fmla="*/ 1970999 w 4904699"/>
                <a:gd name="connsiteY21" fmla="*/ 2826112 h 3498714"/>
                <a:gd name="connsiteX22" fmla="*/ 1850348 w 4904699"/>
                <a:gd name="connsiteY22" fmla="*/ 2705462 h 3498714"/>
                <a:gd name="connsiteX23" fmla="*/ 1956769 w 4904699"/>
                <a:gd name="connsiteY23" fmla="*/ 2587684 h 3498714"/>
                <a:gd name="connsiteX24" fmla="*/ 1823360 w 4904699"/>
                <a:gd name="connsiteY24" fmla="*/ 2279217 h 3498714"/>
                <a:gd name="connsiteX25" fmla="*/ 2217440 w 4904699"/>
                <a:gd name="connsiteY25" fmla="*/ 1856216 h 3498714"/>
                <a:gd name="connsiteX26" fmla="*/ 2534724 w 4904699"/>
                <a:gd name="connsiteY26" fmla="*/ 982297 h 3498714"/>
                <a:gd name="connsiteX27" fmla="*/ 358791 w 4904699"/>
                <a:gd name="connsiteY27" fmla="*/ 644545 h 3498714"/>
                <a:gd name="connsiteX28" fmla="*/ 1006774 w 4904699"/>
                <a:gd name="connsiteY28" fmla="*/ 644545 h 3498714"/>
                <a:gd name="connsiteX29" fmla="*/ 1542636 w 4904699"/>
                <a:gd name="connsiteY29" fmla="*/ 1193969 h 3498714"/>
                <a:gd name="connsiteX30" fmla="*/ 1929878 w 4904699"/>
                <a:gd name="connsiteY30" fmla="*/ 1193970 h 3498714"/>
                <a:gd name="connsiteX31" fmla="*/ 2070059 w 4904699"/>
                <a:gd name="connsiteY31" fmla="*/ 1334152 h 3498714"/>
                <a:gd name="connsiteX32" fmla="*/ 1929878 w 4904699"/>
                <a:gd name="connsiteY32" fmla="*/ 1474333 h 3498714"/>
                <a:gd name="connsiteX33" fmla="*/ 1520943 w 4904699"/>
                <a:gd name="connsiteY33" fmla="*/ 1470388 h 3498714"/>
                <a:gd name="connsiteX34" fmla="*/ 1332825 w 4904699"/>
                <a:gd name="connsiteY34" fmla="*/ 1367201 h 3498714"/>
                <a:gd name="connsiteX35" fmla="*/ 1106501 w 4904699"/>
                <a:gd name="connsiteY35" fmla="*/ 1098289 h 3498714"/>
                <a:gd name="connsiteX36" fmla="*/ 1101049 w 4904699"/>
                <a:gd name="connsiteY36" fmla="*/ 1092836 h 3498714"/>
                <a:gd name="connsiteX37" fmla="*/ 1046523 w 4904699"/>
                <a:gd name="connsiteY37" fmla="*/ 1092836 h 3498714"/>
                <a:gd name="connsiteX38" fmla="*/ 1041071 w 4904699"/>
                <a:gd name="connsiteY38" fmla="*/ 1098289 h 3498714"/>
                <a:gd name="connsiteX39" fmla="*/ 1042136 w 4904699"/>
                <a:gd name="connsiteY39" fmla="*/ 1419754 h 3498714"/>
                <a:gd name="connsiteX40" fmla="*/ 1042136 w 4904699"/>
                <a:gd name="connsiteY40" fmla="*/ 3337652 h 3498714"/>
                <a:gd name="connsiteX41" fmla="*/ 881075 w 4904699"/>
                <a:gd name="connsiteY41" fmla="*/ 3498714 h 3498714"/>
                <a:gd name="connsiteX42" fmla="*/ 720012 w 4904699"/>
                <a:gd name="connsiteY42" fmla="*/ 3337652 h 3498714"/>
                <a:gd name="connsiteX43" fmla="*/ 720012 w 4904699"/>
                <a:gd name="connsiteY43" fmla="*/ 2125717 h 3498714"/>
                <a:gd name="connsiteX44" fmla="*/ 718947 w 4904699"/>
                <a:gd name="connsiteY44" fmla="*/ 2033194 h 3498714"/>
                <a:gd name="connsiteX45" fmla="*/ 714162 w 4904699"/>
                <a:gd name="connsiteY45" fmla="*/ 2028410 h 3498714"/>
                <a:gd name="connsiteX46" fmla="*/ 654759 w 4904699"/>
                <a:gd name="connsiteY46" fmla="*/ 2028410 h 3498714"/>
                <a:gd name="connsiteX47" fmla="*/ 649974 w 4904699"/>
                <a:gd name="connsiteY47" fmla="*/ 2033194 h 3498714"/>
                <a:gd name="connsiteX48" fmla="*/ 649974 w 4904699"/>
                <a:gd name="connsiteY48" fmla="*/ 2125717 h 3498714"/>
                <a:gd name="connsiteX49" fmla="*/ 649574 w 4904699"/>
                <a:gd name="connsiteY49" fmla="*/ 3337652 h 3498714"/>
                <a:gd name="connsiteX50" fmla="*/ 488511 w 4904699"/>
                <a:gd name="connsiteY50" fmla="*/ 3498714 h 3498714"/>
                <a:gd name="connsiteX51" fmla="*/ 327450 w 4904699"/>
                <a:gd name="connsiteY51" fmla="*/ 3337652 h 3498714"/>
                <a:gd name="connsiteX52" fmla="*/ 327450 w 4904699"/>
                <a:gd name="connsiteY52" fmla="*/ 1458216 h 3498714"/>
                <a:gd name="connsiteX53" fmla="*/ 322427 w 4904699"/>
                <a:gd name="connsiteY53" fmla="*/ 1098205 h 3498714"/>
                <a:gd name="connsiteX54" fmla="*/ 317058 w 4904699"/>
                <a:gd name="connsiteY54" fmla="*/ 1092836 h 3498714"/>
                <a:gd name="connsiteX55" fmla="*/ 263371 w 4904699"/>
                <a:gd name="connsiteY55" fmla="*/ 1092836 h 3498714"/>
                <a:gd name="connsiteX56" fmla="*/ 258001 w 4904699"/>
                <a:gd name="connsiteY56" fmla="*/ 1098205 h 3498714"/>
                <a:gd name="connsiteX57" fmla="*/ 258001 w 4904699"/>
                <a:gd name="connsiteY57" fmla="*/ 1444446 h 3498714"/>
                <a:gd name="connsiteX58" fmla="*/ 257700 w 4904699"/>
                <a:gd name="connsiteY58" fmla="*/ 1444370 h 3498714"/>
                <a:gd name="connsiteX59" fmla="*/ 257700 w 4904699"/>
                <a:gd name="connsiteY59" fmla="*/ 1912573 h 3498714"/>
                <a:gd name="connsiteX60" fmla="*/ 128850 w 4904699"/>
                <a:gd name="connsiteY60" fmla="*/ 2041423 h 3498714"/>
                <a:gd name="connsiteX61" fmla="*/ 0 w 4904699"/>
                <a:gd name="connsiteY61" fmla="*/ 1912573 h 3498714"/>
                <a:gd name="connsiteX62" fmla="*/ 0 w 4904699"/>
                <a:gd name="connsiteY62" fmla="*/ 1101802 h 3498714"/>
                <a:gd name="connsiteX63" fmla="*/ 0 w 4904699"/>
                <a:gd name="connsiteY63" fmla="*/ 1003338 h 3498714"/>
                <a:gd name="connsiteX64" fmla="*/ 0 w 4904699"/>
                <a:gd name="connsiteY64" fmla="*/ 982486 h 3498714"/>
                <a:gd name="connsiteX65" fmla="*/ 12733 w 4904699"/>
                <a:gd name="connsiteY65" fmla="*/ 894663 h 3498714"/>
                <a:gd name="connsiteX66" fmla="*/ 20539 w 4904699"/>
                <a:gd name="connsiteY66" fmla="*/ 868773 h 3498714"/>
                <a:gd name="connsiteX67" fmla="*/ 358791 w 4904699"/>
                <a:gd name="connsiteY67" fmla="*/ 644545 h 3498714"/>
                <a:gd name="connsiteX68" fmla="*/ 682782 w 4904699"/>
                <a:gd name="connsiteY68" fmla="*/ 0 h 3498714"/>
                <a:gd name="connsiteX69" fmla="*/ 966919 w 4904699"/>
                <a:gd name="connsiteY69" fmla="*/ 284138 h 3498714"/>
                <a:gd name="connsiteX70" fmla="*/ 682782 w 4904699"/>
                <a:gd name="connsiteY70" fmla="*/ 568275 h 3498714"/>
                <a:gd name="connsiteX71" fmla="*/ 398645 w 4904699"/>
                <a:gd name="connsiteY71" fmla="*/ 284138 h 3498714"/>
                <a:gd name="connsiteX72" fmla="*/ 682782 w 4904699"/>
                <a:gd name="connsiteY72" fmla="*/ 0 h 3498714"/>
                <a:gd name="connsiteX73" fmla="*/ 4707054 w 4904699"/>
                <a:gd name="connsiteY73" fmla="*/ 2902312 h 3498714"/>
                <a:gd name="connsiteX74" fmla="*/ 4818179 w 4904699"/>
                <a:gd name="connsiteY74" fmla="*/ 3013437 h 3498714"/>
                <a:gd name="connsiteX75" fmla="*/ 4707054 w 4904699"/>
                <a:gd name="connsiteY75" fmla="*/ 3124562 h 3498714"/>
                <a:gd name="connsiteX76" fmla="*/ 4545125 w 4904699"/>
                <a:gd name="connsiteY76" fmla="*/ 3124562 h 3498714"/>
                <a:gd name="connsiteX77" fmla="*/ 4545125 w 4904699"/>
                <a:gd name="connsiteY77" fmla="*/ 3361625 h 3498714"/>
                <a:gd name="connsiteX78" fmla="*/ 4436113 w 4904699"/>
                <a:gd name="connsiteY78" fmla="*/ 3470637 h 3498714"/>
                <a:gd name="connsiteX79" fmla="*/ 4235039 w 4904699"/>
                <a:gd name="connsiteY79" fmla="*/ 3470637 h 3498714"/>
                <a:gd name="connsiteX80" fmla="*/ 4126027 w 4904699"/>
                <a:gd name="connsiteY80" fmla="*/ 3361625 h 3498714"/>
                <a:gd name="connsiteX81" fmla="*/ 4126027 w 4904699"/>
                <a:gd name="connsiteY81" fmla="*/ 3124562 h 3498714"/>
                <a:gd name="connsiteX82" fmla="*/ 2589325 w 4904699"/>
                <a:gd name="connsiteY82" fmla="*/ 3124562 h 3498714"/>
                <a:gd name="connsiteX83" fmla="*/ 2589325 w 4904699"/>
                <a:gd name="connsiteY83" fmla="*/ 3361625 h 3498714"/>
                <a:gd name="connsiteX84" fmla="*/ 2480313 w 4904699"/>
                <a:gd name="connsiteY84" fmla="*/ 3470637 h 3498714"/>
                <a:gd name="connsiteX85" fmla="*/ 2279239 w 4904699"/>
                <a:gd name="connsiteY85" fmla="*/ 3470637 h 3498714"/>
                <a:gd name="connsiteX86" fmla="*/ 2170227 w 4904699"/>
                <a:gd name="connsiteY86" fmla="*/ 3361625 h 3498714"/>
                <a:gd name="connsiteX87" fmla="*/ 2170227 w 4904699"/>
                <a:gd name="connsiteY87" fmla="*/ 3124562 h 3498714"/>
                <a:gd name="connsiteX88" fmla="*/ 2052754 w 4904699"/>
                <a:gd name="connsiteY88" fmla="*/ 3124562 h 3498714"/>
                <a:gd name="connsiteX89" fmla="*/ 1941629 w 4904699"/>
                <a:gd name="connsiteY89" fmla="*/ 3013437 h 3498714"/>
                <a:gd name="connsiteX90" fmla="*/ 2052754 w 4904699"/>
                <a:gd name="connsiteY90" fmla="*/ 2902312 h 3498714"/>
                <a:gd name="connsiteX91" fmla="*/ 682782 w 4904699"/>
                <a:gd name="connsiteY91" fmla="*/ 0 h 3498714"/>
                <a:gd name="connsiteX92" fmla="*/ 4492583 w 4904699"/>
                <a:gd name="connsiteY92" fmla="*/ 2089512 h 3498714"/>
                <a:gd name="connsiteX93" fmla="*/ 4311608 w 4904699"/>
                <a:gd name="connsiteY93" fmla="*/ 2270487 h 3498714"/>
                <a:gd name="connsiteX94" fmla="*/ 4492583 w 4904699"/>
                <a:gd name="connsiteY94" fmla="*/ 2451462 h 3498714"/>
                <a:gd name="connsiteX0" fmla="*/ 2979061 w 4904699"/>
                <a:gd name="connsiteY0" fmla="*/ 2089512 h 3498714"/>
                <a:gd name="connsiteX1" fmla="*/ 2671086 w 4904699"/>
                <a:gd name="connsiteY1" fmla="*/ 2397487 h 3498714"/>
                <a:gd name="connsiteX2" fmla="*/ 2671086 w 4904699"/>
                <a:gd name="connsiteY2" fmla="*/ 2584811 h 3498714"/>
                <a:gd name="connsiteX3" fmla="*/ 4083961 w 4904699"/>
                <a:gd name="connsiteY3" fmla="*/ 2584811 h 3498714"/>
                <a:gd name="connsiteX4" fmla="*/ 4083961 w 4904699"/>
                <a:gd name="connsiteY4" fmla="*/ 2397487 h 3498714"/>
                <a:gd name="connsiteX5" fmla="*/ 3775986 w 4904699"/>
                <a:gd name="connsiteY5" fmla="*/ 2089512 h 3498714"/>
                <a:gd name="connsiteX6" fmla="*/ 2979061 w 4904699"/>
                <a:gd name="connsiteY6" fmla="*/ 2089512 h 3498714"/>
                <a:gd name="connsiteX7" fmla="*/ 2251033 w 4904699"/>
                <a:gd name="connsiteY7" fmla="*/ 2089512 h 3498714"/>
                <a:gd name="connsiteX8" fmla="*/ 2070058 w 4904699"/>
                <a:gd name="connsiteY8" fmla="*/ 2270487 h 3498714"/>
                <a:gd name="connsiteX9" fmla="*/ 2251033 w 4904699"/>
                <a:gd name="connsiteY9" fmla="*/ 2451462 h 3498714"/>
                <a:gd name="connsiteX10" fmla="*/ 2432008 w 4904699"/>
                <a:gd name="connsiteY10" fmla="*/ 2270487 h 3498714"/>
                <a:gd name="connsiteX11" fmla="*/ 2251033 w 4904699"/>
                <a:gd name="connsiteY11" fmla="*/ 2089512 h 3498714"/>
                <a:gd name="connsiteX12" fmla="*/ 2842751 w 4904699"/>
                <a:gd name="connsiteY12" fmla="*/ 1749356 h 3498714"/>
                <a:gd name="connsiteX13" fmla="*/ 2392797 w 4904699"/>
                <a:gd name="connsiteY13" fmla="*/ 1878907 h 3498714"/>
                <a:gd name="connsiteX14" fmla="*/ 2478781 w 4904699"/>
                <a:gd name="connsiteY14" fmla="*/ 1920808 h 3498714"/>
                <a:gd name="connsiteX15" fmla="*/ 2842751 w 4904699"/>
                <a:gd name="connsiteY15" fmla="*/ 1749356 h 3498714"/>
                <a:gd name="connsiteX16" fmla="*/ 2534724 w 4904699"/>
                <a:gd name="connsiteY16" fmla="*/ 982297 h 3498714"/>
                <a:gd name="connsiteX17" fmla="*/ 4802103 w 4904699"/>
                <a:gd name="connsiteY17" fmla="*/ 2588456 h 3498714"/>
                <a:gd name="connsiteX18" fmla="*/ 4904699 w 4904699"/>
                <a:gd name="connsiteY18" fmla="*/ 2705462 h 3498714"/>
                <a:gd name="connsiteX19" fmla="*/ 4904698 w 4904699"/>
                <a:gd name="connsiteY19" fmla="*/ 2705462 h 3498714"/>
                <a:gd name="connsiteX20" fmla="*/ 4784047 w 4904699"/>
                <a:gd name="connsiteY20" fmla="*/ 2826113 h 3498714"/>
                <a:gd name="connsiteX21" fmla="*/ 1970999 w 4904699"/>
                <a:gd name="connsiteY21" fmla="*/ 2826112 h 3498714"/>
                <a:gd name="connsiteX22" fmla="*/ 1850348 w 4904699"/>
                <a:gd name="connsiteY22" fmla="*/ 2705462 h 3498714"/>
                <a:gd name="connsiteX23" fmla="*/ 1956769 w 4904699"/>
                <a:gd name="connsiteY23" fmla="*/ 2587684 h 3498714"/>
                <a:gd name="connsiteX24" fmla="*/ 1823360 w 4904699"/>
                <a:gd name="connsiteY24" fmla="*/ 2279217 h 3498714"/>
                <a:gd name="connsiteX25" fmla="*/ 2217440 w 4904699"/>
                <a:gd name="connsiteY25" fmla="*/ 1856216 h 3498714"/>
                <a:gd name="connsiteX26" fmla="*/ 2534724 w 4904699"/>
                <a:gd name="connsiteY26" fmla="*/ 982297 h 3498714"/>
                <a:gd name="connsiteX27" fmla="*/ 358791 w 4904699"/>
                <a:gd name="connsiteY27" fmla="*/ 644545 h 3498714"/>
                <a:gd name="connsiteX28" fmla="*/ 1006774 w 4904699"/>
                <a:gd name="connsiteY28" fmla="*/ 644545 h 3498714"/>
                <a:gd name="connsiteX29" fmla="*/ 1542636 w 4904699"/>
                <a:gd name="connsiteY29" fmla="*/ 1193969 h 3498714"/>
                <a:gd name="connsiteX30" fmla="*/ 1929878 w 4904699"/>
                <a:gd name="connsiteY30" fmla="*/ 1193970 h 3498714"/>
                <a:gd name="connsiteX31" fmla="*/ 2070059 w 4904699"/>
                <a:gd name="connsiteY31" fmla="*/ 1334152 h 3498714"/>
                <a:gd name="connsiteX32" fmla="*/ 1929878 w 4904699"/>
                <a:gd name="connsiteY32" fmla="*/ 1474333 h 3498714"/>
                <a:gd name="connsiteX33" fmla="*/ 1520943 w 4904699"/>
                <a:gd name="connsiteY33" fmla="*/ 1470388 h 3498714"/>
                <a:gd name="connsiteX34" fmla="*/ 1332825 w 4904699"/>
                <a:gd name="connsiteY34" fmla="*/ 1367201 h 3498714"/>
                <a:gd name="connsiteX35" fmla="*/ 1106501 w 4904699"/>
                <a:gd name="connsiteY35" fmla="*/ 1098289 h 3498714"/>
                <a:gd name="connsiteX36" fmla="*/ 1101049 w 4904699"/>
                <a:gd name="connsiteY36" fmla="*/ 1092836 h 3498714"/>
                <a:gd name="connsiteX37" fmla="*/ 1046523 w 4904699"/>
                <a:gd name="connsiteY37" fmla="*/ 1092836 h 3498714"/>
                <a:gd name="connsiteX38" fmla="*/ 1041071 w 4904699"/>
                <a:gd name="connsiteY38" fmla="*/ 1098289 h 3498714"/>
                <a:gd name="connsiteX39" fmla="*/ 1042136 w 4904699"/>
                <a:gd name="connsiteY39" fmla="*/ 1419754 h 3498714"/>
                <a:gd name="connsiteX40" fmla="*/ 1042136 w 4904699"/>
                <a:gd name="connsiteY40" fmla="*/ 3337652 h 3498714"/>
                <a:gd name="connsiteX41" fmla="*/ 881075 w 4904699"/>
                <a:gd name="connsiteY41" fmla="*/ 3498714 h 3498714"/>
                <a:gd name="connsiteX42" fmla="*/ 720012 w 4904699"/>
                <a:gd name="connsiteY42" fmla="*/ 3337652 h 3498714"/>
                <a:gd name="connsiteX43" fmla="*/ 720012 w 4904699"/>
                <a:gd name="connsiteY43" fmla="*/ 2125717 h 3498714"/>
                <a:gd name="connsiteX44" fmla="*/ 718947 w 4904699"/>
                <a:gd name="connsiteY44" fmla="*/ 2033194 h 3498714"/>
                <a:gd name="connsiteX45" fmla="*/ 714162 w 4904699"/>
                <a:gd name="connsiteY45" fmla="*/ 2028410 h 3498714"/>
                <a:gd name="connsiteX46" fmla="*/ 654759 w 4904699"/>
                <a:gd name="connsiteY46" fmla="*/ 2028410 h 3498714"/>
                <a:gd name="connsiteX47" fmla="*/ 649974 w 4904699"/>
                <a:gd name="connsiteY47" fmla="*/ 2033194 h 3498714"/>
                <a:gd name="connsiteX48" fmla="*/ 649974 w 4904699"/>
                <a:gd name="connsiteY48" fmla="*/ 2125717 h 3498714"/>
                <a:gd name="connsiteX49" fmla="*/ 649574 w 4904699"/>
                <a:gd name="connsiteY49" fmla="*/ 3337652 h 3498714"/>
                <a:gd name="connsiteX50" fmla="*/ 488511 w 4904699"/>
                <a:gd name="connsiteY50" fmla="*/ 3498714 h 3498714"/>
                <a:gd name="connsiteX51" fmla="*/ 327450 w 4904699"/>
                <a:gd name="connsiteY51" fmla="*/ 3337652 h 3498714"/>
                <a:gd name="connsiteX52" fmla="*/ 327450 w 4904699"/>
                <a:gd name="connsiteY52" fmla="*/ 1458216 h 3498714"/>
                <a:gd name="connsiteX53" fmla="*/ 322427 w 4904699"/>
                <a:gd name="connsiteY53" fmla="*/ 1098205 h 3498714"/>
                <a:gd name="connsiteX54" fmla="*/ 317058 w 4904699"/>
                <a:gd name="connsiteY54" fmla="*/ 1092836 h 3498714"/>
                <a:gd name="connsiteX55" fmla="*/ 263371 w 4904699"/>
                <a:gd name="connsiteY55" fmla="*/ 1092836 h 3498714"/>
                <a:gd name="connsiteX56" fmla="*/ 258001 w 4904699"/>
                <a:gd name="connsiteY56" fmla="*/ 1098205 h 3498714"/>
                <a:gd name="connsiteX57" fmla="*/ 258001 w 4904699"/>
                <a:gd name="connsiteY57" fmla="*/ 1444446 h 3498714"/>
                <a:gd name="connsiteX58" fmla="*/ 257700 w 4904699"/>
                <a:gd name="connsiteY58" fmla="*/ 1444370 h 3498714"/>
                <a:gd name="connsiteX59" fmla="*/ 257700 w 4904699"/>
                <a:gd name="connsiteY59" fmla="*/ 1912573 h 3498714"/>
                <a:gd name="connsiteX60" fmla="*/ 128850 w 4904699"/>
                <a:gd name="connsiteY60" fmla="*/ 2041423 h 3498714"/>
                <a:gd name="connsiteX61" fmla="*/ 0 w 4904699"/>
                <a:gd name="connsiteY61" fmla="*/ 1912573 h 3498714"/>
                <a:gd name="connsiteX62" fmla="*/ 0 w 4904699"/>
                <a:gd name="connsiteY62" fmla="*/ 1101802 h 3498714"/>
                <a:gd name="connsiteX63" fmla="*/ 0 w 4904699"/>
                <a:gd name="connsiteY63" fmla="*/ 1003338 h 3498714"/>
                <a:gd name="connsiteX64" fmla="*/ 0 w 4904699"/>
                <a:gd name="connsiteY64" fmla="*/ 982486 h 3498714"/>
                <a:gd name="connsiteX65" fmla="*/ 12733 w 4904699"/>
                <a:gd name="connsiteY65" fmla="*/ 894663 h 3498714"/>
                <a:gd name="connsiteX66" fmla="*/ 20539 w 4904699"/>
                <a:gd name="connsiteY66" fmla="*/ 868773 h 3498714"/>
                <a:gd name="connsiteX67" fmla="*/ 358791 w 4904699"/>
                <a:gd name="connsiteY67" fmla="*/ 644545 h 3498714"/>
                <a:gd name="connsiteX68" fmla="*/ 682782 w 4904699"/>
                <a:gd name="connsiteY68" fmla="*/ 0 h 3498714"/>
                <a:gd name="connsiteX69" fmla="*/ 966919 w 4904699"/>
                <a:gd name="connsiteY69" fmla="*/ 284138 h 3498714"/>
                <a:gd name="connsiteX70" fmla="*/ 682782 w 4904699"/>
                <a:gd name="connsiteY70" fmla="*/ 568275 h 3498714"/>
                <a:gd name="connsiteX71" fmla="*/ 398645 w 4904699"/>
                <a:gd name="connsiteY71" fmla="*/ 284138 h 3498714"/>
                <a:gd name="connsiteX72" fmla="*/ 682782 w 4904699"/>
                <a:gd name="connsiteY72" fmla="*/ 0 h 3498714"/>
                <a:gd name="connsiteX73" fmla="*/ 4707054 w 4904699"/>
                <a:gd name="connsiteY73" fmla="*/ 2902312 h 3498714"/>
                <a:gd name="connsiteX74" fmla="*/ 4818179 w 4904699"/>
                <a:gd name="connsiteY74" fmla="*/ 3013437 h 3498714"/>
                <a:gd name="connsiteX75" fmla="*/ 4707054 w 4904699"/>
                <a:gd name="connsiteY75" fmla="*/ 3124562 h 3498714"/>
                <a:gd name="connsiteX76" fmla="*/ 4545125 w 4904699"/>
                <a:gd name="connsiteY76" fmla="*/ 3124562 h 3498714"/>
                <a:gd name="connsiteX77" fmla="*/ 4545125 w 4904699"/>
                <a:gd name="connsiteY77" fmla="*/ 3361625 h 3498714"/>
                <a:gd name="connsiteX78" fmla="*/ 4436113 w 4904699"/>
                <a:gd name="connsiteY78" fmla="*/ 3470637 h 3498714"/>
                <a:gd name="connsiteX79" fmla="*/ 4235039 w 4904699"/>
                <a:gd name="connsiteY79" fmla="*/ 3470637 h 3498714"/>
                <a:gd name="connsiteX80" fmla="*/ 4126027 w 4904699"/>
                <a:gd name="connsiteY80" fmla="*/ 3361625 h 3498714"/>
                <a:gd name="connsiteX81" fmla="*/ 4126027 w 4904699"/>
                <a:gd name="connsiteY81" fmla="*/ 3124562 h 3498714"/>
                <a:gd name="connsiteX82" fmla="*/ 2589325 w 4904699"/>
                <a:gd name="connsiteY82" fmla="*/ 3124562 h 3498714"/>
                <a:gd name="connsiteX83" fmla="*/ 2589325 w 4904699"/>
                <a:gd name="connsiteY83" fmla="*/ 3361625 h 3498714"/>
                <a:gd name="connsiteX84" fmla="*/ 2480313 w 4904699"/>
                <a:gd name="connsiteY84" fmla="*/ 3470637 h 3498714"/>
                <a:gd name="connsiteX85" fmla="*/ 2279239 w 4904699"/>
                <a:gd name="connsiteY85" fmla="*/ 3470637 h 3498714"/>
                <a:gd name="connsiteX86" fmla="*/ 2170227 w 4904699"/>
                <a:gd name="connsiteY86" fmla="*/ 3361625 h 3498714"/>
                <a:gd name="connsiteX87" fmla="*/ 2170227 w 4904699"/>
                <a:gd name="connsiteY87" fmla="*/ 3124562 h 3498714"/>
                <a:gd name="connsiteX88" fmla="*/ 2052754 w 4904699"/>
                <a:gd name="connsiteY88" fmla="*/ 3124562 h 3498714"/>
                <a:gd name="connsiteX89" fmla="*/ 1941629 w 4904699"/>
                <a:gd name="connsiteY89" fmla="*/ 3013437 h 3498714"/>
                <a:gd name="connsiteX90" fmla="*/ 2052754 w 4904699"/>
                <a:gd name="connsiteY90" fmla="*/ 2902312 h 3498714"/>
                <a:gd name="connsiteX91" fmla="*/ 682782 w 4904699"/>
                <a:gd name="connsiteY91" fmla="*/ 0 h 3498714"/>
                <a:gd name="connsiteX92" fmla="*/ 4311608 w 4904699"/>
                <a:gd name="connsiteY92" fmla="*/ 2270487 h 3498714"/>
                <a:gd name="connsiteX93" fmla="*/ 4492583 w 4904699"/>
                <a:gd name="connsiteY93" fmla="*/ 2451462 h 3498714"/>
                <a:gd name="connsiteX0" fmla="*/ 2979061 w 4904699"/>
                <a:gd name="connsiteY0" fmla="*/ 2089512 h 3498714"/>
                <a:gd name="connsiteX1" fmla="*/ 2671086 w 4904699"/>
                <a:gd name="connsiteY1" fmla="*/ 2397487 h 3498714"/>
                <a:gd name="connsiteX2" fmla="*/ 2671086 w 4904699"/>
                <a:gd name="connsiteY2" fmla="*/ 2584811 h 3498714"/>
                <a:gd name="connsiteX3" fmla="*/ 4083961 w 4904699"/>
                <a:gd name="connsiteY3" fmla="*/ 2584811 h 3498714"/>
                <a:gd name="connsiteX4" fmla="*/ 4083961 w 4904699"/>
                <a:gd name="connsiteY4" fmla="*/ 2397487 h 3498714"/>
                <a:gd name="connsiteX5" fmla="*/ 3775986 w 4904699"/>
                <a:gd name="connsiteY5" fmla="*/ 2089512 h 3498714"/>
                <a:gd name="connsiteX6" fmla="*/ 2979061 w 4904699"/>
                <a:gd name="connsiteY6" fmla="*/ 2089512 h 3498714"/>
                <a:gd name="connsiteX7" fmla="*/ 2251033 w 4904699"/>
                <a:gd name="connsiteY7" fmla="*/ 2089512 h 3498714"/>
                <a:gd name="connsiteX8" fmla="*/ 2070058 w 4904699"/>
                <a:gd name="connsiteY8" fmla="*/ 2270487 h 3498714"/>
                <a:gd name="connsiteX9" fmla="*/ 2251033 w 4904699"/>
                <a:gd name="connsiteY9" fmla="*/ 2451462 h 3498714"/>
                <a:gd name="connsiteX10" fmla="*/ 2432008 w 4904699"/>
                <a:gd name="connsiteY10" fmla="*/ 2270487 h 3498714"/>
                <a:gd name="connsiteX11" fmla="*/ 2251033 w 4904699"/>
                <a:gd name="connsiteY11" fmla="*/ 2089512 h 3498714"/>
                <a:gd name="connsiteX12" fmla="*/ 2842751 w 4904699"/>
                <a:gd name="connsiteY12" fmla="*/ 1749356 h 3498714"/>
                <a:gd name="connsiteX13" fmla="*/ 2392797 w 4904699"/>
                <a:gd name="connsiteY13" fmla="*/ 1878907 h 3498714"/>
                <a:gd name="connsiteX14" fmla="*/ 2478781 w 4904699"/>
                <a:gd name="connsiteY14" fmla="*/ 1920808 h 3498714"/>
                <a:gd name="connsiteX15" fmla="*/ 2842751 w 4904699"/>
                <a:gd name="connsiteY15" fmla="*/ 1749356 h 3498714"/>
                <a:gd name="connsiteX16" fmla="*/ 2534724 w 4904699"/>
                <a:gd name="connsiteY16" fmla="*/ 982297 h 3498714"/>
                <a:gd name="connsiteX17" fmla="*/ 4802103 w 4904699"/>
                <a:gd name="connsiteY17" fmla="*/ 2588456 h 3498714"/>
                <a:gd name="connsiteX18" fmla="*/ 4904699 w 4904699"/>
                <a:gd name="connsiteY18" fmla="*/ 2705462 h 3498714"/>
                <a:gd name="connsiteX19" fmla="*/ 4904698 w 4904699"/>
                <a:gd name="connsiteY19" fmla="*/ 2705462 h 3498714"/>
                <a:gd name="connsiteX20" fmla="*/ 4784047 w 4904699"/>
                <a:gd name="connsiteY20" fmla="*/ 2826113 h 3498714"/>
                <a:gd name="connsiteX21" fmla="*/ 1970999 w 4904699"/>
                <a:gd name="connsiteY21" fmla="*/ 2826112 h 3498714"/>
                <a:gd name="connsiteX22" fmla="*/ 1850348 w 4904699"/>
                <a:gd name="connsiteY22" fmla="*/ 2705462 h 3498714"/>
                <a:gd name="connsiteX23" fmla="*/ 1956769 w 4904699"/>
                <a:gd name="connsiteY23" fmla="*/ 2587684 h 3498714"/>
                <a:gd name="connsiteX24" fmla="*/ 1823360 w 4904699"/>
                <a:gd name="connsiteY24" fmla="*/ 2279217 h 3498714"/>
                <a:gd name="connsiteX25" fmla="*/ 2217440 w 4904699"/>
                <a:gd name="connsiteY25" fmla="*/ 1856216 h 3498714"/>
                <a:gd name="connsiteX26" fmla="*/ 2534724 w 4904699"/>
                <a:gd name="connsiteY26" fmla="*/ 982297 h 3498714"/>
                <a:gd name="connsiteX27" fmla="*/ 358791 w 4904699"/>
                <a:gd name="connsiteY27" fmla="*/ 644545 h 3498714"/>
                <a:gd name="connsiteX28" fmla="*/ 1006774 w 4904699"/>
                <a:gd name="connsiteY28" fmla="*/ 644545 h 3498714"/>
                <a:gd name="connsiteX29" fmla="*/ 1542636 w 4904699"/>
                <a:gd name="connsiteY29" fmla="*/ 1193969 h 3498714"/>
                <a:gd name="connsiteX30" fmla="*/ 1929878 w 4904699"/>
                <a:gd name="connsiteY30" fmla="*/ 1193970 h 3498714"/>
                <a:gd name="connsiteX31" fmla="*/ 2070059 w 4904699"/>
                <a:gd name="connsiteY31" fmla="*/ 1334152 h 3498714"/>
                <a:gd name="connsiteX32" fmla="*/ 1929878 w 4904699"/>
                <a:gd name="connsiteY32" fmla="*/ 1474333 h 3498714"/>
                <a:gd name="connsiteX33" fmla="*/ 1520943 w 4904699"/>
                <a:gd name="connsiteY33" fmla="*/ 1470388 h 3498714"/>
                <a:gd name="connsiteX34" fmla="*/ 1332825 w 4904699"/>
                <a:gd name="connsiteY34" fmla="*/ 1367201 h 3498714"/>
                <a:gd name="connsiteX35" fmla="*/ 1106501 w 4904699"/>
                <a:gd name="connsiteY35" fmla="*/ 1098289 h 3498714"/>
                <a:gd name="connsiteX36" fmla="*/ 1101049 w 4904699"/>
                <a:gd name="connsiteY36" fmla="*/ 1092836 h 3498714"/>
                <a:gd name="connsiteX37" fmla="*/ 1046523 w 4904699"/>
                <a:gd name="connsiteY37" fmla="*/ 1092836 h 3498714"/>
                <a:gd name="connsiteX38" fmla="*/ 1041071 w 4904699"/>
                <a:gd name="connsiteY38" fmla="*/ 1098289 h 3498714"/>
                <a:gd name="connsiteX39" fmla="*/ 1042136 w 4904699"/>
                <a:gd name="connsiteY39" fmla="*/ 1419754 h 3498714"/>
                <a:gd name="connsiteX40" fmla="*/ 1042136 w 4904699"/>
                <a:gd name="connsiteY40" fmla="*/ 3337652 h 3498714"/>
                <a:gd name="connsiteX41" fmla="*/ 881075 w 4904699"/>
                <a:gd name="connsiteY41" fmla="*/ 3498714 h 3498714"/>
                <a:gd name="connsiteX42" fmla="*/ 720012 w 4904699"/>
                <a:gd name="connsiteY42" fmla="*/ 3337652 h 3498714"/>
                <a:gd name="connsiteX43" fmla="*/ 720012 w 4904699"/>
                <a:gd name="connsiteY43" fmla="*/ 2125717 h 3498714"/>
                <a:gd name="connsiteX44" fmla="*/ 718947 w 4904699"/>
                <a:gd name="connsiteY44" fmla="*/ 2033194 h 3498714"/>
                <a:gd name="connsiteX45" fmla="*/ 714162 w 4904699"/>
                <a:gd name="connsiteY45" fmla="*/ 2028410 h 3498714"/>
                <a:gd name="connsiteX46" fmla="*/ 654759 w 4904699"/>
                <a:gd name="connsiteY46" fmla="*/ 2028410 h 3498714"/>
                <a:gd name="connsiteX47" fmla="*/ 649974 w 4904699"/>
                <a:gd name="connsiteY47" fmla="*/ 2033194 h 3498714"/>
                <a:gd name="connsiteX48" fmla="*/ 649974 w 4904699"/>
                <a:gd name="connsiteY48" fmla="*/ 2125717 h 3498714"/>
                <a:gd name="connsiteX49" fmla="*/ 649574 w 4904699"/>
                <a:gd name="connsiteY49" fmla="*/ 3337652 h 3498714"/>
                <a:gd name="connsiteX50" fmla="*/ 488511 w 4904699"/>
                <a:gd name="connsiteY50" fmla="*/ 3498714 h 3498714"/>
                <a:gd name="connsiteX51" fmla="*/ 327450 w 4904699"/>
                <a:gd name="connsiteY51" fmla="*/ 3337652 h 3498714"/>
                <a:gd name="connsiteX52" fmla="*/ 327450 w 4904699"/>
                <a:gd name="connsiteY52" fmla="*/ 1458216 h 3498714"/>
                <a:gd name="connsiteX53" fmla="*/ 322427 w 4904699"/>
                <a:gd name="connsiteY53" fmla="*/ 1098205 h 3498714"/>
                <a:gd name="connsiteX54" fmla="*/ 317058 w 4904699"/>
                <a:gd name="connsiteY54" fmla="*/ 1092836 h 3498714"/>
                <a:gd name="connsiteX55" fmla="*/ 263371 w 4904699"/>
                <a:gd name="connsiteY55" fmla="*/ 1092836 h 3498714"/>
                <a:gd name="connsiteX56" fmla="*/ 258001 w 4904699"/>
                <a:gd name="connsiteY56" fmla="*/ 1098205 h 3498714"/>
                <a:gd name="connsiteX57" fmla="*/ 258001 w 4904699"/>
                <a:gd name="connsiteY57" fmla="*/ 1444446 h 3498714"/>
                <a:gd name="connsiteX58" fmla="*/ 257700 w 4904699"/>
                <a:gd name="connsiteY58" fmla="*/ 1444370 h 3498714"/>
                <a:gd name="connsiteX59" fmla="*/ 257700 w 4904699"/>
                <a:gd name="connsiteY59" fmla="*/ 1912573 h 3498714"/>
                <a:gd name="connsiteX60" fmla="*/ 128850 w 4904699"/>
                <a:gd name="connsiteY60" fmla="*/ 2041423 h 3498714"/>
                <a:gd name="connsiteX61" fmla="*/ 0 w 4904699"/>
                <a:gd name="connsiteY61" fmla="*/ 1912573 h 3498714"/>
                <a:gd name="connsiteX62" fmla="*/ 0 w 4904699"/>
                <a:gd name="connsiteY62" fmla="*/ 1101802 h 3498714"/>
                <a:gd name="connsiteX63" fmla="*/ 0 w 4904699"/>
                <a:gd name="connsiteY63" fmla="*/ 1003338 h 3498714"/>
                <a:gd name="connsiteX64" fmla="*/ 0 w 4904699"/>
                <a:gd name="connsiteY64" fmla="*/ 982486 h 3498714"/>
                <a:gd name="connsiteX65" fmla="*/ 12733 w 4904699"/>
                <a:gd name="connsiteY65" fmla="*/ 894663 h 3498714"/>
                <a:gd name="connsiteX66" fmla="*/ 20539 w 4904699"/>
                <a:gd name="connsiteY66" fmla="*/ 868773 h 3498714"/>
                <a:gd name="connsiteX67" fmla="*/ 358791 w 4904699"/>
                <a:gd name="connsiteY67" fmla="*/ 644545 h 3498714"/>
                <a:gd name="connsiteX68" fmla="*/ 682782 w 4904699"/>
                <a:gd name="connsiteY68" fmla="*/ 0 h 3498714"/>
                <a:gd name="connsiteX69" fmla="*/ 966919 w 4904699"/>
                <a:gd name="connsiteY69" fmla="*/ 284138 h 3498714"/>
                <a:gd name="connsiteX70" fmla="*/ 682782 w 4904699"/>
                <a:gd name="connsiteY70" fmla="*/ 568275 h 3498714"/>
                <a:gd name="connsiteX71" fmla="*/ 398645 w 4904699"/>
                <a:gd name="connsiteY71" fmla="*/ 284138 h 3498714"/>
                <a:gd name="connsiteX72" fmla="*/ 682782 w 4904699"/>
                <a:gd name="connsiteY72" fmla="*/ 0 h 3498714"/>
                <a:gd name="connsiteX73" fmla="*/ 4707054 w 4904699"/>
                <a:gd name="connsiteY73" fmla="*/ 2902312 h 3498714"/>
                <a:gd name="connsiteX74" fmla="*/ 4818179 w 4904699"/>
                <a:gd name="connsiteY74" fmla="*/ 3013437 h 3498714"/>
                <a:gd name="connsiteX75" fmla="*/ 4707054 w 4904699"/>
                <a:gd name="connsiteY75" fmla="*/ 3124562 h 3498714"/>
                <a:gd name="connsiteX76" fmla="*/ 4545125 w 4904699"/>
                <a:gd name="connsiteY76" fmla="*/ 3124562 h 3498714"/>
                <a:gd name="connsiteX77" fmla="*/ 4545125 w 4904699"/>
                <a:gd name="connsiteY77" fmla="*/ 3361625 h 3498714"/>
                <a:gd name="connsiteX78" fmla="*/ 4436113 w 4904699"/>
                <a:gd name="connsiteY78" fmla="*/ 3470637 h 3498714"/>
                <a:gd name="connsiteX79" fmla="*/ 4235039 w 4904699"/>
                <a:gd name="connsiteY79" fmla="*/ 3470637 h 3498714"/>
                <a:gd name="connsiteX80" fmla="*/ 4126027 w 4904699"/>
                <a:gd name="connsiteY80" fmla="*/ 3361625 h 3498714"/>
                <a:gd name="connsiteX81" fmla="*/ 4126027 w 4904699"/>
                <a:gd name="connsiteY81" fmla="*/ 3124562 h 3498714"/>
                <a:gd name="connsiteX82" fmla="*/ 2589325 w 4904699"/>
                <a:gd name="connsiteY82" fmla="*/ 3124562 h 3498714"/>
                <a:gd name="connsiteX83" fmla="*/ 2589325 w 4904699"/>
                <a:gd name="connsiteY83" fmla="*/ 3361625 h 3498714"/>
                <a:gd name="connsiteX84" fmla="*/ 2480313 w 4904699"/>
                <a:gd name="connsiteY84" fmla="*/ 3470637 h 3498714"/>
                <a:gd name="connsiteX85" fmla="*/ 2279239 w 4904699"/>
                <a:gd name="connsiteY85" fmla="*/ 3470637 h 3498714"/>
                <a:gd name="connsiteX86" fmla="*/ 2170227 w 4904699"/>
                <a:gd name="connsiteY86" fmla="*/ 3361625 h 3498714"/>
                <a:gd name="connsiteX87" fmla="*/ 2170227 w 4904699"/>
                <a:gd name="connsiteY87" fmla="*/ 3124562 h 3498714"/>
                <a:gd name="connsiteX88" fmla="*/ 2052754 w 4904699"/>
                <a:gd name="connsiteY88" fmla="*/ 3124562 h 3498714"/>
                <a:gd name="connsiteX89" fmla="*/ 1941629 w 4904699"/>
                <a:gd name="connsiteY89" fmla="*/ 3013437 h 3498714"/>
                <a:gd name="connsiteX90" fmla="*/ 2052754 w 4904699"/>
                <a:gd name="connsiteY90" fmla="*/ 2902312 h 3498714"/>
                <a:gd name="connsiteX91" fmla="*/ 682782 w 4904699"/>
                <a:gd name="connsiteY91" fmla="*/ 0 h 3498714"/>
                <a:gd name="connsiteX92" fmla="*/ 4311608 w 4904699"/>
                <a:gd name="connsiteY92" fmla="*/ 2270487 h 3498714"/>
                <a:gd name="connsiteX93" fmla="*/ 4492583 w 4904699"/>
                <a:gd name="connsiteY93" fmla="*/ 2451462 h 3498714"/>
                <a:gd name="connsiteX0" fmla="*/ 2979061 w 4904699"/>
                <a:gd name="connsiteY0" fmla="*/ 2089512 h 3498714"/>
                <a:gd name="connsiteX1" fmla="*/ 2671086 w 4904699"/>
                <a:gd name="connsiteY1" fmla="*/ 2397487 h 3498714"/>
                <a:gd name="connsiteX2" fmla="*/ 2671086 w 4904699"/>
                <a:gd name="connsiteY2" fmla="*/ 2584811 h 3498714"/>
                <a:gd name="connsiteX3" fmla="*/ 4083961 w 4904699"/>
                <a:gd name="connsiteY3" fmla="*/ 2584811 h 3498714"/>
                <a:gd name="connsiteX4" fmla="*/ 4083961 w 4904699"/>
                <a:gd name="connsiteY4" fmla="*/ 2397487 h 3498714"/>
                <a:gd name="connsiteX5" fmla="*/ 3775986 w 4904699"/>
                <a:gd name="connsiteY5" fmla="*/ 2089512 h 3498714"/>
                <a:gd name="connsiteX6" fmla="*/ 2979061 w 4904699"/>
                <a:gd name="connsiteY6" fmla="*/ 2089512 h 3498714"/>
                <a:gd name="connsiteX7" fmla="*/ 2251033 w 4904699"/>
                <a:gd name="connsiteY7" fmla="*/ 2089512 h 3498714"/>
                <a:gd name="connsiteX8" fmla="*/ 2070058 w 4904699"/>
                <a:gd name="connsiteY8" fmla="*/ 2270487 h 3498714"/>
                <a:gd name="connsiteX9" fmla="*/ 2251033 w 4904699"/>
                <a:gd name="connsiteY9" fmla="*/ 2451462 h 3498714"/>
                <a:gd name="connsiteX10" fmla="*/ 2432008 w 4904699"/>
                <a:gd name="connsiteY10" fmla="*/ 2270487 h 3498714"/>
                <a:gd name="connsiteX11" fmla="*/ 2251033 w 4904699"/>
                <a:gd name="connsiteY11" fmla="*/ 2089512 h 3498714"/>
                <a:gd name="connsiteX12" fmla="*/ 2842751 w 4904699"/>
                <a:gd name="connsiteY12" fmla="*/ 1749356 h 3498714"/>
                <a:gd name="connsiteX13" fmla="*/ 2392797 w 4904699"/>
                <a:gd name="connsiteY13" fmla="*/ 1878907 h 3498714"/>
                <a:gd name="connsiteX14" fmla="*/ 2478781 w 4904699"/>
                <a:gd name="connsiteY14" fmla="*/ 1920808 h 3498714"/>
                <a:gd name="connsiteX15" fmla="*/ 2842751 w 4904699"/>
                <a:gd name="connsiteY15" fmla="*/ 1749356 h 3498714"/>
                <a:gd name="connsiteX16" fmla="*/ 2534724 w 4904699"/>
                <a:gd name="connsiteY16" fmla="*/ 982297 h 3498714"/>
                <a:gd name="connsiteX17" fmla="*/ 4904699 w 4904699"/>
                <a:gd name="connsiteY17" fmla="*/ 2705462 h 3498714"/>
                <a:gd name="connsiteX18" fmla="*/ 4904698 w 4904699"/>
                <a:gd name="connsiteY18" fmla="*/ 2705462 h 3498714"/>
                <a:gd name="connsiteX19" fmla="*/ 4784047 w 4904699"/>
                <a:gd name="connsiteY19" fmla="*/ 2826113 h 3498714"/>
                <a:gd name="connsiteX20" fmla="*/ 1970999 w 4904699"/>
                <a:gd name="connsiteY20" fmla="*/ 2826112 h 3498714"/>
                <a:gd name="connsiteX21" fmla="*/ 1850348 w 4904699"/>
                <a:gd name="connsiteY21" fmla="*/ 2705462 h 3498714"/>
                <a:gd name="connsiteX22" fmla="*/ 1956769 w 4904699"/>
                <a:gd name="connsiteY22" fmla="*/ 2587684 h 3498714"/>
                <a:gd name="connsiteX23" fmla="*/ 1823360 w 4904699"/>
                <a:gd name="connsiteY23" fmla="*/ 2279217 h 3498714"/>
                <a:gd name="connsiteX24" fmla="*/ 2217440 w 4904699"/>
                <a:gd name="connsiteY24" fmla="*/ 1856216 h 3498714"/>
                <a:gd name="connsiteX25" fmla="*/ 2534724 w 4904699"/>
                <a:gd name="connsiteY25" fmla="*/ 982297 h 3498714"/>
                <a:gd name="connsiteX26" fmla="*/ 358791 w 4904699"/>
                <a:gd name="connsiteY26" fmla="*/ 644545 h 3498714"/>
                <a:gd name="connsiteX27" fmla="*/ 1006774 w 4904699"/>
                <a:gd name="connsiteY27" fmla="*/ 644545 h 3498714"/>
                <a:gd name="connsiteX28" fmla="*/ 1542636 w 4904699"/>
                <a:gd name="connsiteY28" fmla="*/ 1193969 h 3498714"/>
                <a:gd name="connsiteX29" fmla="*/ 1929878 w 4904699"/>
                <a:gd name="connsiteY29" fmla="*/ 1193970 h 3498714"/>
                <a:gd name="connsiteX30" fmla="*/ 2070059 w 4904699"/>
                <a:gd name="connsiteY30" fmla="*/ 1334152 h 3498714"/>
                <a:gd name="connsiteX31" fmla="*/ 1929878 w 4904699"/>
                <a:gd name="connsiteY31" fmla="*/ 1474333 h 3498714"/>
                <a:gd name="connsiteX32" fmla="*/ 1520943 w 4904699"/>
                <a:gd name="connsiteY32" fmla="*/ 1470388 h 3498714"/>
                <a:gd name="connsiteX33" fmla="*/ 1332825 w 4904699"/>
                <a:gd name="connsiteY33" fmla="*/ 1367201 h 3498714"/>
                <a:gd name="connsiteX34" fmla="*/ 1106501 w 4904699"/>
                <a:gd name="connsiteY34" fmla="*/ 1098289 h 3498714"/>
                <a:gd name="connsiteX35" fmla="*/ 1101049 w 4904699"/>
                <a:gd name="connsiteY35" fmla="*/ 1092836 h 3498714"/>
                <a:gd name="connsiteX36" fmla="*/ 1046523 w 4904699"/>
                <a:gd name="connsiteY36" fmla="*/ 1092836 h 3498714"/>
                <a:gd name="connsiteX37" fmla="*/ 1041071 w 4904699"/>
                <a:gd name="connsiteY37" fmla="*/ 1098289 h 3498714"/>
                <a:gd name="connsiteX38" fmla="*/ 1042136 w 4904699"/>
                <a:gd name="connsiteY38" fmla="*/ 1419754 h 3498714"/>
                <a:gd name="connsiteX39" fmla="*/ 1042136 w 4904699"/>
                <a:gd name="connsiteY39" fmla="*/ 3337652 h 3498714"/>
                <a:gd name="connsiteX40" fmla="*/ 881075 w 4904699"/>
                <a:gd name="connsiteY40" fmla="*/ 3498714 h 3498714"/>
                <a:gd name="connsiteX41" fmla="*/ 720012 w 4904699"/>
                <a:gd name="connsiteY41" fmla="*/ 3337652 h 3498714"/>
                <a:gd name="connsiteX42" fmla="*/ 720012 w 4904699"/>
                <a:gd name="connsiteY42" fmla="*/ 2125717 h 3498714"/>
                <a:gd name="connsiteX43" fmla="*/ 718947 w 4904699"/>
                <a:gd name="connsiteY43" fmla="*/ 2033194 h 3498714"/>
                <a:gd name="connsiteX44" fmla="*/ 714162 w 4904699"/>
                <a:gd name="connsiteY44" fmla="*/ 2028410 h 3498714"/>
                <a:gd name="connsiteX45" fmla="*/ 654759 w 4904699"/>
                <a:gd name="connsiteY45" fmla="*/ 2028410 h 3498714"/>
                <a:gd name="connsiteX46" fmla="*/ 649974 w 4904699"/>
                <a:gd name="connsiteY46" fmla="*/ 2033194 h 3498714"/>
                <a:gd name="connsiteX47" fmla="*/ 649974 w 4904699"/>
                <a:gd name="connsiteY47" fmla="*/ 2125717 h 3498714"/>
                <a:gd name="connsiteX48" fmla="*/ 649574 w 4904699"/>
                <a:gd name="connsiteY48" fmla="*/ 3337652 h 3498714"/>
                <a:gd name="connsiteX49" fmla="*/ 488511 w 4904699"/>
                <a:gd name="connsiteY49" fmla="*/ 3498714 h 3498714"/>
                <a:gd name="connsiteX50" fmla="*/ 327450 w 4904699"/>
                <a:gd name="connsiteY50" fmla="*/ 3337652 h 3498714"/>
                <a:gd name="connsiteX51" fmla="*/ 327450 w 4904699"/>
                <a:gd name="connsiteY51" fmla="*/ 1458216 h 3498714"/>
                <a:gd name="connsiteX52" fmla="*/ 322427 w 4904699"/>
                <a:gd name="connsiteY52" fmla="*/ 1098205 h 3498714"/>
                <a:gd name="connsiteX53" fmla="*/ 317058 w 4904699"/>
                <a:gd name="connsiteY53" fmla="*/ 1092836 h 3498714"/>
                <a:gd name="connsiteX54" fmla="*/ 263371 w 4904699"/>
                <a:gd name="connsiteY54" fmla="*/ 1092836 h 3498714"/>
                <a:gd name="connsiteX55" fmla="*/ 258001 w 4904699"/>
                <a:gd name="connsiteY55" fmla="*/ 1098205 h 3498714"/>
                <a:gd name="connsiteX56" fmla="*/ 258001 w 4904699"/>
                <a:gd name="connsiteY56" fmla="*/ 1444446 h 3498714"/>
                <a:gd name="connsiteX57" fmla="*/ 257700 w 4904699"/>
                <a:gd name="connsiteY57" fmla="*/ 1444370 h 3498714"/>
                <a:gd name="connsiteX58" fmla="*/ 257700 w 4904699"/>
                <a:gd name="connsiteY58" fmla="*/ 1912573 h 3498714"/>
                <a:gd name="connsiteX59" fmla="*/ 128850 w 4904699"/>
                <a:gd name="connsiteY59" fmla="*/ 2041423 h 3498714"/>
                <a:gd name="connsiteX60" fmla="*/ 0 w 4904699"/>
                <a:gd name="connsiteY60" fmla="*/ 1912573 h 3498714"/>
                <a:gd name="connsiteX61" fmla="*/ 0 w 4904699"/>
                <a:gd name="connsiteY61" fmla="*/ 1101802 h 3498714"/>
                <a:gd name="connsiteX62" fmla="*/ 0 w 4904699"/>
                <a:gd name="connsiteY62" fmla="*/ 1003338 h 3498714"/>
                <a:gd name="connsiteX63" fmla="*/ 0 w 4904699"/>
                <a:gd name="connsiteY63" fmla="*/ 982486 h 3498714"/>
                <a:gd name="connsiteX64" fmla="*/ 12733 w 4904699"/>
                <a:gd name="connsiteY64" fmla="*/ 894663 h 3498714"/>
                <a:gd name="connsiteX65" fmla="*/ 20539 w 4904699"/>
                <a:gd name="connsiteY65" fmla="*/ 868773 h 3498714"/>
                <a:gd name="connsiteX66" fmla="*/ 358791 w 4904699"/>
                <a:gd name="connsiteY66" fmla="*/ 644545 h 3498714"/>
                <a:gd name="connsiteX67" fmla="*/ 682782 w 4904699"/>
                <a:gd name="connsiteY67" fmla="*/ 0 h 3498714"/>
                <a:gd name="connsiteX68" fmla="*/ 966919 w 4904699"/>
                <a:gd name="connsiteY68" fmla="*/ 284138 h 3498714"/>
                <a:gd name="connsiteX69" fmla="*/ 682782 w 4904699"/>
                <a:gd name="connsiteY69" fmla="*/ 568275 h 3498714"/>
                <a:gd name="connsiteX70" fmla="*/ 398645 w 4904699"/>
                <a:gd name="connsiteY70" fmla="*/ 284138 h 3498714"/>
                <a:gd name="connsiteX71" fmla="*/ 682782 w 4904699"/>
                <a:gd name="connsiteY71" fmla="*/ 0 h 3498714"/>
                <a:gd name="connsiteX72" fmla="*/ 4707054 w 4904699"/>
                <a:gd name="connsiteY72" fmla="*/ 2902312 h 3498714"/>
                <a:gd name="connsiteX73" fmla="*/ 4818179 w 4904699"/>
                <a:gd name="connsiteY73" fmla="*/ 3013437 h 3498714"/>
                <a:gd name="connsiteX74" fmla="*/ 4707054 w 4904699"/>
                <a:gd name="connsiteY74" fmla="*/ 3124562 h 3498714"/>
                <a:gd name="connsiteX75" fmla="*/ 4545125 w 4904699"/>
                <a:gd name="connsiteY75" fmla="*/ 3124562 h 3498714"/>
                <a:gd name="connsiteX76" fmla="*/ 4545125 w 4904699"/>
                <a:gd name="connsiteY76" fmla="*/ 3361625 h 3498714"/>
                <a:gd name="connsiteX77" fmla="*/ 4436113 w 4904699"/>
                <a:gd name="connsiteY77" fmla="*/ 3470637 h 3498714"/>
                <a:gd name="connsiteX78" fmla="*/ 4235039 w 4904699"/>
                <a:gd name="connsiteY78" fmla="*/ 3470637 h 3498714"/>
                <a:gd name="connsiteX79" fmla="*/ 4126027 w 4904699"/>
                <a:gd name="connsiteY79" fmla="*/ 3361625 h 3498714"/>
                <a:gd name="connsiteX80" fmla="*/ 4126027 w 4904699"/>
                <a:gd name="connsiteY80" fmla="*/ 3124562 h 3498714"/>
                <a:gd name="connsiteX81" fmla="*/ 2589325 w 4904699"/>
                <a:gd name="connsiteY81" fmla="*/ 3124562 h 3498714"/>
                <a:gd name="connsiteX82" fmla="*/ 2589325 w 4904699"/>
                <a:gd name="connsiteY82" fmla="*/ 3361625 h 3498714"/>
                <a:gd name="connsiteX83" fmla="*/ 2480313 w 4904699"/>
                <a:gd name="connsiteY83" fmla="*/ 3470637 h 3498714"/>
                <a:gd name="connsiteX84" fmla="*/ 2279239 w 4904699"/>
                <a:gd name="connsiteY84" fmla="*/ 3470637 h 3498714"/>
                <a:gd name="connsiteX85" fmla="*/ 2170227 w 4904699"/>
                <a:gd name="connsiteY85" fmla="*/ 3361625 h 3498714"/>
                <a:gd name="connsiteX86" fmla="*/ 2170227 w 4904699"/>
                <a:gd name="connsiteY86" fmla="*/ 3124562 h 3498714"/>
                <a:gd name="connsiteX87" fmla="*/ 2052754 w 4904699"/>
                <a:gd name="connsiteY87" fmla="*/ 3124562 h 3498714"/>
                <a:gd name="connsiteX88" fmla="*/ 1941629 w 4904699"/>
                <a:gd name="connsiteY88" fmla="*/ 3013437 h 3498714"/>
                <a:gd name="connsiteX89" fmla="*/ 2052754 w 4904699"/>
                <a:gd name="connsiteY89" fmla="*/ 2902312 h 3498714"/>
                <a:gd name="connsiteX90" fmla="*/ 682782 w 4904699"/>
                <a:gd name="connsiteY90" fmla="*/ 0 h 3498714"/>
                <a:gd name="connsiteX91" fmla="*/ 4311608 w 4904699"/>
                <a:gd name="connsiteY91" fmla="*/ 2270487 h 3498714"/>
                <a:gd name="connsiteX92" fmla="*/ 4492583 w 4904699"/>
                <a:gd name="connsiteY92" fmla="*/ 2451462 h 3498714"/>
                <a:gd name="connsiteX0" fmla="*/ 2979061 w 4904699"/>
                <a:gd name="connsiteY0" fmla="*/ 2089512 h 3498714"/>
                <a:gd name="connsiteX1" fmla="*/ 2671086 w 4904699"/>
                <a:gd name="connsiteY1" fmla="*/ 2397487 h 3498714"/>
                <a:gd name="connsiteX2" fmla="*/ 2671086 w 4904699"/>
                <a:gd name="connsiteY2" fmla="*/ 2584811 h 3498714"/>
                <a:gd name="connsiteX3" fmla="*/ 4083961 w 4904699"/>
                <a:gd name="connsiteY3" fmla="*/ 2584811 h 3498714"/>
                <a:gd name="connsiteX4" fmla="*/ 4083961 w 4904699"/>
                <a:gd name="connsiteY4" fmla="*/ 2397487 h 3498714"/>
                <a:gd name="connsiteX5" fmla="*/ 3775986 w 4904699"/>
                <a:gd name="connsiteY5" fmla="*/ 2089512 h 3498714"/>
                <a:gd name="connsiteX6" fmla="*/ 2979061 w 4904699"/>
                <a:gd name="connsiteY6" fmla="*/ 2089512 h 3498714"/>
                <a:gd name="connsiteX7" fmla="*/ 2251033 w 4904699"/>
                <a:gd name="connsiteY7" fmla="*/ 2089512 h 3498714"/>
                <a:gd name="connsiteX8" fmla="*/ 2070058 w 4904699"/>
                <a:gd name="connsiteY8" fmla="*/ 2270487 h 3498714"/>
                <a:gd name="connsiteX9" fmla="*/ 2251033 w 4904699"/>
                <a:gd name="connsiteY9" fmla="*/ 2451462 h 3498714"/>
                <a:gd name="connsiteX10" fmla="*/ 2432008 w 4904699"/>
                <a:gd name="connsiteY10" fmla="*/ 2270487 h 3498714"/>
                <a:gd name="connsiteX11" fmla="*/ 2251033 w 4904699"/>
                <a:gd name="connsiteY11" fmla="*/ 2089512 h 3498714"/>
                <a:gd name="connsiteX12" fmla="*/ 2842751 w 4904699"/>
                <a:gd name="connsiteY12" fmla="*/ 1749356 h 3498714"/>
                <a:gd name="connsiteX13" fmla="*/ 2392797 w 4904699"/>
                <a:gd name="connsiteY13" fmla="*/ 1878907 h 3498714"/>
                <a:gd name="connsiteX14" fmla="*/ 2478781 w 4904699"/>
                <a:gd name="connsiteY14" fmla="*/ 1920808 h 3498714"/>
                <a:gd name="connsiteX15" fmla="*/ 2842751 w 4904699"/>
                <a:gd name="connsiteY15" fmla="*/ 1749356 h 3498714"/>
                <a:gd name="connsiteX16" fmla="*/ 2534724 w 4904699"/>
                <a:gd name="connsiteY16" fmla="*/ 982297 h 3498714"/>
                <a:gd name="connsiteX17" fmla="*/ 4904699 w 4904699"/>
                <a:gd name="connsiteY17" fmla="*/ 2705462 h 3498714"/>
                <a:gd name="connsiteX18" fmla="*/ 4784047 w 4904699"/>
                <a:gd name="connsiteY18" fmla="*/ 2826113 h 3498714"/>
                <a:gd name="connsiteX19" fmla="*/ 1970999 w 4904699"/>
                <a:gd name="connsiteY19" fmla="*/ 2826112 h 3498714"/>
                <a:gd name="connsiteX20" fmla="*/ 1850348 w 4904699"/>
                <a:gd name="connsiteY20" fmla="*/ 2705462 h 3498714"/>
                <a:gd name="connsiteX21" fmla="*/ 1956769 w 4904699"/>
                <a:gd name="connsiteY21" fmla="*/ 2587684 h 3498714"/>
                <a:gd name="connsiteX22" fmla="*/ 1823360 w 4904699"/>
                <a:gd name="connsiteY22" fmla="*/ 2279217 h 3498714"/>
                <a:gd name="connsiteX23" fmla="*/ 2217440 w 4904699"/>
                <a:gd name="connsiteY23" fmla="*/ 1856216 h 3498714"/>
                <a:gd name="connsiteX24" fmla="*/ 2534724 w 4904699"/>
                <a:gd name="connsiteY24" fmla="*/ 982297 h 3498714"/>
                <a:gd name="connsiteX25" fmla="*/ 358791 w 4904699"/>
                <a:gd name="connsiteY25" fmla="*/ 644545 h 3498714"/>
                <a:gd name="connsiteX26" fmla="*/ 1006774 w 4904699"/>
                <a:gd name="connsiteY26" fmla="*/ 644545 h 3498714"/>
                <a:gd name="connsiteX27" fmla="*/ 1542636 w 4904699"/>
                <a:gd name="connsiteY27" fmla="*/ 1193969 h 3498714"/>
                <a:gd name="connsiteX28" fmla="*/ 1929878 w 4904699"/>
                <a:gd name="connsiteY28" fmla="*/ 1193970 h 3498714"/>
                <a:gd name="connsiteX29" fmla="*/ 2070059 w 4904699"/>
                <a:gd name="connsiteY29" fmla="*/ 1334152 h 3498714"/>
                <a:gd name="connsiteX30" fmla="*/ 1929878 w 4904699"/>
                <a:gd name="connsiteY30" fmla="*/ 1474333 h 3498714"/>
                <a:gd name="connsiteX31" fmla="*/ 1520943 w 4904699"/>
                <a:gd name="connsiteY31" fmla="*/ 1470388 h 3498714"/>
                <a:gd name="connsiteX32" fmla="*/ 1332825 w 4904699"/>
                <a:gd name="connsiteY32" fmla="*/ 1367201 h 3498714"/>
                <a:gd name="connsiteX33" fmla="*/ 1106501 w 4904699"/>
                <a:gd name="connsiteY33" fmla="*/ 1098289 h 3498714"/>
                <a:gd name="connsiteX34" fmla="*/ 1101049 w 4904699"/>
                <a:gd name="connsiteY34" fmla="*/ 1092836 h 3498714"/>
                <a:gd name="connsiteX35" fmla="*/ 1046523 w 4904699"/>
                <a:gd name="connsiteY35" fmla="*/ 1092836 h 3498714"/>
                <a:gd name="connsiteX36" fmla="*/ 1041071 w 4904699"/>
                <a:gd name="connsiteY36" fmla="*/ 1098289 h 3498714"/>
                <a:gd name="connsiteX37" fmla="*/ 1042136 w 4904699"/>
                <a:gd name="connsiteY37" fmla="*/ 1419754 h 3498714"/>
                <a:gd name="connsiteX38" fmla="*/ 1042136 w 4904699"/>
                <a:gd name="connsiteY38" fmla="*/ 3337652 h 3498714"/>
                <a:gd name="connsiteX39" fmla="*/ 881075 w 4904699"/>
                <a:gd name="connsiteY39" fmla="*/ 3498714 h 3498714"/>
                <a:gd name="connsiteX40" fmla="*/ 720012 w 4904699"/>
                <a:gd name="connsiteY40" fmla="*/ 3337652 h 3498714"/>
                <a:gd name="connsiteX41" fmla="*/ 720012 w 4904699"/>
                <a:gd name="connsiteY41" fmla="*/ 2125717 h 3498714"/>
                <a:gd name="connsiteX42" fmla="*/ 718947 w 4904699"/>
                <a:gd name="connsiteY42" fmla="*/ 2033194 h 3498714"/>
                <a:gd name="connsiteX43" fmla="*/ 714162 w 4904699"/>
                <a:gd name="connsiteY43" fmla="*/ 2028410 h 3498714"/>
                <a:gd name="connsiteX44" fmla="*/ 654759 w 4904699"/>
                <a:gd name="connsiteY44" fmla="*/ 2028410 h 3498714"/>
                <a:gd name="connsiteX45" fmla="*/ 649974 w 4904699"/>
                <a:gd name="connsiteY45" fmla="*/ 2033194 h 3498714"/>
                <a:gd name="connsiteX46" fmla="*/ 649974 w 4904699"/>
                <a:gd name="connsiteY46" fmla="*/ 2125717 h 3498714"/>
                <a:gd name="connsiteX47" fmla="*/ 649574 w 4904699"/>
                <a:gd name="connsiteY47" fmla="*/ 3337652 h 3498714"/>
                <a:gd name="connsiteX48" fmla="*/ 488511 w 4904699"/>
                <a:gd name="connsiteY48" fmla="*/ 3498714 h 3498714"/>
                <a:gd name="connsiteX49" fmla="*/ 327450 w 4904699"/>
                <a:gd name="connsiteY49" fmla="*/ 3337652 h 3498714"/>
                <a:gd name="connsiteX50" fmla="*/ 327450 w 4904699"/>
                <a:gd name="connsiteY50" fmla="*/ 1458216 h 3498714"/>
                <a:gd name="connsiteX51" fmla="*/ 322427 w 4904699"/>
                <a:gd name="connsiteY51" fmla="*/ 1098205 h 3498714"/>
                <a:gd name="connsiteX52" fmla="*/ 317058 w 4904699"/>
                <a:gd name="connsiteY52" fmla="*/ 1092836 h 3498714"/>
                <a:gd name="connsiteX53" fmla="*/ 263371 w 4904699"/>
                <a:gd name="connsiteY53" fmla="*/ 1092836 h 3498714"/>
                <a:gd name="connsiteX54" fmla="*/ 258001 w 4904699"/>
                <a:gd name="connsiteY54" fmla="*/ 1098205 h 3498714"/>
                <a:gd name="connsiteX55" fmla="*/ 258001 w 4904699"/>
                <a:gd name="connsiteY55" fmla="*/ 1444446 h 3498714"/>
                <a:gd name="connsiteX56" fmla="*/ 257700 w 4904699"/>
                <a:gd name="connsiteY56" fmla="*/ 1444370 h 3498714"/>
                <a:gd name="connsiteX57" fmla="*/ 257700 w 4904699"/>
                <a:gd name="connsiteY57" fmla="*/ 1912573 h 3498714"/>
                <a:gd name="connsiteX58" fmla="*/ 128850 w 4904699"/>
                <a:gd name="connsiteY58" fmla="*/ 2041423 h 3498714"/>
                <a:gd name="connsiteX59" fmla="*/ 0 w 4904699"/>
                <a:gd name="connsiteY59" fmla="*/ 1912573 h 3498714"/>
                <a:gd name="connsiteX60" fmla="*/ 0 w 4904699"/>
                <a:gd name="connsiteY60" fmla="*/ 1101802 h 3498714"/>
                <a:gd name="connsiteX61" fmla="*/ 0 w 4904699"/>
                <a:gd name="connsiteY61" fmla="*/ 1003338 h 3498714"/>
                <a:gd name="connsiteX62" fmla="*/ 0 w 4904699"/>
                <a:gd name="connsiteY62" fmla="*/ 982486 h 3498714"/>
                <a:gd name="connsiteX63" fmla="*/ 12733 w 4904699"/>
                <a:gd name="connsiteY63" fmla="*/ 894663 h 3498714"/>
                <a:gd name="connsiteX64" fmla="*/ 20539 w 4904699"/>
                <a:gd name="connsiteY64" fmla="*/ 868773 h 3498714"/>
                <a:gd name="connsiteX65" fmla="*/ 358791 w 4904699"/>
                <a:gd name="connsiteY65" fmla="*/ 644545 h 3498714"/>
                <a:gd name="connsiteX66" fmla="*/ 682782 w 4904699"/>
                <a:gd name="connsiteY66" fmla="*/ 0 h 3498714"/>
                <a:gd name="connsiteX67" fmla="*/ 966919 w 4904699"/>
                <a:gd name="connsiteY67" fmla="*/ 284138 h 3498714"/>
                <a:gd name="connsiteX68" fmla="*/ 682782 w 4904699"/>
                <a:gd name="connsiteY68" fmla="*/ 568275 h 3498714"/>
                <a:gd name="connsiteX69" fmla="*/ 398645 w 4904699"/>
                <a:gd name="connsiteY69" fmla="*/ 284138 h 3498714"/>
                <a:gd name="connsiteX70" fmla="*/ 682782 w 4904699"/>
                <a:gd name="connsiteY70" fmla="*/ 0 h 3498714"/>
                <a:gd name="connsiteX71" fmla="*/ 4707054 w 4904699"/>
                <a:gd name="connsiteY71" fmla="*/ 2902312 h 3498714"/>
                <a:gd name="connsiteX72" fmla="*/ 4818179 w 4904699"/>
                <a:gd name="connsiteY72" fmla="*/ 3013437 h 3498714"/>
                <a:gd name="connsiteX73" fmla="*/ 4707054 w 4904699"/>
                <a:gd name="connsiteY73" fmla="*/ 3124562 h 3498714"/>
                <a:gd name="connsiteX74" fmla="*/ 4545125 w 4904699"/>
                <a:gd name="connsiteY74" fmla="*/ 3124562 h 3498714"/>
                <a:gd name="connsiteX75" fmla="*/ 4545125 w 4904699"/>
                <a:gd name="connsiteY75" fmla="*/ 3361625 h 3498714"/>
                <a:gd name="connsiteX76" fmla="*/ 4436113 w 4904699"/>
                <a:gd name="connsiteY76" fmla="*/ 3470637 h 3498714"/>
                <a:gd name="connsiteX77" fmla="*/ 4235039 w 4904699"/>
                <a:gd name="connsiteY77" fmla="*/ 3470637 h 3498714"/>
                <a:gd name="connsiteX78" fmla="*/ 4126027 w 4904699"/>
                <a:gd name="connsiteY78" fmla="*/ 3361625 h 3498714"/>
                <a:gd name="connsiteX79" fmla="*/ 4126027 w 4904699"/>
                <a:gd name="connsiteY79" fmla="*/ 3124562 h 3498714"/>
                <a:gd name="connsiteX80" fmla="*/ 2589325 w 4904699"/>
                <a:gd name="connsiteY80" fmla="*/ 3124562 h 3498714"/>
                <a:gd name="connsiteX81" fmla="*/ 2589325 w 4904699"/>
                <a:gd name="connsiteY81" fmla="*/ 3361625 h 3498714"/>
                <a:gd name="connsiteX82" fmla="*/ 2480313 w 4904699"/>
                <a:gd name="connsiteY82" fmla="*/ 3470637 h 3498714"/>
                <a:gd name="connsiteX83" fmla="*/ 2279239 w 4904699"/>
                <a:gd name="connsiteY83" fmla="*/ 3470637 h 3498714"/>
                <a:gd name="connsiteX84" fmla="*/ 2170227 w 4904699"/>
                <a:gd name="connsiteY84" fmla="*/ 3361625 h 3498714"/>
                <a:gd name="connsiteX85" fmla="*/ 2170227 w 4904699"/>
                <a:gd name="connsiteY85" fmla="*/ 3124562 h 3498714"/>
                <a:gd name="connsiteX86" fmla="*/ 2052754 w 4904699"/>
                <a:gd name="connsiteY86" fmla="*/ 3124562 h 3498714"/>
                <a:gd name="connsiteX87" fmla="*/ 1941629 w 4904699"/>
                <a:gd name="connsiteY87" fmla="*/ 3013437 h 3498714"/>
                <a:gd name="connsiteX88" fmla="*/ 2052754 w 4904699"/>
                <a:gd name="connsiteY88" fmla="*/ 2902312 h 3498714"/>
                <a:gd name="connsiteX89" fmla="*/ 682782 w 4904699"/>
                <a:gd name="connsiteY89" fmla="*/ 0 h 3498714"/>
                <a:gd name="connsiteX90" fmla="*/ 4311608 w 4904699"/>
                <a:gd name="connsiteY90" fmla="*/ 2270487 h 3498714"/>
                <a:gd name="connsiteX91" fmla="*/ 4492583 w 4904699"/>
                <a:gd name="connsiteY91" fmla="*/ 2451462 h 3498714"/>
                <a:gd name="connsiteX0" fmla="*/ 2979061 w 4904699"/>
                <a:gd name="connsiteY0" fmla="*/ 2089512 h 3498714"/>
                <a:gd name="connsiteX1" fmla="*/ 2671086 w 4904699"/>
                <a:gd name="connsiteY1" fmla="*/ 2397487 h 3498714"/>
                <a:gd name="connsiteX2" fmla="*/ 2671086 w 4904699"/>
                <a:gd name="connsiteY2" fmla="*/ 2584811 h 3498714"/>
                <a:gd name="connsiteX3" fmla="*/ 4083961 w 4904699"/>
                <a:gd name="connsiteY3" fmla="*/ 2584811 h 3498714"/>
                <a:gd name="connsiteX4" fmla="*/ 4083961 w 4904699"/>
                <a:gd name="connsiteY4" fmla="*/ 2397487 h 3498714"/>
                <a:gd name="connsiteX5" fmla="*/ 3775986 w 4904699"/>
                <a:gd name="connsiteY5" fmla="*/ 2089512 h 3498714"/>
                <a:gd name="connsiteX6" fmla="*/ 2979061 w 4904699"/>
                <a:gd name="connsiteY6" fmla="*/ 2089512 h 3498714"/>
                <a:gd name="connsiteX7" fmla="*/ 2251033 w 4904699"/>
                <a:gd name="connsiteY7" fmla="*/ 2089512 h 3498714"/>
                <a:gd name="connsiteX8" fmla="*/ 2070058 w 4904699"/>
                <a:gd name="connsiteY8" fmla="*/ 2270487 h 3498714"/>
                <a:gd name="connsiteX9" fmla="*/ 2251033 w 4904699"/>
                <a:gd name="connsiteY9" fmla="*/ 2451462 h 3498714"/>
                <a:gd name="connsiteX10" fmla="*/ 2432008 w 4904699"/>
                <a:gd name="connsiteY10" fmla="*/ 2270487 h 3498714"/>
                <a:gd name="connsiteX11" fmla="*/ 2251033 w 4904699"/>
                <a:gd name="connsiteY11" fmla="*/ 2089512 h 3498714"/>
                <a:gd name="connsiteX12" fmla="*/ 2842751 w 4904699"/>
                <a:gd name="connsiteY12" fmla="*/ 1749356 h 3498714"/>
                <a:gd name="connsiteX13" fmla="*/ 2392797 w 4904699"/>
                <a:gd name="connsiteY13" fmla="*/ 1878907 h 3498714"/>
                <a:gd name="connsiteX14" fmla="*/ 2478781 w 4904699"/>
                <a:gd name="connsiteY14" fmla="*/ 1920808 h 3498714"/>
                <a:gd name="connsiteX15" fmla="*/ 2842751 w 4904699"/>
                <a:gd name="connsiteY15" fmla="*/ 1749356 h 3498714"/>
                <a:gd name="connsiteX16" fmla="*/ 2534724 w 4904699"/>
                <a:gd name="connsiteY16" fmla="*/ 982297 h 3498714"/>
                <a:gd name="connsiteX17" fmla="*/ 4904699 w 4904699"/>
                <a:gd name="connsiteY17" fmla="*/ 2705462 h 3498714"/>
                <a:gd name="connsiteX18" fmla="*/ 1970999 w 4904699"/>
                <a:gd name="connsiteY18" fmla="*/ 2826112 h 3498714"/>
                <a:gd name="connsiteX19" fmla="*/ 1850348 w 4904699"/>
                <a:gd name="connsiteY19" fmla="*/ 2705462 h 3498714"/>
                <a:gd name="connsiteX20" fmla="*/ 1956769 w 4904699"/>
                <a:gd name="connsiteY20" fmla="*/ 2587684 h 3498714"/>
                <a:gd name="connsiteX21" fmla="*/ 1823360 w 4904699"/>
                <a:gd name="connsiteY21" fmla="*/ 2279217 h 3498714"/>
                <a:gd name="connsiteX22" fmla="*/ 2217440 w 4904699"/>
                <a:gd name="connsiteY22" fmla="*/ 1856216 h 3498714"/>
                <a:gd name="connsiteX23" fmla="*/ 2534724 w 4904699"/>
                <a:gd name="connsiteY23" fmla="*/ 982297 h 3498714"/>
                <a:gd name="connsiteX24" fmla="*/ 358791 w 4904699"/>
                <a:gd name="connsiteY24" fmla="*/ 644545 h 3498714"/>
                <a:gd name="connsiteX25" fmla="*/ 1006774 w 4904699"/>
                <a:gd name="connsiteY25" fmla="*/ 644545 h 3498714"/>
                <a:gd name="connsiteX26" fmla="*/ 1542636 w 4904699"/>
                <a:gd name="connsiteY26" fmla="*/ 1193969 h 3498714"/>
                <a:gd name="connsiteX27" fmla="*/ 1929878 w 4904699"/>
                <a:gd name="connsiteY27" fmla="*/ 1193970 h 3498714"/>
                <a:gd name="connsiteX28" fmla="*/ 2070059 w 4904699"/>
                <a:gd name="connsiteY28" fmla="*/ 1334152 h 3498714"/>
                <a:gd name="connsiteX29" fmla="*/ 1929878 w 4904699"/>
                <a:gd name="connsiteY29" fmla="*/ 1474333 h 3498714"/>
                <a:gd name="connsiteX30" fmla="*/ 1520943 w 4904699"/>
                <a:gd name="connsiteY30" fmla="*/ 1470388 h 3498714"/>
                <a:gd name="connsiteX31" fmla="*/ 1332825 w 4904699"/>
                <a:gd name="connsiteY31" fmla="*/ 1367201 h 3498714"/>
                <a:gd name="connsiteX32" fmla="*/ 1106501 w 4904699"/>
                <a:gd name="connsiteY32" fmla="*/ 1098289 h 3498714"/>
                <a:gd name="connsiteX33" fmla="*/ 1101049 w 4904699"/>
                <a:gd name="connsiteY33" fmla="*/ 1092836 h 3498714"/>
                <a:gd name="connsiteX34" fmla="*/ 1046523 w 4904699"/>
                <a:gd name="connsiteY34" fmla="*/ 1092836 h 3498714"/>
                <a:gd name="connsiteX35" fmla="*/ 1041071 w 4904699"/>
                <a:gd name="connsiteY35" fmla="*/ 1098289 h 3498714"/>
                <a:gd name="connsiteX36" fmla="*/ 1042136 w 4904699"/>
                <a:gd name="connsiteY36" fmla="*/ 1419754 h 3498714"/>
                <a:gd name="connsiteX37" fmla="*/ 1042136 w 4904699"/>
                <a:gd name="connsiteY37" fmla="*/ 3337652 h 3498714"/>
                <a:gd name="connsiteX38" fmla="*/ 881075 w 4904699"/>
                <a:gd name="connsiteY38" fmla="*/ 3498714 h 3498714"/>
                <a:gd name="connsiteX39" fmla="*/ 720012 w 4904699"/>
                <a:gd name="connsiteY39" fmla="*/ 3337652 h 3498714"/>
                <a:gd name="connsiteX40" fmla="*/ 720012 w 4904699"/>
                <a:gd name="connsiteY40" fmla="*/ 2125717 h 3498714"/>
                <a:gd name="connsiteX41" fmla="*/ 718947 w 4904699"/>
                <a:gd name="connsiteY41" fmla="*/ 2033194 h 3498714"/>
                <a:gd name="connsiteX42" fmla="*/ 714162 w 4904699"/>
                <a:gd name="connsiteY42" fmla="*/ 2028410 h 3498714"/>
                <a:gd name="connsiteX43" fmla="*/ 654759 w 4904699"/>
                <a:gd name="connsiteY43" fmla="*/ 2028410 h 3498714"/>
                <a:gd name="connsiteX44" fmla="*/ 649974 w 4904699"/>
                <a:gd name="connsiteY44" fmla="*/ 2033194 h 3498714"/>
                <a:gd name="connsiteX45" fmla="*/ 649974 w 4904699"/>
                <a:gd name="connsiteY45" fmla="*/ 2125717 h 3498714"/>
                <a:gd name="connsiteX46" fmla="*/ 649574 w 4904699"/>
                <a:gd name="connsiteY46" fmla="*/ 3337652 h 3498714"/>
                <a:gd name="connsiteX47" fmla="*/ 488511 w 4904699"/>
                <a:gd name="connsiteY47" fmla="*/ 3498714 h 3498714"/>
                <a:gd name="connsiteX48" fmla="*/ 327450 w 4904699"/>
                <a:gd name="connsiteY48" fmla="*/ 3337652 h 3498714"/>
                <a:gd name="connsiteX49" fmla="*/ 327450 w 4904699"/>
                <a:gd name="connsiteY49" fmla="*/ 1458216 h 3498714"/>
                <a:gd name="connsiteX50" fmla="*/ 322427 w 4904699"/>
                <a:gd name="connsiteY50" fmla="*/ 1098205 h 3498714"/>
                <a:gd name="connsiteX51" fmla="*/ 317058 w 4904699"/>
                <a:gd name="connsiteY51" fmla="*/ 1092836 h 3498714"/>
                <a:gd name="connsiteX52" fmla="*/ 263371 w 4904699"/>
                <a:gd name="connsiteY52" fmla="*/ 1092836 h 3498714"/>
                <a:gd name="connsiteX53" fmla="*/ 258001 w 4904699"/>
                <a:gd name="connsiteY53" fmla="*/ 1098205 h 3498714"/>
                <a:gd name="connsiteX54" fmla="*/ 258001 w 4904699"/>
                <a:gd name="connsiteY54" fmla="*/ 1444446 h 3498714"/>
                <a:gd name="connsiteX55" fmla="*/ 257700 w 4904699"/>
                <a:gd name="connsiteY55" fmla="*/ 1444370 h 3498714"/>
                <a:gd name="connsiteX56" fmla="*/ 257700 w 4904699"/>
                <a:gd name="connsiteY56" fmla="*/ 1912573 h 3498714"/>
                <a:gd name="connsiteX57" fmla="*/ 128850 w 4904699"/>
                <a:gd name="connsiteY57" fmla="*/ 2041423 h 3498714"/>
                <a:gd name="connsiteX58" fmla="*/ 0 w 4904699"/>
                <a:gd name="connsiteY58" fmla="*/ 1912573 h 3498714"/>
                <a:gd name="connsiteX59" fmla="*/ 0 w 4904699"/>
                <a:gd name="connsiteY59" fmla="*/ 1101802 h 3498714"/>
                <a:gd name="connsiteX60" fmla="*/ 0 w 4904699"/>
                <a:gd name="connsiteY60" fmla="*/ 1003338 h 3498714"/>
                <a:gd name="connsiteX61" fmla="*/ 0 w 4904699"/>
                <a:gd name="connsiteY61" fmla="*/ 982486 h 3498714"/>
                <a:gd name="connsiteX62" fmla="*/ 12733 w 4904699"/>
                <a:gd name="connsiteY62" fmla="*/ 894663 h 3498714"/>
                <a:gd name="connsiteX63" fmla="*/ 20539 w 4904699"/>
                <a:gd name="connsiteY63" fmla="*/ 868773 h 3498714"/>
                <a:gd name="connsiteX64" fmla="*/ 358791 w 4904699"/>
                <a:gd name="connsiteY64" fmla="*/ 644545 h 3498714"/>
                <a:gd name="connsiteX65" fmla="*/ 682782 w 4904699"/>
                <a:gd name="connsiteY65" fmla="*/ 0 h 3498714"/>
                <a:gd name="connsiteX66" fmla="*/ 966919 w 4904699"/>
                <a:gd name="connsiteY66" fmla="*/ 284138 h 3498714"/>
                <a:gd name="connsiteX67" fmla="*/ 682782 w 4904699"/>
                <a:gd name="connsiteY67" fmla="*/ 568275 h 3498714"/>
                <a:gd name="connsiteX68" fmla="*/ 398645 w 4904699"/>
                <a:gd name="connsiteY68" fmla="*/ 284138 h 3498714"/>
                <a:gd name="connsiteX69" fmla="*/ 682782 w 4904699"/>
                <a:gd name="connsiteY69" fmla="*/ 0 h 3498714"/>
                <a:gd name="connsiteX70" fmla="*/ 4707054 w 4904699"/>
                <a:gd name="connsiteY70" fmla="*/ 2902312 h 3498714"/>
                <a:gd name="connsiteX71" fmla="*/ 4818179 w 4904699"/>
                <a:gd name="connsiteY71" fmla="*/ 3013437 h 3498714"/>
                <a:gd name="connsiteX72" fmla="*/ 4707054 w 4904699"/>
                <a:gd name="connsiteY72" fmla="*/ 3124562 h 3498714"/>
                <a:gd name="connsiteX73" fmla="*/ 4545125 w 4904699"/>
                <a:gd name="connsiteY73" fmla="*/ 3124562 h 3498714"/>
                <a:gd name="connsiteX74" fmla="*/ 4545125 w 4904699"/>
                <a:gd name="connsiteY74" fmla="*/ 3361625 h 3498714"/>
                <a:gd name="connsiteX75" fmla="*/ 4436113 w 4904699"/>
                <a:gd name="connsiteY75" fmla="*/ 3470637 h 3498714"/>
                <a:gd name="connsiteX76" fmla="*/ 4235039 w 4904699"/>
                <a:gd name="connsiteY76" fmla="*/ 3470637 h 3498714"/>
                <a:gd name="connsiteX77" fmla="*/ 4126027 w 4904699"/>
                <a:gd name="connsiteY77" fmla="*/ 3361625 h 3498714"/>
                <a:gd name="connsiteX78" fmla="*/ 4126027 w 4904699"/>
                <a:gd name="connsiteY78" fmla="*/ 3124562 h 3498714"/>
                <a:gd name="connsiteX79" fmla="*/ 2589325 w 4904699"/>
                <a:gd name="connsiteY79" fmla="*/ 3124562 h 3498714"/>
                <a:gd name="connsiteX80" fmla="*/ 2589325 w 4904699"/>
                <a:gd name="connsiteY80" fmla="*/ 3361625 h 3498714"/>
                <a:gd name="connsiteX81" fmla="*/ 2480313 w 4904699"/>
                <a:gd name="connsiteY81" fmla="*/ 3470637 h 3498714"/>
                <a:gd name="connsiteX82" fmla="*/ 2279239 w 4904699"/>
                <a:gd name="connsiteY82" fmla="*/ 3470637 h 3498714"/>
                <a:gd name="connsiteX83" fmla="*/ 2170227 w 4904699"/>
                <a:gd name="connsiteY83" fmla="*/ 3361625 h 3498714"/>
                <a:gd name="connsiteX84" fmla="*/ 2170227 w 4904699"/>
                <a:gd name="connsiteY84" fmla="*/ 3124562 h 3498714"/>
                <a:gd name="connsiteX85" fmla="*/ 2052754 w 4904699"/>
                <a:gd name="connsiteY85" fmla="*/ 3124562 h 3498714"/>
                <a:gd name="connsiteX86" fmla="*/ 1941629 w 4904699"/>
                <a:gd name="connsiteY86" fmla="*/ 3013437 h 3498714"/>
                <a:gd name="connsiteX87" fmla="*/ 2052754 w 4904699"/>
                <a:gd name="connsiteY87" fmla="*/ 2902312 h 3498714"/>
                <a:gd name="connsiteX88" fmla="*/ 682782 w 4904699"/>
                <a:gd name="connsiteY88" fmla="*/ 0 h 3498714"/>
                <a:gd name="connsiteX89" fmla="*/ 4311608 w 4904699"/>
                <a:gd name="connsiteY89" fmla="*/ 2270487 h 3498714"/>
                <a:gd name="connsiteX90" fmla="*/ 4492583 w 4904699"/>
                <a:gd name="connsiteY90" fmla="*/ 2451462 h 3498714"/>
                <a:gd name="connsiteX0" fmla="*/ 2979061 w 4818179"/>
                <a:gd name="connsiteY0" fmla="*/ 2089512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4083961 w 4818179"/>
                <a:gd name="connsiteY4" fmla="*/ 2397487 h 3498714"/>
                <a:gd name="connsiteX5" fmla="*/ 3775986 w 4818179"/>
                <a:gd name="connsiteY5" fmla="*/ 2089512 h 3498714"/>
                <a:gd name="connsiteX6" fmla="*/ 2979061 w 4818179"/>
                <a:gd name="connsiteY6" fmla="*/ 2089512 h 3498714"/>
                <a:gd name="connsiteX7" fmla="*/ 2251033 w 4818179"/>
                <a:gd name="connsiteY7" fmla="*/ 2089512 h 3498714"/>
                <a:gd name="connsiteX8" fmla="*/ 2070058 w 4818179"/>
                <a:gd name="connsiteY8" fmla="*/ 2270487 h 3498714"/>
                <a:gd name="connsiteX9" fmla="*/ 2251033 w 4818179"/>
                <a:gd name="connsiteY9" fmla="*/ 2451462 h 3498714"/>
                <a:gd name="connsiteX10" fmla="*/ 2432008 w 4818179"/>
                <a:gd name="connsiteY10" fmla="*/ 2270487 h 3498714"/>
                <a:gd name="connsiteX11" fmla="*/ 2251033 w 4818179"/>
                <a:gd name="connsiteY11" fmla="*/ 2089512 h 3498714"/>
                <a:gd name="connsiteX12" fmla="*/ 2842751 w 4818179"/>
                <a:gd name="connsiteY12" fmla="*/ 1749356 h 3498714"/>
                <a:gd name="connsiteX13" fmla="*/ 2392797 w 4818179"/>
                <a:gd name="connsiteY13" fmla="*/ 1878907 h 3498714"/>
                <a:gd name="connsiteX14" fmla="*/ 2478781 w 4818179"/>
                <a:gd name="connsiteY14" fmla="*/ 1920808 h 3498714"/>
                <a:gd name="connsiteX15" fmla="*/ 2842751 w 4818179"/>
                <a:gd name="connsiteY15" fmla="*/ 1749356 h 3498714"/>
                <a:gd name="connsiteX16" fmla="*/ 2534724 w 4818179"/>
                <a:gd name="connsiteY16" fmla="*/ 982297 h 3498714"/>
                <a:gd name="connsiteX17" fmla="*/ 1970999 w 4818179"/>
                <a:gd name="connsiteY17" fmla="*/ 2826112 h 3498714"/>
                <a:gd name="connsiteX18" fmla="*/ 1850348 w 4818179"/>
                <a:gd name="connsiteY18" fmla="*/ 2705462 h 3498714"/>
                <a:gd name="connsiteX19" fmla="*/ 1956769 w 4818179"/>
                <a:gd name="connsiteY19" fmla="*/ 2587684 h 3498714"/>
                <a:gd name="connsiteX20" fmla="*/ 1823360 w 4818179"/>
                <a:gd name="connsiteY20" fmla="*/ 2279217 h 3498714"/>
                <a:gd name="connsiteX21" fmla="*/ 2217440 w 4818179"/>
                <a:gd name="connsiteY21" fmla="*/ 1856216 h 3498714"/>
                <a:gd name="connsiteX22" fmla="*/ 2534724 w 4818179"/>
                <a:gd name="connsiteY22" fmla="*/ 982297 h 3498714"/>
                <a:gd name="connsiteX23" fmla="*/ 358791 w 4818179"/>
                <a:gd name="connsiteY23" fmla="*/ 644545 h 3498714"/>
                <a:gd name="connsiteX24" fmla="*/ 1006774 w 4818179"/>
                <a:gd name="connsiteY24" fmla="*/ 644545 h 3498714"/>
                <a:gd name="connsiteX25" fmla="*/ 1542636 w 4818179"/>
                <a:gd name="connsiteY25" fmla="*/ 1193969 h 3498714"/>
                <a:gd name="connsiteX26" fmla="*/ 1929878 w 4818179"/>
                <a:gd name="connsiteY26" fmla="*/ 1193970 h 3498714"/>
                <a:gd name="connsiteX27" fmla="*/ 2070059 w 4818179"/>
                <a:gd name="connsiteY27" fmla="*/ 1334152 h 3498714"/>
                <a:gd name="connsiteX28" fmla="*/ 1929878 w 4818179"/>
                <a:gd name="connsiteY28" fmla="*/ 1474333 h 3498714"/>
                <a:gd name="connsiteX29" fmla="*/ 1520943 w 4818179"/>
                <a:gd name="connsiteY29" fmla="*/ 1470388 h 3498714"/>
                <a:gd name="connsiteX30" fmla="*/ 1332825 w 4818179"/>
                <a:gd name="connsiteY30" fmla="*/ 1367201 h 3498714"/>
                <a:gd name="connsiteX31" fmla="*/ 1106501 w 4818179"/>
                <a:gd name="connsiteY31" fmla="*/ 1098289 h 3498714"/>
                <a:gd name="connsiteX32" fmla="*/ 1101049 w 4818179"/>
                <a:gd name="connsiteY32" fmla="*/ 1092836 h 3498714"/>
                <a:gd name="connsiteX33" fmla="*/ 1046523 w 4818179"/>
                <a:gd name="connsiteY33" fmla="*/ 1092836 h 3498714"/>
                <a:gd name="connsiteX34" fmla="*/ 1041071 w 4818179"/>
                <a:gd name="connsiteY34" fmla="*/ 1098289 h 3498714"/>
                <a:gd name="connsiteX35" fmla="*/ 1042136 w 4818179"/>
                <a:gd name="connsiteY35" fmla="*/ 1419754 h 3498714"/>
                <a:gd name="connsiteX36" fmla="*/ 1042136 w 4818179"/>
                <a:gd name="connsiteY36" fmla="*/ 3337652 h 3498714"/>
                <a:gd name="connsiteX37" fmla="*/ 881075 w 4818179"/>
                <a:gd name="connsiteY37" fmla="*/ 3498714 h 3498714"/>
                <a:gd name="connsiteX38" fmla="*/ 720012 w 4818179"/>
                <a:gd name="connsiteY38" fmla="*/ 3337652 h 3498714"/>
                <a:gd name="connsiteX39" fmla="*/ 720012 w 4818179"/>
                <a:gd name="connsiteY39" fmla="*/ 2125717 h 3498714"/>
                <a:gd name="connsiteX40" fmla="*/ 718947 w 4818179"/>
                <a:gd name="connsiteY40" fmla="*/ 2033194 h 3498714"/>
                <a:gd name="connsiteX41" fmla="*/ 714162 w 4818179"/>
                <a:gd name="connsiteY41" fmla="*/ 2028410 h 3498714"/>
                <a:gd name="connsiteX42" fmla="*/ 654759 w 4818179"/>
                <a:gd name="connsiteY42" fmla="*/ 2028410 h 3498714"/>
                <a:gd name="connsiteX43" fmla="*/ 649974 w 4818179"/>
                <a:gd name="connsiteY43" fmla="*/ 2033194 h 3498714"/>
                <a:gd name="connsiteX44" fmla="*/ 649974 w 4818179"/>
                <a:gd name="connsiteY44" fmla="*/ 2125717 h 3498714"/>
                <a:gd name="connsiteX45" fmla="*/ 649574 w 4818179"/>
                <a:gd name="connsiteY45" fmla="*/ 3337652 h 3498714"/>
                <a:gd name="connsiteX46" fmla="*/ 488511 w 4818179"/>
                <a:gd name="connsiteY46" fmla="*/ 3498714 h 3498714"/>
                <a:gd name="connsiteX47" fmla="*/ 327450 w 4818179"/>
                <a:gd name="connsiteY47" fmla="*/ 3337652 h 3498714"/>
                <a:gd name="connsiteX48" fmla="*/ 327450 w 4818179"/>
                <a:gd name="connsiteY48" fmla="*/ 1458216 h 3498714"/>
                <a:gd name="connsiteX49" fmla="*/ 322427 w 4818179"/>
                <a:gd name="connsiteY49" fmla="*/ 1098205 h 3498714"/>
                <a:gd name="connsiteX50" fmla="*/ 317058 w 4818179"/>
                <a:gd name="connsiteY50" fmla="*/ 1092836 h 3498714"/>
                <a:gd name="connsiteX51" fmla="*/ 263371 w 4818179"/>
                <a:gd name="connsiteY51" fmla="*/ 1092836 h 3498714"/>
                <a:gd name="connsiteX52" fmla="*/ 258001 w 4818179"/>
                <a:gd name="connsiteY52" fmla="*/ 1098205 h 3498714"/>
                <a:gd name="connsiteX53" fmla="*/ 258001 w 4818179"/>
                <a:gd name="connsiteY53" fmla="*/ 1444446 h 3498714"/>
                <a:gd name="connsiteX54" fmla="*/ 257700 w 4818179"/>
                <a:gd name="connsiteY54" fmla="*/ 1444370 h 3498714"/>
                <a:gd name="connsiteX55" fmla="*/ 257700 w 4818179"/>
                <a:gd name="connsiteY55" fmla="*/ 1912573 h 3498714"/>
                <a:gd name="connsiteX56" fmla="*/ 128850 w 4818179"/>
                <a:gd name="connsiteY56" fmla="*/ 2041423 h 3498714"/>
                <a:gd name="connsiteX57" fmla="*/ 0 w 4818179"/>
                <a:gd name="connsiteY57" fmla="*/ 1912573 h 3498714"/>
                <a:gd name="connsiteX58" fmla="*/ 0 w 4818179"/>
                <a:gd name="connsiteY58" fmla="*/ 1101802 h 3498714"/>
                <a:gd name="connsiteX59" fmla="*/ 0 w 4818179"/>
                <a:gd name="connsiteY59" fmla="*/ 1003338 h 3498714"/>
                <a:gd name="connsiteX60" fmla="*/ 0 w 4818179"/>
                <a:gd name="connsiteY60" fmla="*/ 982486 h 3498714"/>
                <a:gd name="connsiteX61" fmla="*/ 12733 w 4818179"/>
                <a:gd name="connsiteY61" fmla="*/ 894663 h 3498714"/>
                <a:gd name="connsiteX62" fmla="*/ 20539 w 4818179"/>
                <a:gd name="connsiteY62" fmla="*/ 868773 h 3498714"/>
                <a:gd name="connsiteX63" fmla="*/ 358791 w 4818179"/>
                <a:gd name="connsiteY63" fmla="*/ 644545 h 3498714"/>
                <a:gd name="connsiteX64" fmla="*/ 682782 w 4818179"/>
                <a:gd name="connsiteY64" fmla="*/ 0 h 3498714"/>
                <a:gd name="connsiteX65" fmla="*/ 966919 w 4818179"/>
                <a:gd name="connsiteY65" fmla="*/ 284138 h 3498714"/>
                <a:gd name="connsiteX66" fmla="*/ 682782 w 4818179"/>
                <a:gd name="connsiteY66" fmla="*/ 568275 h 3498714"/>
                <a:gd name="connsiteX67" fmla="*/ 398645 w 4818179"/>
                <a:gd name="connsiteY67" fmla="*/ 284138 h 3498714"/>
                <a:gd name="connsiteX68" fmla="*/ 682782 w 4818179"/>
                <a:gd name="connsiteY68" fmla="*/ 0 h 3498714"/>
                <a:gd name="connsiteX69" fmla="*/ 4707054 w 4818179"/>
                <a:gd name="connsiteY69" fmla="*/ 2902312 h 3498714"/>
                <a:gd name="connsiteX70" fmla="*/ 4818179 w 4818179"/>
                <a:gd name="connsiteY70" fmla="*/ 3013437 h 3498714"/>
                <a:gd name="connsiteX71" fmla="*/ 4707054 w 4818179"/>
                <a:gd name="connsiteY71" fmla="*/ 3124562 h 3498714"/>
                <a:gd name="connsiteX72" fmla="*/ 4545125 w 4818179"/>
                <a:gd name="connsiteY72" fmla="*/ 3124562 h 3498714"/>
                <a:gd name="connsiteX73" fmla="*/ 4545125 w 4818179"/>
                <a:gd name="connsiteY73" fmla="*/ 3361625 h 3498714"/>
                <a:gd name="connsiteX74" fmla="*/ 4436113 w 4818179"/>
                <a:gd name="connsiteY74" fmla="*/ 3470637 h 3498714"/>
                <a:gd name="connsiteX75" fmla="*/ 4235039 w 4818179"/>
                <a:gd name="connsiteY75" fmla="*/ 3470637 h 3498714"/>
                <a:gd name="connsiteX76" fmla="*/ 4126027 w 4818179"/>
                <a:gd name="connsiteY76" fmla="*/ 3361625 h 3498714"/>
                <a:gd name="connsiteX77" fmla="*/ 4126027 w 4818179"/>
                <a:gd name="connsiteY77" fmla="*/ 3124562 h 3498714"/>
                <a:gd name="connsiteX78" fmla="*/ 2589325 w 4818179"/>
                <a:gd name="connsiteY78" fmla="*/ 3124562 h 3498714"/>
                <a:gd name="connsiteX79" fmla="*/ 2589325 w 4818179"/>
                <a:gd name="connsiteY79" fmla="*/ 3361625 h 3498714"/>
                <a:gd name="connsiteX80" fmla="*/ 2480313 w 4818179"/>
                <a:gd name="connsiteY80" fmla="*/ 3470637 h 3498714"/>
                <a:gd name="connsiteX81" fmla="*/ 2279239 w 4818179"/>
                <a:gd name="connsiteY81" fmla="*/ 3470637 h 3498714"/>
                <a:gd name="connsiteX82" fmla="*/ 2170227 w 4818179"/>
                <a:gd name="connsiteY82" fmla="*/ 3361625 h 3498714"/>
                <a:gd name="connsiteX83" fmla="*/ 2170227 w 4818179"/>
                <a:gd name="connsiteY83" fmla="*/ 3124562 h 3498714"/>
                <a:gd name="connsiteX84" fmla="*/ 2052754 w 4818179"/>
                <a:gd name="connsiteY84" fmla="*/ 3124562 h 3498714"/>
                <a:gd name="connsiteX85" fmla="*/ 1941629 w 4818179"/>
                <a:gd name="connsiteY85" fmla="*/ 3013437 h 3498714"/>
                <a:gd name="connsiteX86" fmla="*/ 2052754 w 4818179"/>
                <a:gd name="connsiteY86" fmla="*/ 2902312 h 3498714"/>
                <a:gd name="connsiteX87" fmla="*/ 682782 w 4818179"/>
                <a:gd name="connsiteY87" fmla="*/ 0 h 3498714"/>
                <a:gd name="connsiteX88" fmla="*/ 4311608 w 4818179"/>
                <a:gd name="connsiteY88" fmla="*/ 2270487 h 3498714"/>
                <a:gd name="connsiteX89" fmla="*/ 4492583 w 4818179"/>
                <a:gd name="connsiteY89" fmla="*/ 2451462 h 3498714"/>
                <a:gd name="connsiteX0" fmla="*/ 2979061 w 4818179"/>
                <a:gd name="connsiteY0" fmla="*/ 2089512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4083961 w 4818179"/>
                <a:gd name="connsiteY4" fmla="*/ 2397487 h 3498714"/>
                <a:gd name="connsiteX5" fmla="*/ 3775986 w 4818179"/>
                <a:gd name="connsiteY5" fmla="*/ 2089512 h 3498714"/>
                <a:gd name="connsiteX6" fmla="*/ 2979061 w 4818179"/>
                <a:gd name="connsiteY6" fmla="*/ 2089512 h 3498714"/>
                <a:gd name="connsiteX7" fmla="*/ 2251033 w 4818179"/>
                <a:gd name="connsiteY7" fmla="*/ 2089512 h 3498714"/>
                <a:gd name="connsiteX8" fmla="*/ 2070058 w 4818179"/>
                <a:gd name="connsiteY8" fmla="*/ 2270487 h 3498714"/>
                <a:gd name="connsiteX9" fmla="*/ 2251033 w 4818179"/>
                <a:gd name="connsiteY9" fmla="*/ 2451462 h 3498714"/>
                <a:gd name="connsiteX10" fmla="*/ 2432008 w 4818179"/>
                <a:gd name="connsiteY10" fmla="*/ 2270487 h 3498714"/>
                <a:gd name="connsiteX11" fmla="*/ 2251033 w 4818179"/>
                <a:gd name="connsiteY11" fmla="*/ 2089512 h 3498714"/>
                <a:gd name="connsiteX12" fmla="*/ 2842751 w 4818179"/>
                <a:gd name="connsiteY12" fmla="*/ 1749356 h 3498714"/>
                <a:gd name="connsiteX13" fmla="*/ 2392797 w 4818179"/>
                <a:gd name="connsiteY13" fmla="*/ 1878907 h 3498714"/>
                <a:gd name="connsiteX14" fmla="*/ 2478781 w 4818179"/>
                <a:gd name="connsiteY14" fmla="*/ 1920808 h 3498714"/>
                <a:gd name="connsiteX15" fmla="*/ 2842751 w 4818179"/>
                <a:gd name="connsiteY15" fmla="*/ 1749356 h 3498714"/>
                <a:gd name="connsiteX16" fmla="*/ 2534724 w 4818179"/>
                <a:gd name="connsiteY16" fmla="*/ 982297 h 3498714"/>
                <a:gd name="connsiteX17" fmla="*/ 1970999 w 4818179"/>
                <a:gd name="connsiteY17" fmla="*/ 2826112 h 3498714"/>
                <a:gd name="connsiteX18" fmla="*/ 1850348 w 4818179"/>
                <a:gd name="connsiteY18" fmla="*/ 2705462 h 3498714"/>
                <a:gd name="connsiteX19" fmla="*/ 1956769 w 4818179"/>
                <a:gd name="connsiteY19" fmla="*/ 2587684 h 3498714"/>
                <a:gd name="connsiteX20" fmla="*/ 1823360 w 4818179"/>
                <a:gd name="connsiteY20" fmla="*/ 2279217 h 3498714"/>
                <a:gd name="connsiteX21" fmla="*/ 2217440 w 4818179"/>
                <a:gd name="connsiteY21" fmla="*/ 1856216 h 3498714"/>
                <a:gd name="connsiteX22" fmla="*/ 2534724 w 4818179"/>
                <a:gd name="connsiteY22" fmla="*/ 982297 h 3498714"/>
                <a:gd name="connsiteX23" fmla="*/ 358791 w 4818179"/>
                <a:gd name="connsiteY23" fmla="*/ 644545 h 3498714"/>
                <a:gd name="connsiteX24" fmla="*/ 1006774 w 4818179"/>
                <a:gd name="connsiteY24" fmla="*/ 644545 h 3498714"/>
                <a:gd name="connsiteX25" fmla="*/ 1542636 w 4818179"/>
                <a:gd name="connsiteY25" fmla="*/ 1193969 h 3498714"/>
                <a:gd name="connsiteX26" fmla="*/ 1929878 w 4818179"/>
                <a:gd name="connsiteY26" fmla="*/ 1193970 h 3498714"/>
                <a:gd name="connsiteX27" fmla="*/ 2070059 w 4818179"/>
                <a:gd name="connsiteY27" fmla="*/ 1334152 h 3498714"/>
                <a:gd name="connsiteX28" fmla="*/ 1929878 w 4818179"/>
                <a:gd name="connsiteY28" fmla="*/ 1474333 h 3498714"/>
                <a:gd name="connsiteX29" fmla="*/ 1520943 w 4818179"/>
                <a:gd name="connsiteY29" fmla="*/ 1470388 h 3498714"/>
                <a:gd name="connsiteX30" fmla="*/ 1332825 w 4818179"/>
                <a:gd name="connsiteY30" fmla="*/ 1367201 h 3498714"/>
                <a:gd name="connsiteX31" fmla="*/ 1106501 w 4818179"/>
                <a:gd name="connsiteY31" fmla="*/ 1098289 h 3498714"/>
                <a:gd name="connsiteX32" fmla="*/ 1101049 w 4818179"/>
                <a:gd name="connsiteY32" fmla="*/ 1092836 h 3498714"/>
                <a:gd name="connsiteX33" fmla="*/ 1046523 w 4818179"/>
                <a:gd name="connsiteY33" fmla="*/ 1092836 h 3498714"/>
                <a:gd name="connsiteX34" fmla="*/ 1041071 w 4818179"/>
                <a:gd name="connsiteY34" fmla="*/ 1098289 h 3498714"/>
                <a:gd name="connsiteX35" fmla="*/ 1042136 w 4818179"/>
                <a:gd name="connsiteY35" fmla="*/ 1419754 h 3498714"/>
                <a:gd name="connsiteX36" fmla="*/ 1042136 w 4818179"/>
                <a:gd name="connsiteY36" fmla="*/ 3337652 h 3498714"/>
                <a:gd name="connsiteX37" fmla="*/ 881075 w 4818179"/>
                <a:gd name="connsiteY37" fmla="*/ 3498714 h 3498714"/>
                <a:gd name="connsiteX38" fmla="*/ 720012 w 4818179"/>
                <a:gd name="connsiteY38" fmla="*/ 3337652 h 3498714"/>
                <a:gd name="connsiteX39" fmla="*/ 720012 w 4818179"/>
                <a:gd name="connsiteY39" fmla="*/ 2125717 h 3498714"/>
                <a:gd name="connsiteX40" fmla="*/ 718947 w 4818179"/>
                <a:gd name="connsiteY40" fmla="*/ 2033194 h 3498714"/>
                <a:gd name="connsiteX41" fmla="*/ 714162 w 4818179"/>
                <a:gd name="connsiteY41" fmla="*/ 2028410 h 3498714"/>
                <a:gd name="connsiteX42" fmla="*/ 654759 w 4818179"/>
                <a:gd name="connsiteY42" fmla="*/ 2028410 h 3498714"/>
                <a:gd name="connsiteX43" fmla="*/ 649974 w 4818179"/>
                <a:gd name="connsiteY43" fmla="*/ 2033194 h 3498714"/>
                <a:gd name="connsiteX44" fmla="*/ 649974 w 4818179"/>
                <a:gd name="connsiteY44" fmla="*/ 2125717 h 3498714"/>
                <a:gd name="connsiteX45" fmla="*/ 649574 w 4818179"/>
                <a:gd name="connsiteY45" fmla="*/ 3337652 h 3498714"/>
                <a:gd name="connsiteX46" fmla="*/ 488511 w 4818179"/>
                <a:gd name="connsiteY46" fmla="*/ 3498714 h 3498714"/>
                <a:gd name="connsiteX47" fmla="*/ 327450 w 4818179"/>
                <a:gd name="connsiteY47" fmla="*/ 3337652 h 3498714"/>
                <a:gd name="connsiteX48" fmla="*/ 327450 w 4818179"/>
                <a:gd name="connsiteY48" fmla="*/ 1458216 h 3498714"/>
                <a:gd name="connsiteX49" fmla="*/ 322427 w 4818179"/>
                <a:gd name="connsiteY49" fmla="*/ 1098205 h 3498714"/>
                <a:gd name="connsiteX50" fmla="*/ 317058 w 4818179"/>
                <a:gd name="connsiteY50" fmla="*/ 1092836 h 3498714"/>
                <a:gd name="connsiteX51" fmla="*/ 263371 w 4818179"/>
                <a:gd name="connsiteY51" fmla="*/ 1092836 h 3498714"/>
                <a:gd name="connsiteX52" fmla="*/ 258001 w 4818179"/>
                <a:gd name="connsiteY52" fmla="*/ 1098205 h 3498714"/>
                <a:gd name="connsiteX53" fmla="*/ 258001 w 4818179"/>
                <a:gd name="connsiteY53" fmla="*/ 1444446 h 3498714"/>
                <a:gd name="connsiteX54" fmla="*/ 257700 w 4818179"/>
                <a:gd name="connsiteY54" fmla="*/ 1444370 h 3498714"/>
                <a:gd name="connsiteX55" fmla="*/ 257700 w 4818179"/>
                <a:gd name="connsiteY55" fmla="*/ 1912573 h 3498714"/>
                <a:gd name="connsiteX56" fmla="*/ 128850 w 4818179"/>
                <a:gd name="connsiteY56" fmla="*/ 2041423 h 3498714"/>
                <a:gd name="connsiteX57" fmla="*/ 0 w 4818179"/>
                <a:gd name="connsiteY57" fmla="*/ 1912573 h 3498714"/>
                <a:gd name="connsiteX58" fmla="*/ 0 w 4818179"/>
                <a:gd name="connsiteY58" fmla="*/ 1101802 h 3498714"/>
                <a:gd name="connsiteX59" fmla="*/ 0 w 4818179"/>
                <a:gd name="connsiteY59" fmla="*/ 1003338 h 3498714"/>
                <a:gd name="connsiteX60" fmla="*/ 0 w 4818179"/>
                <a:gd name="connsiteY60" fmla="*/ 982486 h 3498714"/>
                <a:gd name="connsiteX61" fmla="*/ 12733 w 4818179"/>
                <a:gd name="connsiteY61" fmla="*/ 894663 h 3498714"/>
                <a:gd name="connsiteX62" fmla="*/ 20539 w 4818179"/>
                <a:gd name="connsiteY62" fmla="*/ 868773 h 3498714"/>
                <a:gd name="connsiteX63" fmla="*/ 358791 w 4818179"/>
                <a:gd name="connsiteY63" fmla="*/ 644545 h 3498714"/>
                <a:gd name="connsiteX64" fmla="*/ 682782 w 4818179"/>
                <a:gd name="connsiteY64" fmla="*/ 0 h 3498714"/>
                <a:gd name="connsiteX65" fmla="*/ 966919 w 4818179"/>
                <a:gd name="connsiteY65" fmla="*/ 284138 h 3498714"/>
                <a:gd name="connsiteX66" fmla="*/ 682782 w 4818179"/>
                <a:gd name="connsiteY66" fmla="*/ 568275 h 3498714"/>
                <a:gd name="connsiteX67" fmla="*/ 398645 w 4818179"/>
                <a:gd name="connsiteY67" fmla="*/ 284138 h 3498714"/>
                <a:gd name="connsiteX68" fmla="*/ 682782 w 4818179"/>
                <a:gd name="connsiteY68" fmla="*/ 0 h 3498714"/>
                <a:gd name="connsiteX69" fmla="*/ 4707054 w 4818179"/>
                <a:gd name="connsiteY69" fmla="*/ 2902312 h 3498714"/>
                <a:gd name="connsiteX70" fmla="*/ 4818179 w 4818179"/>
                <a:gd name="connsiteY70" fmla="*/ 3013437 h 3498714"/>
                <a:gd name="connsiteX71" fmla="*/ 4707054 w 4818179"/>
                <a:gd name="connsiteY71" fmla="*/ 3124562 h 3498714"/>
                <a:gd name="connsiteX72" fmla="*/ 4545125 w 4818179"/>
                <a:gd name="connsiteY72" fmla="*/ 3124562 h 3498714"/>
                <a:gd name="connsiteX73" fmla="*/ 4545125 w 4818179"/>
                <a:gd name="connsiteY73" fmla="*/ 3361625 h 3498714"/>
                <a:gd name="connsiteX74" fmla="*/ 4436113 w 4818179"/>
                <a:gd name="connsiteY74" fmla="*/ 3470637 h 3498714"/>
                <a:gd name="connsiteX75" fmla="*/ 4235039 w 4818179"/>
                <a:gd name="connsiteY75" fmla="*/ 3470637 h 3498714"/>
                <a:gd name="connsiteX76" fmla="*/ 4126027 w 4818179"/>
                <a:gd name="connsiteY76" fmla="*/ 3361625 h 3498714"/>
                <a:gd name="connsiteX77" fmla="*/ 4126027 w 4818179"/>
                <a:gd name="connsiteY77" fmla="*/ 3124562 h 3498714"/>
                <a:gd name="connsiteX78" fmla="*/ 2589325 w 4818179"/>
                <a:gd name="connsiteY78" fmla="*/ 3124562 h 3498714"/>
                <a:gd name="connsiteX79" fmla="*/ 2589325 w 4818179"/>
                <a:gd name="connsiteY79" fmla="*/ 3361625 h 3498714"/>
                <a:gd name="connsiteX80" fmla="*/ 2480313 w 4818179"/>
                <a:gd name="connsiteY80" fmla="*/ 3470637 h 3498714"/>
                <a:gd name="connsiteX81" fmla="*/ 2279239 w 4818179"/>
                <a:gd name="connsiteY81" fmla="*/ 3470637 h 3498714"/>
                <a:gd name="connsiteX82" fmla="*/ 2170227 w 4818179"/>
                <a:gd name="connsiteY82" fmla="*/ 3361625 h 3498714"/>
                <a:gd name="connsiteX83" fmla="*/ 2170227 w 4818179"/>
                <a:gd name="connsiteY83" fmla="*/ 3124562 h 3498714"/>
                <a:gd name="connsiteX84" fmla="*/ 2052754 w 4818179"/>
                <a:gd name="connsiteY84" fmla="*/ 3124562 h 3498714"/>
                <a:gd name="connsiteX85" fmla="*/ 1941629 w 4818179"/>
                <a:gd name="connsiteY85" fmla="*/ 3013437 h 3498714"/>
                <a:gd name="connsiteX86" fmla="*/ 2052754 w 4818179"/>
                <a:gd name="connsiteY86" fmla="*/ 2902312 h 3498714"/>
                <a:gd name="connsiteX87" fmla="*/ 682782 w 4818179"/>
                <a:gd name="connsiteY87" fmla="*/ 0 h 3498714"/>
                <a:gd name="connsiteX0" fmla="*/ 2979061 w 4818179"/>
                <a:gd name="connsiteY0" fmla="*/ 2089512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3775986 w 4818179"/>
                <a:gd name="connsiteY4" fmla="*/ 2089512 h 3498714"/>
                <a:gd name="connsiteX5" fmla="*/ 2979061 w 4818179"/>
                <a:gd name="connsiteY5" fmla="*/ 2089512 h 3498714"/>
                <a:gd name="connsiteX6" fmla="*/ 2251033 w 4818179"/>
                <a:gd name="connsiteY6" fmla="*/ 2089512 h 3498714"/>
                <a:gd name="connsiteX7" fmla="*/ 2070058 w 4818179"/>
                <a:gd name="connsiteY7" fmla="*/ 2270487 h 3498714"/>
                <a:gd name="connsiteX8" fmla="*/ 2251033 w 4818179"/>
                <a:gd name="connsiteY8" fmla="*/ 2451462 h 3498714"/>
                <a:gd name="connsiteX9" fmla="*/ 2432008 w 4818179"/>
                <a:gd name="connsiteY9" fmla="*/ 2270487 h 3498714"/>
                <a:gd name="connsiteX10" fmla="*/ 2251033 w 4818179"/>
                <a:gd name="connsiteY10" fmla="*/ 2089512 h 3498714"/>
                <a:gd name="connsiteX11" fmla="*/ 2842751 w 4818179"/>
                <a:gd name="connsiteY11" fmla="*/ 1749356 h 3498714"/>
                <a:gd name="connsiteX12" fmla="*/ 2392797 w 4818179"/>
                <a:gd name="connsiteY12" fmla="*/ 1878907 h 3498714"/>
                <a:gd name="connsiteX13" fmla="*/ 2478781 w 4818179"/>
                <a:gd name="connsiteY13" fmla="*/ 1920808 h 3498714"/>
                <a:gd name="connsiteX14" fmla="*/ 2842751 w 4818179"/>
                <a:gd name="connsiteY14" fmla="*/ 1749356 h 3498714"/>
                <a:gd name="connsiteX15" fmla="*/ 2534724 w 4818179"/>
                <a:gd name="connsiteY15" fmla="*/ 982297 h 3498714"/>
                <a:gd name="connsiteX16" fmla="*/ 1970999 w 4818179"/>
                <a:gd name="connsiteY16" fmla="*/ 2826112 h 3498714"/>
                <a:gd name="connsiteX17" fmla="*/ 1850348 w 4818179"/>
                <a:gd name="connsiteY17" fmla="*/ 2705462 h 3498714"/>
                <a:gd name="connsiteX18" fmla="*/ 1956769 w 4818179"/>
                <a:gd name="connsiteY18" fmla="*/ 2587684 h 3498714"/>
                <a:gd name="connsiteX19" fmla="*/ 1823360 w 4818179"/>
                <a:gd name="connsiteY19" fmla="*/ 2279217 h 3498714"/>
                <a:gd name="connsiteX20" fmla="*/ 2217440 w 4818179"/>
                <a:gd name="connsiteY20" fmla="*/ 1856216 h 3498714"/>
                <a:gd name="connsiteX21" fmla="*/ 2534724 w 4818179"/>
                <a:gd name="connsiteY21" fmla="*/ 982297 h 3498714"/>
                <a:gd name="connsiteX22" fmla="*/ 358791 w 4818179"/>
                <a:gd name="connsiteY22" fmla="*/ 644545 h 3498714"/>
                <a:gd name="connsiteX23" fmla="*/ 1006774 w 4818179"/>
                <a:gd name="connsiteY23" fmla="*/ 644545 h 3498714"/>
                <a:gd name="connsiteX24" fmla="*/ 1542636 w 4818179"/>
                <a:gd name="connsiteY24" fmla="*/ 1193969 h 3498714"/>
                <a:gd name="connsiteX25" fmla="*/ 1929878 w 4818179"/>
                <a:gd name="connsiteY25" fmla="*/ 1193970 h 3498714"/>
                <a:gd name="connsiteX26" fmla="*/ 2070059 w 4818179"/>
                <a:gd name="connsiteY26" fmla="*/ 1334152 h 3498714"/>
                <a:gd name="connsiteX27" fmla="*/ 1929878 w 4818179"/>
                <a:gd name="connsiteY27" fmla="*/ 1474333 h 3498714"/>
                <a:gd name="connsiteX28" fmla="*/ 1520943 w 4818179"/>
                <a:gd name="connsiteY28" fmla="*/ 1470388 h 3498714"/>
                <a:gd name="connsiteX29" fmla="*/ 1332825 w 4818179"/>
                <a:gd name="connsiteY29" fmla="*/ 1367201 h 3498714"/>
                <a:gd name="connsiteX30" fmla="*/ 1106501 w 4818179"/>
                <a:gd name="connsiteY30" fmla="*/ 1098289 h 3498714"/>
                <a:gd name="connsiteX31" fmla="*/ 1101049 w 4818179"/>
                <a:gd name="connsiteY31" fmla="*/ 1092836 h 3498714"/>
                <a:gd name="connsiteX32" fmla="*/ 1046523 w 4818179"/>
                <a:gd name="connsiteY32" fmla="*/ 1092836 h 3498714"/>
                <a:gd name="connsiteX33" fmla="*/ 1041071 w 4818179"/>
                <a:gd name="connsiteY33" fmla="*/ 1098289 h 3498714"/>
                <a:gd name="connsiteX34" fmla="*/ 1042136 w 4818179"/>
                <a:gd name="connsiteY34" fmla="*/ 1419754 h 3498714"/>
                <a:gd name="connsiteX35" fmla="*/ 1042136 w 4818179"/>
                <a:gd name="connsiteY35" fmla="*/ 3337652 h 3498714"/>
                <a:gd name="connsiteX36" fmla="*/ 881075 w 4818179"/>
                <a:gd name="connsiteY36" fmla="*/ 3498714 h 3498714"/>
                <a:gd name="connsiteX37" fmla="*/ 720012 w 4818179"/>
                <a:gd name="connsiteY37" fmla="*/ 3337652 h 3498714"/>
                <a:gd name="connsiteX38" fmla="*/ 720012 w 4818179"/>
                <a:gd name="connsiteY38" fmla="*/ 2125717 h 3498714"/>
                <a:gd name="connsiteX39" fmla="*/ 718947 w 4818179"/>
                <a:gd name="connsiteY39" fmla="*/ 2033194 h 3498714"/>
                <a:gd name="connsiteX40" fmla="*/ 714162 w 4818179"/>
                <a:gd name="connsiteY40" fmla="*/ 2028410 h 3498714"/>
                <a:gd name="connsiteX41" fmla="*/ 654759 w 4818179"/>
                <a:gd name="connsiteY41" fmla="*/ 2028410 h 3498714"/>
                <a:gd name="connsiteX42" fmla="*/ 649974 w 4818179"/>
                <a:gd name="connsiteY42" fmla="*/ 2033194 h 3498714"/>
                <a:gd name="connsiteX43" fmla="*/ 649974 w 4818179"/>
                <a:gd name="connsiteY43" fmla="*/ 2125717 h 3498714"/>
                <a:gd name="connsiteX44" fmla="*/ 649574 w 4818179"/>
                <a:gd name="connsiteY44" fmla="*/ 3337652 h 3498714"/>
                <a:gd name="connsiteX45" fmla="*/ 488511 w 4818179"/>
                <a:gd name="connsiteY45" fmla="*/ 3498714 h 3498714"/>
                <a:gd name="connsiteX46" fmla="*/ 327450 w 4818179"/>
                <a:gd name="connsiteY46" fmla="*/ 3337652 h 3498714"/>
                <a:gd name="connsiteX47" fmla="*/ 327450 w 4818179"/>
                <a:gd name="connsiteY47" fmla="*/ 1458216 h 3498714"/>
                <a:gd name="connsiteX48" fmla="*/ 322427 w 4818179"/>
                <a:gd name="connsiteY48" fmla="*/ 1098205 h 3498714"/>
                <a:gd name="connsiteX49" fmla="*/ 317058 w 4818179"/>
                <a:gd name="connsiteY49" fmla="*/ 1092836 h 3498714"/>
                <a:gd name="connsiteX50" fmla="*/ 263371 w 4818179"/>
                <a:gd name="connsiteY50" fmla="*/ 1092836 h 3498714"/>
                <a:gd name="connsiteX51" fmla="*/ 258001 w 4818179"/>
                <a:gd name="connsiteY51" fmla="*/ 1098205 h 3498714"/>
                <a:gd name="connsiteX52" fmla="*/ 258001 w 4818179"/>
                <a:gd name="connsiteY52" fmla="*/ 1444446 h 3498714"/>
                <a:gd name="connsiteX53" fmla="*/ 257700 w 4818179"/>
                <a:gd name="connsiteY53" fmla="*/ 1444370 h 3498714"/>
                <a:gd name="connsiteX54" fmla="*/ 257700 w 4818179"/>
                <a:gd name="connsiteY54" fmla="*/ 1912573 h 3498714"/>
                <a:gd name="connsiteX55" fmla="*/ 128850 w 4818179"/>
                <a:gd name="connsiteY55" fmla="*/ 2041423 h 3498714"/>
                <a:gd name="connsiteX56" fmla="*/ 0 w 4818179"/>
                <a:gd name="connsiteY56" fmla="*/ 1912573 h 3498714"/>
                <a:gd name="connsiteX57" fmla="*/ 0 w 4818179"/>
                <a:gd name="connsiteY57" fmla="*/ 1101802 h 3498714"/>
                <a:gd name="connsiteX58" fmla="*/ 0 w 4818179"/>
                <a:gd name="connsiteY58" fmla="*/ 1003338 h 3498714"/>
                <a:gd name="connsiteX59" fmla="*/ 0 w 4818179"/>
                <a:gd name="connsiteY59" fmla="*/ 982486 h 3498714"/>
                <a:gd name="connsiteX60" fmla="*/ 12733 w 4818179"/>
                <a:gd name="connsiteY60" fmla="*/ 894663 h 3498714"/>
                <a:gd name="connsiteX61" fmla="*/ 20539 w 4818179"/>
                <a:gd name="connsiteY61" fmla="*/ 868773 h 3498714"/>
                <a:gd name="connsiteX62" fmla="*/ 358791 w 4818179"/>
                <a:gd name="connsiteY62" fmla="*/ 644545 h 3498714"/>
                <a:gd name="connsiteX63" fmla="*/ 682782 w 4818179"/>
                <a:gd name="connsiteY63" fmla="*/ 0 h 3498714"/>
                <a:gd name="connsiteX64" fmla="*/ 966919 w 4818179"/>
                <a:gd name="connsiteY64" fmla="*/ 284138 h 3498714"/>
                <a:gd name="connsiteX65" fmla="*/ 682782 w 4818179"/>
                <a:gd name="connsiteY65" fmla="*/ 568275 h 3498714"/>
                <a:gd name="connsiteX66" fmla="*/ 398645 w 4818179"/>
                <a:gd name="connsiteY66" fmla="*/ 284138 h 3498714"/>
                <a:gd name="connsiteX67" fmla="*/ 682782 w 4818179"/>
                <a:gd name="connsiteY67" fmla="*/ 0 h 3498714"/>
                <a:gd name="connsiteX68" fmla="*/ 4707054 w 4818179"/>
                <a:gd name="connsiteY68" fmla="*/ 2902312 h 3498714"/>
                <a:gd name="connsiteX69" fmla="*/ 4818179 w 4818179"/>
                <a:gd name="connsiteY69" fmla="*/ 3013437 h 3498714"/>
                <a:gd name="connsiteX70" fmla="*/ 4707054 w 4818179"/>
                <a:gd name="connsiteY70" fmla="*/ 3124562 h 3498714"/>
                <a:gd name="connsiteX71" fmla="*/ 4545125 w 4818179"/>
                <a:gd name="connsiteY71" fmla="*/ 3124562 h 3498714"/>
                <a:gd name="connsiteX72" fmla="*/ 4545125 w 4818179"/>
                <a:gd name="connsiteY72" fmla="*/ 3361625 h 3498714"/>
                <a:gd name="connsiteX73" fmla="*/ 4436113 w 4818179"/>
                <a:gd name="connsiteY73" fmla="*/ 3470637 h 3498714"/>
                <a:gd name="connsiteX74" fmla="*/ 4235039 w 4818179"/>
                <a:gd name="connsiteY74" fmla="*/ 3470637 h 3498714"/>
                <a:gd name="connsiteX75" fmla="*/ 4126027 w 4818179"/>
                <a:gd name="connsiteY75" fmla="*/ 3361625 h 3498714"/>
                <a:gd name="connsiteX76" fmla="*/ 4126027 w 4818179"/>
                <a:gd name="connsiteY76" fmla="*/ 3124562 h 3498714"/>
                <a:gd name="connsiteX77" fmla="*/ 2589325 w 4818179"/>
                <a:gd name="connsiteY77" fmla="*/ 3124562 h 3498714"/>
                <a:gd name="connsiteX78" fmla="*/ 2589325 w 4818179"/>
                <a:gd name="connsiteY78" fmla="*/ 3361625 h 3498714"/>
                <a:gd name="connsiteX79" fmla="*/ 2480313 w 4818179"/>
                <a:gd name="connsiteY79" fmla="*/ 3470637 h 3498714"/>
                <a:gd name="connsiteX80" fmla="*/ 2279239 w 4818179"/>
                <a:gd name="connsiteY80" fmla="*/ 3470637 h 3498714"/>
                <a:gd name="connsiteX81" fmla="*/ 2170227 w 4818179"/>
                <a:gd name="connsiteY81" fmla="*/ 3361625 h 3498714"/>
                <a:gd name="connsiteX82" fmla="*/ 2170227 w 4818179"/>
                <a:gd name="connsiteY82" fmla="*/ 3124562 h 3498714"/>
                <a:gd name="connsiteX83" fmla="*/ 2052754 w 4818179"/>
                <a:gd name="connsiteY83" fmla="*/ 3124562 h 3498714"/>
                <a:gd name="connsiteX84" fmla="*/ 1941629 w 4818179"/>
                <a:gd name="connsiteY84" fmla="*/ 3013437 h 3498714"/>
                <a:gd name="connsiteX85" fmla="*/ 2052754 w 4818179"/>
                <a:gd name="connsiteY85" fmla="*/ 2902312 h 3498714"/>
                <a:gd name="connsiteX86" fmla="*/ 682782 w 4818179"/>
                <a:gd name="connsiteY86" fmla="*/ 0 h 3498714"/>
                <a:gd name="connsiteX0" fmla="*/ 2979061 w 4818179"/>
                <a:gd name="connsiteY0" fmla="*/ 2089512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3775986 w 4818179"/>
                <a:gd name="connsiteY4" fmla="*/ 2089512 h 3498714"/>
                <a:gd name="connsiteX5" fmla="*/ 2979061 w 4818179"/>
                <a:gd name="connsiteY5" fmla="*/ 2089512 h 3498714"/>
                <a:gd name="connsiteX6" fmla="*/ 2251033 w 4818179"/>
                <a:gd name="connsiteY6" fmla="*/ 2089512 h 3498714"/>
                <a:gd name="connsiteX7" fmla="*/ 2070058 w 4818179"/>
                <a:gd name="connsiteY7" fmla="*/ 2270487 h 3498714"/>
                <a:gd name="connsiteX8" fmla="*/ 2251033 w 4818179"/>
                <a:gd name="connsiteY8" fmla="*/ 2451462 h 3498714"/>
                <a:gd name="connsiteX9" fmla="*/ 2432008 w 4818179"/>
                <a:gd name="connsiteY9" fmla="*/ 2270487 h 3498714"/>
                <a:gd name="connsiteX10" fmla="*/ 2251033 w 4818179"/>
                <a:gd name="connsiteY10" fmla="*/ 2089512 h 3498714"/>
                <a:gd name="connsiteX11" fmla="*/ 2842751 w 4818179"/>
                <a:gd name="connsiteY11" fmla="*/ 1749356 h 3498714"/>
                <a:gd name="connsiteX12" fmla="*/ 2392797 w 4818179"/>
                <a:gd name="connsiteY12" fmla="*/ 1878907 h 3498714"/>
                <a:gd name="connsiteX13" fmla="*/ 2478781 w 4818179"/>
                <a:gd name="connsiteY13" fmla="*/ 1920808 h 3498714"/>
                <a:gd name="connsiteX14" fmla="*/ 2842751 w 4818179"/>
                <a:gd name="connsiteY14" fmla="*/ 1749356 h 3498714"/>
                <a:gd name="connsiteX15" fmla="*/ 2534724 w 4818179"/>
                <a:gd name="connsiteY15" fmla="*/ 982297 h 3498714"/>
                <a:gd name="connsiteX16" fmla="*/ 1970999 w 4818179"/>
                <a:gd name="connsiteY16" fmla="*/ 2826112 h 3498714"/>
                <a:gd name="connsiteX17" fmla="*/ 1850348 w 4818179"/>
                <a:gd name="connsiteY17" fmla="*/ 2705462 h 3498714"/>
                <a:gd name="connsiteX18" fmla="*/ 1956769 w 4818179"/>
                <a:gd name="connsiteY18" fmla="*/ 2587684 h 3498714"/>
                <a:gd name="connsiteX19" fmla="*/ 1823360 w 4818179"/>
                <a:gd name="connsiteY19" fmla="*/ 2279217 h 3498714"/>
                <a:gd name="connsiteX20" fmla="*/ 2217440 w 4818179"/>
                <a:gd name="connsiteY20" fmla="*/ 1856216 h 3498714"/>
                <a:gd name="connsiteX21" fmla="*/ 2534724 w 4818179"/>
                <a:gd name="connsiteY21" fmla="*/ 982297 h 3498714"/>
                <a:gd name="connsiteX22" fmla="*/ 358791 w 4818179"/>
                <a:gd name="connsiteY22" fmla="*/ 644545 h 3498714"/>
                <a:gd name="connsiteX23" fmla="*/ 1006774 w 4818179"/>
                <a:gd name="connsiteY23" fmla="*/ 644545 h 3498714"/>
                <a:gd name="connsiteX24" fmla="*/ 1542636 w 4818179"/>
                <a:gd name="connsiteY24" fmla="*/ 1193969 h 3498714"/>
                <a:gd name="connsiteX25" fmla="*/ 1929878 w 4818179"/>
                <a:gd name="connsiteY25" fmla="*/ 1193970 h 3498714"/>
                <a:gd name="connsiteX26" fmla="*/ 2070059 w 4818179"/>
                <a:gd name="connsiteY26" fmla="*/ 1334152 h 3498714"/>
                <a:gd name="connsiteX27" fmla="*/ 1929878 w 4818179"/>
                <a:gd name="connsiteY27" fmla="*/ 1474333 h 3498714"/>
                <a:gd name="connsiteX28" fmla="*/ 1520943 w 4818179"/>
                <a:gd name="connsiteY28" fmla="*/ 1470388 h 3498714"/>
                <a:gd name="connsiteX29" fmla="*/ 1332825 w 4818179"/>
                <a:gd name="connsiteY29" fmla="*/ 1367201 h 3498714"/>
                <a:gd name="connsiteX30" fmla="*/ 1106501 w 4818179"/>
                <a:gd name="connsiteY30" fmla="*/ 1098289 h 3498714"/>
                <a:gd name="connsiteX31" fmla="*/ 1101049 w 4818179"/>
                <a:gd name="connsiteY31" fmla="*/ 1092836 h 3498714"/>
                <a:gd name="connsiteX32" fmla="*/ 1046523 w 4818179"/>
                <a:gd name="connsiteY32" fmla="*/ 1092836 h 3498714"/>
                <a:gd name="connsiteX33" fmla="*/ 1041071 w 4818179"/>
                <a:gd name="connsiteY33" fmla="*/ 1098289 h 3498714"/>
                <a:gd name="connsiteX34" fmla="*/ 1042136 w 4818179"/>
                <a:gd name="connsiteY34" fmla="*/ 1419754 h 3498714"/>
                <a:gd name="connsiteX35" fmla="*/ 1042136 w 4818179"/>
                <a:gd name="connsiteY35" fmla="*/ 3337652 h 3498714"/>
                <a:gd name="connsiteX36" fmla="*/ 881075 w 4818179"/>
                <a:gd name="connsiteY36" fmla="*/ 3498714 h 3498714"/>
                <a:gd name="connsiteX37" fmla="*/ 720012 w 4818179"/>
                <a:gd name="connsiteY37" fmla="*/ 3337652 h 3498714"/>
                <a:gd name="connsiteX38" fmla="*/ 720012 w 4818179"/>
                <a:gd name="connsiteY38" fmla="*/ 2125717 h 3498714"/>
                <a:gd name="connsiteX39" fmla="*/ 718947 w 4818179"/>
                <a:gd name="connsiteY39" fmla="*/ 2033194 h 3498714"/>
                <a:gd name="connsiteX40" fmla="*/ 714162 w 4818179"/>
                <a:gd name="connsiteY40" fmla="*/ 2028410 h 3498714"/>
                <a:gd name="connsiteX41" fmla="*/ 654759 w 4818179"/>
                <a:gd name="connsiteY41" fmla="*/ 2028410 h 3498714"/>
                <a:gd name="connsiteX42" fmla="*/ 649974 w 4818179"/>
                <a:gd name="connsiteY42" fmla="*/ 2033194 h 3498714"/>
                <a:gd name="connsiteX43" fmla="*/ 649974 w 4818179"/>
                <a:gd name="connsiteY43" fmla="*/ 2125717 h 3498714"/>
                <a:gd name="connsiteX44" fmla="*/ 649574 w 4818179"/>
                <a:gd name="connsiteY44" fmla="*/ 3337652 h 3498714"/>
                <a:gd name="connsiteX45" fmla="*/ 488511 w 4818179"/>
                <a:gd name="connsiteY45" fmla="*/ 3498714 h 3498714"/>
                <a:gd name="connsiteX46" fmla="*/ 327450 w 4818179"/>
                <a:gd name="connsiteY46" fmla="*/ 3337652 h 3498714"/>
                <a:gd name="connsiteX47" fmla="*/ 327450 w 4818179"/>
                <a:gd name="connsiteY47" fmla="*/ 1458216 h 3498714"/>
                <a:gd name="connsiteX48" fmla="*/ 322427 w 4818179"/>
                <a:gd name="connsiteY48" fmla="*/ 1098205 h 3498714"/>
                <a:gd name="connsiteX49" fmla="*/ 317058 w 4818179"/>
                <a:gd name="connsiteY49" fmla="*/ 1092836 h 3498714"/>
                <a:gd name="connsiteX50" fmla="*/ 263371 w 4818179"/>
                <a:gd name="connsiteY50" fmla="*/ 1092836 h 3498714"/>
                <a:gd name="connsiteX51" fmla="*/ 258001 w 4818179"/>
                <a:gd name="connsiteY51" fmla="*/ 1098205 h 3498714"/>
                <a:gd name="connsiteX52" fmla="*/ 258001 w 4818179"/>
                <a:gd name="connsiteY52" fmla="*/ 1444446 h 3498714"/>
                <a:gd name="connsiteX53" fmla="*/ 257700 w 4818179"/>
                <a:gd name="connsiteY53" fmla="*/ 1444370 h 3498714"/>
                <a:gd name="connsiteX54" fmla="*/ 257700 w 4818179"/>
                <a:gd name="connsiteY54" fmla="*/ 1912573 h 3498714"/>
                <a:gd name="connsiteX55" fmla="*/ 128850 w 4818179"/>
                <a:gd name="connsiteY55" fmla="*/ 2041423 h 3498714"/>
                <a:gd name="connsiteX56" fmla="*/ 0 w 4818179"/>
                <a:gd name="connsiteY56" fmla="*/ 1912573 h 3498714"/>
                <a:gd name="connsiteX57" fmla="*/ 0 w 4818179"/>
                <a:gd name="connsiteY57" fmla="*/ 1101802 h 3498714"/>
                <a:gd name="connsiteX58" fmla="*/ 0 w 4818179"/>
                <a:gd name="connsiteY58" fmla="*/ 1003338 h 3498714"/>
                <a:gd name="connsiteX59" fmla="*/ 0 w 4818179"/>
                <a:gd name="connsiteY59" fmla="*/ 982486 h 3498714"/>
                <a:gd name="connsiteX60" fmla="*/ 12733 w 4818179"/>
                <a:gd name="connsiteY60" fmla="*/ 894663 h 3498714"/>
                <a:gd name="connsiteX61" fmla="*/ 20539 w 4818179"/>
                <a:gd name="connsiteY61" fmla="*/ 868773 h 3498714"/>
                <a:gd name="connsiteX62" fmla="*/ 358791 w 4818179"/>
                <a:gd name="connsiteY62" fmla="*/ 644545 h 3498714"/>
                <a:gd name="connsiteX63" fmla="*/ 682782 w 4818179"/>
                <a:gd name="connsiteY63" fmla="*/ 0 h 3498714"/>
                <a:gd name="connsiteX64" fmla="*/ 966919 w 4818179"/>
                <a:gd name="connsiteY64" fmla="*/ 284138 h 3498714"/>
                <a:gd name="connsiteX65" fmla="*/ 682782 w 4818179"/>
                <a:gd name="connsiteY65" fmla="*/ 568275 h 3498714"/>
                <a:gd name="connsiteX66" fmla="*/ 398645 w 4818179"/>
                <a:gd name="connsiteY66" fmla="*/ 284138 h 3498714"/>
                <a:gd name="connsiteX67" fmla="*/ 682782 w 4818179"/>
                <a:gd name="connsiteY67" fmla="*/ 0 h 3498714"/>
                <a:gd name="connsiteX68" fmla="*/ 4707054 w 4818179"/>
                <a:gd name="connsiteY68" fmla="*/ 2902312 h 3498714"/>
                <a:gd name="connsiteX69" fmla="*/ 4818179 w 4818179"/>
                <a:gd name="connsiteY69" fmla="*/ 3013437 h 3498714"/>
                <a:gd name="connsiteX70" fmla="*/ 4707054 w 4818179"/>
                <a:gd name="connsiteY70" fmla="*/ 3124562 h 3498714"/>
                <a:gd name="connsiteX71" fmla="*/ 4545125 w 4818179"/>
                <a:gd name="connsiteY71" fmla="*/ 3124562 h 3498714"/>
                <a:gd name="connsiteX72" fmla="*/ 4545125 w 4818179"/>
                <a:gd name="connsiteY72" fmla="*/ 3361625 h 3498714"/>
                <a:gd name="connsiteX73" fmla="*/ 4436113 w 4818179"/>
                <a:gd name="connsiteY73" fmla="*/ 3470637 h 3498714"/>
                <a:gd name="connsiteX74" fmla="*/ 4235039 w 4818179"/>
                <a:gd name="connsiteY74" fmla="*/ 3470637 h 3498714"/>
                <a:gd name="connsiteX75" fmla="*/ 4126027 w 4818179"/>
                <a:gd name="connsiteY75" fmla="*/ 3361625 h 3498714"/>
                <a:gd name="connsiteX76" fmla="*/ 2589325 w 4818179"/>
                <a:gd name="connsiteY76" fmla="*/ 3124562 h 3498714"/>
                <a:gd name="connsiteX77" fmla="*/ 2589325 w 4818179"/>
                <a:gd name="connsiteY77" fmla="*/ 3361625 h 3498714"/>
                <a:gd name="connsiteX78" fmla="*/ 2480313 w 4818179"/>
                <a:gd name="connsiteY78" fmla="*/ 3470637 h 3498714"/>
                <a:gd name="connsiteX79" fmla="*/ 2279239 w 4818179"/>
                <a:gd name="connsiteY79" fmla="*/ 3470637 h 3498714"/>
                <a:gd name="connsiteX80" fmla="*/ 2170227 w 4818179"/>
                <a:gd name="connsiteY80" fmla="*/ 3361625 h 3498714"/>
                <a:gd name="connsiteX81" fmla="*/ 2170227 w 4818179"/>
                <a:gd name="connsiteY81" fmla="*/ 3124562 h 3498714"/>
                <a:gd name="connsiteX82" fmla="*/ 2052754 w 4818179"/>
                <a:gd name="connsiteY82" fmla="*/ 3124562 h 3498714"/>
                <a:gd name="connsiteX83" fmla="*/ 1941629 w 4818179"/>
                <a:gd name="connsiteY83" fmla="*/ 3013437 h 3498714"/>
                <a:gd name="connsiteX84" fmla="*/ 2052754 w 4818179"/>
                <a:gd name="connsiteY84" fmla="*/ 2902312 h 3498714"/>
                <a:gd name="connsiteX85" fmla="*/ 682782 w 4818179"/>
                <a:gd name="connsiteY85" fmla="*/ 0 h 3498714"/>
                <a:gd name="connsiteX0" fmla="*/ 2979061 w 4818179"/>
                <a:gd name="connsiteY0" fmla="*/ 2089512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3775986 w 4818179"/>
                <a:gd name="connsiteY4" fmla="*/ 2089512 h 3498714"/>
                <a:gd name="connsiteX5" fmla="*/ 2979061 w 4818179"/>
                <a:gd name="connsiteY5" fmla="*/ 2089512 h 3498714"/>
                <a:gd name="connsiteX6" fmla="*/ 2251033 w 4818179"/>
                <a:gd name="connsiteY6" fmla="*/ 2089512 h 3498714"/>
                <a:gd name="connsiteX7" fmla="*/ 2070058 w 4818179"/>
                <a:gd name="connsiteY7" fmla="*/ 2270487 h 3498714"/>
                <a:gd name="connsiteX8" fmla="*/ 2251033 w 4818179"/>
                <a:gd name="connsiteY8" fmla="*/ 2451462 h 3498714"/>
                <a:gd name="connsiteX9" fmla="*/ 2432008 w 4818179"/>
                <a:gd name="connsiteY9" fmla="*/ 2270487 h 3498714"/>
                <a:gd name="connsiteX10" fmla="*/ 2251033 w 4818179"/>
                <a:gd name="connsiteY10" fmla="*/ 2089512 h 3498714"/>
                <a:gd name="connsiteX11" fmla="*/ 2842751 w 4818179"/>
                <a:gd name="connsiteY11" fmla="*/ 1749356 h 3498714"/>
                <a:gd name="connsiteX12" fmla="*/ 2392797 w 4818179"/>
                <a:gd name="connsiteY12" fmla="*/ 1878907 h 3498714"/>
                <a:gd name="connsiteX13" fmla="*/ 2478781 w 4818179"/>
                <a:gd name="connsiteY13" fmla="*/ 1920808 h 3498714"/>
                <a:gd name="connsiteX14" fmla="*/ 2842751 w 4818179"/>
                <a:gd name="connsiteY14" fmla="*/ 1749356 h 3498714"/>
                <a:gd name="connsiteX15" fmla="*/ 2534724 w 4818179"/>
                <a:gd name="connsiteY15" fmla="*/ 982297 h 3498714"/>
                <a:gd name="connsiteX16" fmla="*/ 1970999 w 4818179"/>
                <a:gd name="connsiteY16" fmla="*/ 2826112 h 3498714"/>
                <a:gd name="connsiteX17" fmla="*/ 1850348 w 4818179"/>
                <a:gd name="connsiteY17" fmla="*/ 2705462 h 3498714"/>
                <a:gd name="connsiteX18" fmla="*/ 1956769 w 4818179"/>
                <a:gd name="connsiteY18" fmla="*/ 2587684 h 3498714"/>
                <a:gd name="connsiteX19" fmla="*/ 1823360 w 4818179"/>
                <a:gd name="connsiteY19" fmla="*/ 2279217 h 3498714"/>
                <a:gd name="connsiteX20" fmla="*/ 2217440 w 4818179"/>
                <a:gd name="connsiteY20" fmla="*/ 1856216 h 3498714"/>
                <a:gd name="connsiteX21" fmla="*/ 2534724 w 4818179"/>
                <a:gd name="connsiteY21" fmla="*/ 982297 h 3498714"/>
                <a:gd name="connsiteX22" fmla="*/ 358791 w 4818179"/>
                <a:gd name="connsiteY22" fmla="*/ 644545 h 3498714"/>
                <a:gd name="connsiteX23" fmla="*/ 1006774 w 4818179"/>
                <a:gd name="connsiteY23" fmla="*/ 644545 h 3498714"/>
                <a:gd name="connsiteX24" fmla="*/ 1542636 w 4818179"/>
                <a:gd name="connsiteY24" fmla="*/ 1193969 h 3498714"/>
                <a:gd name="connsiteX25" fmla="*/ 1929878 w 4818179"/>
                <a:gd name="connsiteY25" fmla="*/ 1193970 h 3498714"/>
                <a:gd name="connsiteX26" fmla="*/ 2070059 w 4818179"/>
                <a:gd name="connsiteY26" fmla="*/ 1334152 h 3498714"/>
                <a:gd name="connsiteX27" fmla="*/ 1929878 w 4818179"/>
                <a:gd name="connsiteY27" fmla="*/ 1474333 h 3498714"/>
                <a:gd name="connsiteX28" fmla="*/ 1520943 w 4818179"/>
                <a:gd name="connsiteY28" fmla="*/ 1470388 h 3498714"/>
                <a:gd name="connsiteX29" fmla="*/ 1332825 w 4818179"/>
                <a:gd name="connsiteY29" fmla="*/ 1367201 h 3498714"/>
                <a:gd name="connsiteX30" fmla="*/ 1106501 w 4818179"/>
                <a:gd name="connsiteY30" fmla="*/ 1098289 h 3498714"/>
                <a:gd name="connsiteX31" fmla="*/ 1101049 w 4818179"/>
                <a:gd name="connsiteY31" fmla="*/ 1092836 h 3498714"/>
                <a:gd name="connsiteX32" fmla="*/ 1046523 w 4818179"/>
                <a:gd name="connsiteY32" fmla="*/ 1092836 h 3498714"/>
                <a:gd name="connsiteX33" fmla="*/ 1041071 w 4818179"/>
                <a:gd name="connsiteY33" fmla="*/ 1098289 h 3498714"/>
                <a:gd name="connsiteX34" fmla="*/ 1042136 w 4818179"/>
                <a:gd name="connsiteY34" fmla="*/ 1419754 h 3498714"/>
                <a:gd name="connsiteX35" fmla="*/ 1042136 w 4818179"/>
                <a:gd name="connsiteY35" fmla="*/ 3337652 h 3498714"/>
                <a:gd name="connsiteX36" fmla="*/ 881075 w 4818179"/>
                <a:gd name="connsiteY36" fmla="*/ 3498714 h 3498714"/>
                <a:gd name="connsiteX37" fmla="*/ 720012 w 4818179"/>
                <a:gd name="connsiteY37" fmla="*/ 3337652 h 3498714"/>
                <a:gd name="connsiteX38" fmla="*/ 720012 w 4818179"/>
                <a:gd name="connsiteY38" fmla="*/ 2125717 h 3498714"/>
                <a:gd name="connsiteX39" fmla="*/ 718947 w 4818179"/>
                <a:gd name="connsiteY39" fmla="*/ 2033194 h 3498714"/>
                <a:gd name="connsiteX40" fmla="*/ 714162 w 4818179"/>
                <a:gd name="connsiteY40" fmla="*/ 2028410 h 3498714"/>
                <a:gd name="connsiteX41" fmla="*/ 654759 w 4818179"/>
                <a:gd name="connsiteY41" fmla="*/ 2028410 h 3498714"/>
                <a:gd name="connsiteX42" fmla="*/ 649974 w 4818179"/>
                <a:gd name="connsiteY42" fmla="*/ 2033194 h 3498714"/>
                <a:gd name="connsiteX43" fmla="*/ 649974 w 4818179"/>
                <a:gd name="connsiteY43" fmla="*/ 2125717 h 3498714"/>
                <a:gd name="connsiteX44" fmla="*/ 649574 w 4818179"/>
                <a:gd name="connsiteY44" fmla="*/ 3337652 h 3498714"/>
                <a:gd name="connsiteX45" fmla="*/ 488511 w 4818179"/>
                <a:gd name="connsiteY45" fmla="*/ 3498714 h 3498714"/>
                <a:gd name="connsiteX46" fmla="*/ 327450 w 4818179"/>
                <a:gd name="connsiteY46" fmla="*/ 3337652 h 3498714"/>
                <a:gd name="connsiteX47" fmla="*/ 327450 w 4818179"/>
                <a:gd name="connsiteY47" fmla="*/ 1458216 h 3498714"/>
                <a:gd name="connsiteX48" fmla="*/ 322427 w 4818179"/>
                <a:gd name="connsiteY48" fmla="*/ 1098205 h 3498714"/>
                <a:gd name="connsiteX49" fmla="*/ 317058 w 4818179"/>
                <a:gd name="connsiteY49" fmla="*/ 1092836 h 3498714"/>
                <a:gd name="connsiteX50" fmla="*/ 263371 w 4818179"/>
                <a:gd name="connsiteY50" fmla="*/ 1092836 h 3498714"/>
                <a:gd name="connsiteX51" fmla="*/ 258001 w 4818179"/>
                <a:gd name="connsiteY51" fmla="*/ 1098205 h 3498714"/>
                <a:gd name="connsiteX52" fmla="*/ 258001 w 4818179"/>
                <a:gd name="connsiteY52" fmla="*/ 1444446 h 3498714"/>
                <a:gd name="connsiteX53" fmla="*/ 257700 w 4818179"/>
                <a:gd name="connsiteY53" fmla="*/ 1444370 h 3498714"/>
                <a:gd name="connsiteX54" fmla="*/ 257700 w 4818179"/>
                <a:gd name="connsiteY54" fmla="*/ 1912573 h 3498714"/>
                <a:gd name="connsiteX55" fmla="*/ 128850 w 4818179"/>
                <a:gd name="connsiteY55" fmla="*/ 2041423 h 3498714"/>
                <a:gd name="connsiteX56" fmla="*/ 0 w 4818179"/>
                <a:gd name="connsiteY56" fmla="*/ 1912573 h 3498714"/>
                <a:gd name="connsiteX57" fmla="*/ 0 w 4818179"/>
                <a:gd name="connsiteY57" fmla="*/ 1101802 h 3498714"/>
                <a:gd name="connsiteX58" fmla="*/ 0 w 4818179"/>
                <a:gd name="connsiteY58" fmla="*/ 1003338 h 3498714"/>
                <a:gd name="connsiteX59" fmla="*/ 0 w 4818179"/>
                <a:gd name="connsiteY59" fmla="*/ 982486 h 3498714"/>
                <a:gd name="connsiteX60" fmla="*/ 12733 w 4818179"/>
                <a:gd name="connsiteY60" fmla="*/ 894663 h 3498714"/>
                <a:gd name="connsiteX61" fmla="*/ 20539 w 4818179"/>
                <a:gd name="connsiteY61" fmla="*/ 868773 h 3498714"/>
                <a:gd name="connsiteX62" fmla="*/ 358791 w 4818179"/>
                <a:gd name="connsiteY62" fmla="*/ 644545 h 3498714"/>
                <a:gd name="connsiteX63" fmla="*/ 682782 w 4818179"/>
                <a:gd name="connsiteY63" fmla="*/ 0 h 3498714"/>
                <a:gd name="connsiteX64" fmla="*/ 966919 w 4818179"/>
                <a:gd name="connsiteY64" fmla="*/ 284138 h 3498714"/>
                <a:gd name="connsiteX65" fmla="*/ 682782 w 4818179"/>
                <a:gd name="connsiteY65" fmla="*/ 568275 h 3498714"/>
                <a:gd name="connsiteX66" fmla="*/ 398645 w 4818179"/>
                <a:gd name="connsiteY66" fmla="*/ 284138 h 3498714"/>
                <a:gd name="connsiteX67" fmla="*/ 682782 w 4818179"/>
                <a:gd name="connsiteY67" fmla="*/ 0 h 3498714"/>
                <a:gd name="connsiteX68" fmla="*/ 4707054 w 4818179"/>
                <a:gd name="connsiteY68" fmla="*/ 2902312 h 3498714"/>
                <a:gd name="connsiteX69" fmla="*/ 4818179 w 4818179"/>
                <a:gd name="connsiteY69" fmla="*/ 3013437 h 3498714"/>
                <a:gd name="connsiteX70" fmla="*/ 4707054 w 4818179"/>
                <a:gd name="connsiteY70" fmla="*/ 3124562 h 3498714"/>
                <a:gd name="connsiteX71" fmla="*/ 4545125 w 4818179"/>
                <a:gd name="connsiteY71" fmla="*/ 3124562 h 3498714"/>
                <a:gd name="connsiteX72" fmla="*/ 4545125 w 4818179"/>
                <a:gd name="connsiteY72" fmla="*/ 3361625 h 3498714"/>
                <a:gd name="connsiteX73" fmla="*/ 4436113 w 4818179"/>
                <a:gd name="connsiteY73" fmla="*/ 3470637 h 3498714"/>
                <a:gd name="connsiteX74" fmla="*/ 4235039 w 4818179"/>
                <a:gd name="connsiteY74" fmla="*/ 3470637 h 3498714"/>
                <a:gd name="connsiteX75" fmla="*/ 2589325 w 4818179"/>
                <a:gd name="connsiteY75" fmla="*/ 3124562 h 3498714"/>
                <a:gd name="connsiteX76" fmla="*/ 2589325 w 4818179"/>
                <a:gd name="connsiteY76" fmla="*/ 3361625 h 3498714"/>
                <a:gd name="connsiteX77" fmla="*/ 2480313 w 4818179"/>
                <a:gd name="connsiteY77" fmla="*/ 3470637 h 3498714"/>
                <a:gd name="connsiteX78" fmla="*/ 2279239 w 4818179"/>
                <a:gd name="connsiteY78" fmla="*/ 3470637 h 3498714"/>
                <a:gd name="connsiteX79" fmla="*/ 2170227 w 4818179"/>
                <a:gd name="connsiteY79" fmla="*/ 3361625 h 3498714"/>
                <a:gd name="connsiteX80" fmla="*/ 2170227 w 4818179"/>
                <a:gd name="connsiteY80" fmla="*/ 3124562 h 3498714"/>
                <a:gd name="connsiteX81" fmla="*/ 2052754 w 4818179"/>
                <a:gd name="connsiteY81" fmla="*/ 3124562 h 3498714"/>
                <a:gd name="connsiteX82" fmla="*/ 1941629 w 4818179"/>
                <a:gd name="connsiteY82" fmla="*/ 3013437 h 3498714"/>
                <a:gd name="connsiteX83" fmla="*/ 2052754 w 4818179"/>
                <a:gd name="connsiteY83" fmla="*/ 2902312 h 3498714"/>
                <a:gd name="connsiteX84" fmla="*/ 682782 w 4818179"/>
                <a:gd name="connsiteY84" fmla="*/ 0 h 3498714"/>
                <a:gd name="connsiteX0" fmla="*/ 3775986 w 4818179"/>
                <a:gd name="connsiteY0" fmla="*/ 2089512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3775986 w 4818179"/>
                <a:gd name="connsiteY4" fmla="*/ 2089512 h 3498714"/>
                <a:gd name="connsiteX5" fmla="*/ 2251033 w 4818179"/>
                <a:gd name="connsiteY5" fmla="*/ 2089512 h 3498714"/>
                <a:gd name="connsiteX6" fmla="*/ 2070058 w 4818179"/>
                <a:gd name="connsiteY6" fmla="*/ 2270487 h 3498714"/>
                <a:gd name="connsiteX7" fmla="*/ 2251033 w 4818179"/>
                <a:gd name="connsiteY7" fmla="*/ 2451462 h 3498714"/>
                <a:gd name="connsiteX8" fmla="*/ 2432008 w 4818179"/>
                <a:gd name="connsiteY8" fmla="*/ 2270487 h 3498714"/>
                <a:gd name="connsiteX9" fmla="*/ 2251033 w 4818179"/>
                <a:gd name="connsiteY9" fmla="*/ 2089512 h 3498714"/>
                <a:gd name="connsiteX10" fmla="*/ 2842751 w 4818179"/>
                <a:gd name="connsiteY10" fmla="*/ 1749356 h 3498714"/>
                <a:gd name="connsiteX11" fmla="*/ 2392797 w 4818179"/>
                <a:gd name="connsiteY11" fmla="*/ 1878907 h 3498714"/>
                <a:gd name="connsiteX12" fmla="*/ 2478781 w 4818179"/>
                <a:gd name="connsiteY12" fmla="*/ 1920808 h 3498714"/>
                <a:gd name="connsiteX13" fmla="*/ 2842751 w 4818179"/>
                <a:gd name="connsiteY13" fmla="*/ 1749356 h 3498714"/>
                <a:gd name="connsiteX14" fmla="*/ 2534724 w 4818179"/>
                <a:gd name="connsiteY14" fmla="*/ 982297 h 3498714"/>
                <a:gd name="connsiteX15" fmla="*/ 1970999 w 4818179"/>
                <a:gd name="connsiteY15" fmla="*/ 2826112 h 3498714"/>
                <a:gd name="connsiteX16" fmla="*/ 1850348 w 4818179"/>
                <a:gd name="connsiteY16" fmla="*/ 2705462 h 3498714"/>
                <a:gd name="connsiteX17" fmla="*/ 1956769 w 4818179"/>
                <a:gd name="connsiteY17" fmla="*/ 2587684 h 3498714"/>
                <a:gd name="connsiteX18" fmla="*/ 1823360 w 4818179"/>
                <a:gd name="connsiteY18" fmla="*/ 2279217 h 3498714"/>
                <a:gd name="connsiteX19" fmla="*/ 2217440 w 4818179"/>
                <a:gd name="connsiteY19" fmla="*/ 1856216 h 3498714"/>
                <a:gd name="connsiteX20" fmla="*/ 2534724 w 4818179"/>
                <a:gd name="connsiteY20" fmla="*/ 982297 h 3498714"/>
                <a:gd name="connsiteX21" fmla="*/ 358791 w 4818179"/>
                <a:gd name="connsiteY21" fmla="*/ 644545 h 3498714"/>
                <a:gd name="connsiteX22" fmla="*/ 1006774 w 4818179"/>
                <a:gd name="connsiteY22" fmla="*/ 644545 h 3498714"/>
                <a:gd name="connsiteX23" fmla="*/ 1542636 w 4818179"/>
                <a:gd name="connsiteY23" fmla="*/ 1193969 h 3498714"/>
                <a:gd name="connsiteX24" fmla="*/ 1929878 w 4818179"/>
                <a:gd name="connsiteY24" fmla="*/ 1193970 h 3498714"/>
                <a:gd name="connsiteX25" fmla="*/ 2070059 w 4818179"/>
                <a:gd name="connsiteY25" fmla="*/ 1334152 h 3498714"/>
                <a:gd name="connsiteX26" fmla="*/ 1929878 w 4818179"/>
                <a:gd name="connsiteY26" fmla="*/ 1474333 h 3498714"/>
                <a:gd name="connsiteX27" fmla="*/ 1520943 w 4818179"/>
                <a:gd name="connsiteY27" fmla="*/ 1470388 h 3498714"/>
                <a:gd name="connsiteX28" fmla="*/ 1332825 w 4818179"/>
                <a:gd name="connsiteY28" fmla="*/ 1367201 h 3498714"/>
                <a:gd name="connsiteX29" fmla="*/ 1106501 w 4818179"/>
                <a:gd name="connsiteY29" fmla="*/ 1098289 h 3498714"/>
                <a:gd name="connsiteX30" fmla="*/ 1101049 w 4818179"/>
                <a:gd name="connsiteY30" fmla="*/ 1092836 h 3498714"/>
                <a:gd name="connsiteX31" fmla="*/ 1046523 w 4818179"/>
                <a:gd name="connsiteY31" fmla="*/ 1092836 h 3498714"/>
                <a:gd name="connsiteX32" fmla="*/ 1041071 w 4818179"/>
                <a:gd name="connsiteY32" fmla="*/ 1098289 h 3498714"/>
                <a:gd name="connsiteX33" fmla="*/ 1042136 w 4818179"/>
                <a:gd name="connsiteY33" fmla="*/ 1419754 h 3498714"/>
                <a:gd name="connsiteX34" fmla="*/ 1042136 w 4818179"/>
                <a:gd name="connsiteY34" fmla="*/ 3337652 h 3498714"/>
                <a:gd name="connsiteX35" fmla="*/ 881075 w 4818179"/>
                <a:gd name="connsiteY35" fmla="*/ 3498714 h 3498714"/>
                <a:gd name="connsiteX36" fmla="*/ 720012 w 4818179"/>
                <a:gd name="connsiteY36" fmla="*/ 3337652 h 3498714"/>
                <a:gd name="connsiteX37" fmla="*/ 720012 w 4818179"/>
                <a:gd name="connsiteY37" fmla="*/ 2125717 h 3498714"/>
                <a:gd name="connsiteX38" fmla="*/ 718947 w 4818179"/>
                <a:gd name="connsiteY38" fmla="*/ 2033194 h 3498714"/>
                <a:gd name="connsiteX39" fmla="*/ 714162 w 4818179"/>
                <a:gd name="connsiteY39" fmla="*/ 2028410 h 3498714"/>
                <a:gd name="connsiteX40" fmla="*/ 654759 w 4818179"/>
                <a:gd name="connsiteY40" fmla="*/ 2028410 h 3498714"/>
                <a:gd name="connsiteX41" fmla="*/ 649974 w 4818179"/>
                <a:gd name="connsiteY41" fmla="*/ 2033194 h 3498714"/>
                <a:gd name="connsiteX42" fmla="*/ 649974 w 4818179"/>
                <a:gd name="connsiteY42" fmla="*/ 2125717 h 3498714"/>
                <a:gd name="connsiteX43" fmla="*/ 649574 w 4818179"/>
                <a:gd name="connsiteY43" fmla="*/ 3337652 h 3498714"/>
                <a:gd name="connsiteX44" fmla="*/ 488511 w 4818179"/>
                <a:gd name="connsiteY44" fmla="*/ 3498714 h 3498714"/>
                <a:gd name="connsiteX45" fmla="*/ 327450 w 4818179"/>
                <a:gd name="connsiteY45" fmla="*/ 3337652 h 3498714"/>
                <a:gd name="connsiteX46" fmla="*/ 327450 w 4818179"/>
                <a:gd name="connsiteY46" fmla="*/ 1458216 h 3498714"/>
                <a:gd name="connsiteX47" fmla="*/ 322427 w 4818179"/>
                <a:gd name="connsiteY47" fmla="*/ 1098205 h 3498714"/>
                <a:gd name="connsiteX48" fmla="*/ 317058 w 4818179"/>
                <a:gd name="connsiteY48" fmla="*/ 1092836 h 3498714"/>
                <a:gd name="connsiteX49" fmla="*/ 263371 w 4818179"/>
                <a:gd name="connsiteY49" fmla="*/ 1092836 h 3498714"/>
                <a:gd name="connsiteX50" fmla="*/ 258001 w 4818179"/>
                <a:gd name="connsiteY50" fmla="*/ 1098205 h 3498714"/>
                <a:gd name="connsiteX51" fmla="*/ 258001 w 4818179"/>
                <a:gd name="connsiteY51" fmla="*/ 1444446 h 3498714"/>
                <a:gd name="connsiteX52" fmla="*/ 257700 w 4818179"/>
                <a:gd name="connsiteY52" fmla="*/ 1444370 h 3498714"/>
                <a:gd name="connsiteX53" fmla="*/ 257700 w 4818179"/>
                <a:gd name="connsiteY53" fmla="*/ 1912573 h 3498714"/>
                <a:gd name="connsiteX54" fmla="*/ 128850 w 4818179"/>
                <a:gd name="connsiteY54" fmla="*/ 2041423 h 3498714"/>
                <a:gd name="connsiteX55" fmla="*/ 0 w 4818179"/>
                <a:gd name="connsiteY55" fmla="*/ 1912573 h 3498714"/>
                <a:gd name="connsiteX56" fmla="*/ 0 w 4818179"/>
                <a:gd name="connsiteY56" fmla="*/ 1101802 h 3498714"/>
                <a:gd name="connsiteX57" fmla="*/ 0 w 4818179"/>
                <a:gd name="connsiteY57" fmla="*/ 1003338 h 3498714"/>
                <a:gd name="connsiteX58" fmla="*/ 0 w 4818179"/>
                <a:gd name="connsiteY58" fmla="*/ 982486 h 3498714"/>
                <a:gd name="connsiteX59" fmla="*/ 12733 w 4818179"/>
                <a:gd name="connsiteY59" fmla="*/ 894663 h 3498714"/>
                <a:gd name="connsiteX60" fmla="*/ 20539 w 4818179"/>
                <a:gd name="connsiteY60" fmla="*/ 868773 h 3498714"/>
                <a:gd name="connsiteX61" fmla="*/ 358791 w 4818179"/>
                <a:gd name="connsiteY61" fmla="*/ 644545 h 3498714"/>
                <a:gd name="connsiteX62" fmla="*/ 682782 w 4818179"/>
                <a:gd name="connsiteY62" fmla="*/ 0 h 3498714"/>
                <a:gd name="connsiteX63" fmla="*/ 966919 w 4818179"/>
                <a:gd name="connsiteY63" fmla="*/ 284138 h 3498714"/>
                <a:gd name="connsiteX64" fmla="*/ 682782 w 4818179"/>
                <a:gd name="connsiteY64" fmla="*/ 568275 h 3498714"/>
                <a:gd name="connsiteX65" fmla="*/ 398645 w 4818179"/>
                <a:gd name="connsiteY65" fmla="*/ 284138 h 3498714"/>
                <a:gd name="connsiteX66" fmla="*/ 682782 w 4818179"/>
                <a:gd name="connsiteY66" fmla="*/ 0 h 3498714"/>
                <a:gd name="connsiteX67" fmla="*/ 4707054 w 4818179"/>
                <a:gd name="connsiteY67" fmla="*/ 2902312 h 3498714"/>
                <a:gd name="connsiteX68" fmla="*/ 4818179 w 4818179"/>
                <a:gd name="connsiteY68" fmla="*/ 3013437 h 3498714"/>
                <a:gd name="connsiteX69" fmla="*/ 4707054 w 4818179"/>
                <a:gd name="connsiteY69" fmla="*/ 3124562 h 3498714"/>
                <a:gd name="connsiteX70" fmla="*/ 4545125 w 4818179"/>
                <a:gd name="connsiteY70" fmla="*/ 3124562 h 3498714"/>
                <a:gd name="connsiteX71" fmla="*/ 4545125 w 4818179"/>
                <a:gd name="connsiteY71" fmla="*/ 3361625 h 3498714"/>
                <a:gd name="connsiteX72" fmla="*/ 4436113 w 4818179"/>
                <a:gd name="connsiteY72" fmla="*/ 3470637 h 3498714"/>
                <a:gd name="connsiteX73" fmla="*/ 4235039 w 4818179"/>
                <a:gd name="connsiteY73" fmla="*/ 3470637 h 3498714"/>
                <a:gd name="connsiteX74" fmla="*/ 2589325 w 4818179"/>
                <a:gd name="connsiteY74" fmla="*/ 3124562 h 3498714"/>
                <a:gd name="connsiteX75" fmla="*/ 2589325 w 4818179"/>
                <a:gd name="connsiteY75" fmla="*/ 3361625 h 3498714"/>
                <a:gd name="connsiteX76" fmla="*/ 2480313 w 4818179"/>
                <a:gd name="connsiteY76" fmla="*/ 3470637 h 3498714"/>
                <a:gd name="connsiteX77" fmla="*/ 2279239 w 4818179"/>
                <a:gd name="connsiteY77" fmla="*/ 3470637 h 3498714"/>
                <a:gd name="connsiteX78" fmla="*/ 2170227 w 4818179"/>
                <a:gd name="connsiteY78" fmla="*/ 3361625 h 3498714"/>
                <a:gd name="connsiteX79" fmla="*/ 2170227 w 4818179"/>
                <a:gd name="connsiteY79" fmla="*/ 3124562 h 3498714"/>
                <a:gd name="connsiteX80" fmla="*/ 2052754 w 4818179"/>
                <a:gd name="connsiteY80" fmla="*/ 3124562 h 3498714"/>
                <a:gd name="connsiteX81" fmla="*/ 1941629 w 4818179"/>
                <a:gd name="connsiteY81" fmla="*/ 3013437 h 3498714"/>
                <a:gd name="connsiteX82" fmla="*/ 2052754 w 4818179"/>
                <a:gd name="connsiteY82" fmla="*/ 2902312 h 3498714"/>
                <a:gd name="connsiteX83" fmla="*/ 682782 w 4818179"/>
                <a:gd name="connsiteY83" fmla="*/ 0 h 3498714"/>
                <a:gd name="connsiteX0" fmla="*/ 4083961 w 4818179"/>
                <a:gd name="connsiteY0" fmla="*/ 2584811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2251033 w 4818179"/>
                <a:gd name="connsiteY4" fmla="*/ 2089512 h 3498714"/>
                <a:gd name="connsiteX5" fmla="*/ 2070058 w 4818179"/>
                <a:gd name="connsiteY5" fmla="*/ 2270487 h 3498714"/>
                <a:gd name="connsiteX6" fmla="*/ 2251033 w 4818179"/>
                <a:gd name="connsiteY6" fmla="*/ 2451462 h 3498714"/>
                <a:gd name="connsiteX7" fmla="*/ 2432008 w 4818179"/>
                <a:gd name="connsiteY7" fmla="*/ 2270487 h 3498714"/>
                <a:gd name="connsiteX8" fmla="*/ 2251033 w 4818179"/>
                <a:gd name="connsiteY8" fmla="*/ 2089512 h 3498714"/>
                <a:gd name="connsiteX9" fmla="*/ 2842751 w 4818179"/>
                <a:gd name="connsiteY9" fmla="*/ 1749356 h 3498714"/>
                <a:gd name="connsiteX10" fmla="*/ 2392797 w 4818179"/>
                <a:gd name="connsiteY10" fmla="*/ 1878907 h 3498714"/>
                <a:gd name="connsiteX11" fmla="*/ 2478781 w 4818179"/>
                <a:gd name="connsiteY11" fmla="*/ 1920808 h 3498714"/>
                <a:gd name="connsiteX12" fmla="*/ 2842751 w 4818179"/>
                <a:gd name="connsiteY12" fmla="*/ 1749356 h 3498714"/>
                <a:gd name="connsiteX13" fmla="*/ 2534724 w 4818179"/>
                <a:gd name="connsiteY13" fmla="*/ 982297 h 3498714"/>
                <a:gd name="connsiteX14" fmla="*/ 1970999 w 4818179"/>
                <a:gd name="connsiteY14" fmla="*/ 2826112 h 3498714"/>
                <a:gd name="connsiteX15" fmla="*/ 1850348 w 4818179"/>
                <a:gd name="connsiteY15" fmla="*/ 2705462 h 3498714"/>
                <a:gd name="connsiteX16" fmla="*/ 1956769 w 4818179"/>
                <a:gd name="connsiteY16" fmla="*/ 2587684 h 3498714"/>
                <a:gd name="connsiteX17" fmla="*/ 1823360 w 4818179"/>
                <a:gd name="connsiteY17" fmla="*/ 2279217 h 3498714"/>
                <a:gd name="connsiteX18" fmla="*/ 2217440 w 4818179"/>
                <a:gd name="connsiteY18" fmla="*/ 1856216 h 3498714"/>
                <a:gd name="connsiteX19" fmla="*/ 2534724 w 4818179"/>
                <a:gd name="connsiteY19" fmla="*/ 982297 h 3498714"/>
                <a:gd name="connsiteX20" fmla="*/ 358791 w 4818179"/>
                <a:gd name="connsiteY20" fmla="*/ 644545 h 3498714"/>
                <a:gd name="connsiteX21" fmla="*/ 1006774 w 4818179"/>
                <a:gd name="connsiteY21" fmla="*/ 644545 h 3498714"/>
                <a:gd name="connsiteX22" fmla="*/ 1542636 w 4818179"/>
                <a:gd name="connsiteY22" fmla="*/ 1193969 h 3498714"/>
                <a:gd name="connsiteX23" fmla="*/ 1929878 w 4818179"/>
                <a:gd name="connsiteY23" fmla="*/ 1193970 h 3498714"/>
                <a:gd name="connsiteX24" fmla="*/ 2070059 w 4818179"/>
                <a:gd name="connsiteY24" fmla="*/ 1334152 h 3498714"/>
                <a:gd name="connsiteX25" fmla="*/ 1929878 w 4818179"/>
                <a:gd name="connsiteY25" fmla="*/ 1474333 h 3498714"/>
                <a:gd name="connsiteX26" fmla="*/ 1520943 w 4818179"/>
                <a:gd name="connsiteY26" fmla="*/ 1470388 h 3498714"/>
                <a:gd name="connsiteX27" fmla="*/ 1332825 w 4818179"/>
                <a:gd name="connsiteY27" fmla="*/ 1367201 h 3498714"/>
                <a:gd name="connsiteX28" fmla="*/ 1106501 w 4818179"/>
                <a:gd name="connsiteY28" fmla="*/ 1098289 h 3498714"/>
                <a:gd name="connsiteX29" fmla="*/ 1101049 w 4818179"/>
                <a:gd name="connsiteY29" fmla="*/ 1092836 h 3498714"/>
                <a:gd name="connsiteX30" fmla="*/ 1046523 w 4818179"/>
                <a:gd name="connsiteY30" fmla="*/ 1092836 h 3498714"/>
                <a:gd name="connsiteX31" fmla="*/ 1041071 w 4818179"/>
                <a:gd name="connsiteY31" fmla="*/ 1098289 h 3498714"/>
                <a:gd name="connsiteX32" fmla="*/ 1042136 w 4818179"/>
                <a:gd name="connsiteY32" fmla="*/ 1419754 h 3498714"/>
                <a:gd name="connsiteX33" fmla="*/ 1042136 w 4818179"/>
                <a:gd name="connsiteY33" fmla="*/ 3337652 h 3498714"/>
                <a:gd name="connsiteX34" fmla="*/ 881075 w 4818179"/>
                <a:gd name="connsiteY34" fmla="*/ 3498714 h 3498714"/>
                <a:gd name="connsiteX35" fmla="*/ 720012 w 4818179"/>
                <a:gd name="connsiteY35" fmla="*/ 3337652 h 3498714"/>
                <a:gd name="connsiteX36" fmla="*/ 720012 w 4818179"/>
                <a:gd name="connsiteY36" fmla="*/ 2125717 h 3498714"/>
                <a:gd name="connsiteX37" fmla="*/ 718947 w 4818179"/>
                <a:gd name="connsiteY37" fmla="*/ 2033194 h 3498714"/>
                <a:gd name="connsiteX38" fmla="*/ 714162 w 4818179"/>
                <a:gd name="connsiteY38" fmla="*/ 2028410 h 3498714"/>
                <a:gd name="connsiteX39" fmla="*/ 654759 w 4818179"/>
                <a:gd name="connsiteY39" fmla="*/ 2028410 h 3498714"/>
                <a:gd name="connsiteX40" fmla="*/ 649974 w 4818179"/>
                <a:gd name="connsiteY40" fmla="*/ 2033194 h 3498714"/>
                <a:gd name="connsiteX41" fmla="*/ 649974 w 4818179"/>
                <a:gd name="connsiteY41" fmla="*/ 2125717 h 3498714"/>
                <a:gd name="connsiteX42" fmla="*/ 649574 w 4818179"/>
                <a:gd name="connsiteY42" fmla="*/ 3337652 h 3498714"/>
                <a:gd name="connsiteX43" fmla="*/ 488511 w 4818179"/>
                <a:gd name="connsiteY43" fmla="*/ 3498714 h 3498714"/>
                <a:gd name="connsiteX44" fmla="*/ 327450 w 4818179"/>
                <a:gd name="connsiteY44" fmla="*/ 3337652 h 3498714"/>
                <a:gd name="connsiteX45" fmla="*/ 327450 w 4818179"/>
                <a:gd name="connsiteY45" fmla="*/ 1458216 h 3498714"/>
                <a:gd name="connsiteX46" fmla="*/ 322427 w 4818179"/>
                <a:gd name="connsiteY46" fmla="*/ 1098205 h 3498714"/>
                <a:gd name="connsiteX47" fmla="*/ 317058 w 4818179"/>
                <a:gd name="connsiteY47" fmla="*/ 1092836 h 3498714"/>
                <a:gd name="connsiteX48" fmla="*/ 263371 w 4818179"/>
                <a:gd name="connsiteY48" fmla="*/ 1092836 h 3498714"/>
                <a:gd name="connsiteX49" fmla="*/ 258001 w 4818179"/>
                <a:gd name="connsiteY49" fmla="*/ 1098205 h 3498714"/>
                <a:gd name="connsiteX50" fmla="*/ 258001 w 4818179"/>
                <a:gd name="connsiteY50" fmla="*/ 1444446 h 3498714"/>
                <a:gd name="connsiteX51" fmla="*/ 257700 w 4818179"/>
                <a:gd name="connsiteY51" fmla="*/ 1444370 h 3498714"/>
                <a:gd name="connsiteX52" fmla="*/ 257700 w 4818179"/>
                <a:gd name="connsiteY52" fmla="*/ 1912573 h 3498714"/>
                <a:gd name="connsiteX53" fmla="*/ 128850 w 4818179"/>
                <a:gd name="connsiteY53" fmla="*/ 2041423 h 3498714"/>
                <a:gd name="connsiteX54" fmla="*/ 0 w 4818179"/>
                <a:gd name="connsiteY54" fmla="*/ 1912573 h 3498714"/>
                <a:gd name="connsiteX55" fmla="*/ 0 w 4818179"/>
                <a:gd name="connsiteY55" fmla="*/ 1101802 h 3498714"/>
                <a:gd name="connsiteX56" fmla="*/ 0 w 4818179"/>
                <a:gd name="connsiteY56" fmla="*/ 1003338 h 3498714"/>
                <a:gd name="connsiteX57" fmla="*/ 0 w 4818179"/>
                <a:gd name="connsiteY57" fmla="*/ 982486 h 3498714"/>
                <a:gd name="connsiteX58" fmla="*/ 12733 w 4818179"/>
                <a:gd name="connsiteY58" fmla="*/ 894663 h 3498714"/>
                <a:gd name="connsiteX59" fmla="*/ 20539 w 4818179"/>
                <a:gd name="connsiteY59" fmla="*/ 868773 h 3498714"/>
                <a:gd name="connsiteX60" fmla="*/ 358791 w 4818179"/>
                <a:gd name="connsiteY60" fmla="*/ 644545 h 3498714"/>
                <a:gd name="connsiteX61" fmla="*/ 682782 w 4818179"/>
                <a:gd name="connsiteY61" fmla="*/ 0 h 3498714"/>
                <a:gd name="connsiteX62" fmla="*/ 966919 w 4818179"/>
                <a:gd name="connsiteY62" fmla="*/ 284138 h 3498714"/>
                <a:gd name="connsiteX63" fmla="*/ 682782 w 4818179"/>
                <a:gd name="connsiteY63" fmla="*/ 568275 h 3498714"/>
                <a:gd name="connsiteX64" fmla="*/ 398645 w 4818179"/>
                <a:gd name="connsiteY64" fmla="*/ 284138 h 3498714"/>
                <a:gd name="connsiteX65" fmla="*/ 682782 w 4818179"/>
                <a:gd name="connsiteY65" fmla="*/ 0 h 3498714"/>
                <a:gd name="connsiteX66" fmla="*/ 4707054 w 4818179"/>
                <a:gd name="connsiteY66" fmla="*/ 2902312 h 3498714"/>
                <a:gd name="connsiteX67" fmla="*/ 4818179 w 4818179"/>
                <a:gd name="connsiteY67" fmla="*/ 3013437 h 3498714"/>
                <a:gd name="connsiteX68" fmla="*/ 4707054 w 4818179"/>
                <a:gd name="connsiteY68" fmla="*/ 3124562 h 3498714"/>
                <a:gd name="connsiteX69" fmla="*/ 4545125 w 4818179"/>
                <a:gd name="connsiteY69" fmla="*/ 3124562 h 3498714"/>
                <a:gd name="connsiteX70" fmla="*/ 4545125 w 4818179"/>
                <a:gd name="connsiteY70" fmla="*/ 3361625 h 3498714"/>
                <a:gd name="connsiteX71" fmla="*/ 4436113 w 4818179"/>
                <a:gd name="connsiteY71" fmla="*/ 3470637 h 3498714"/>
                <a:gd name="connsiteX72" fmla="*/ 4235039 w 4818179"/>
                <a:gd name="connsiteY72" fmla="*/ 3470637 h 3498714"/>
                <a:gd name="connsiteX73" fmla="*/ 2589325 w 4818179"/>
                <a:gd name="connsiteY73" fmla="*/ 3124562 h 3498714"/>
                <a:gd name="connsiteX74" fmla="*/ 2589325 w 4818179"/>
                <a:gd name="connsiteY74" fmla="*/ 3361625 h 3498714"/>
                <a:gd name="connsiteX75" fmla="*/ 2480313 w 4818179"/>
                <a:gd name="connsiteY75" fmla="*/ 3470637 h 3498714"/>
                <a:gd name="connsiteX76" fmla="*/ 2279239 w 4818179"/>
                <a:gd name="connsiteY76" fmla="*/ 3470637 h 3498714"/>
                <a:gd name="connsiteX77" fmla="*/ 2170227 w 4818179"/>
                <a:gd name="connsiteY77" fmla="*/ 3361625 h 3498714"/>
                <a:gd name="connsiteX78" fmla="*/ 2170227 w 4818179"/>
                <a:gd name="connsiteY78" fmla="*/ 3124562 h 3498714"/>
                <a:gd name="connsiteX79" fmla="*/ 2052754 w 4818179"/>
                <a:gd name="connsiteY79" fmla="*/ 3124562 h 3498714"/>
                <a:gd name="connsiteX80" fmla="*/ 1941629 w 4818179"/>
                <a:gd name="connsiteY80" fmla="*/ 3013437 h 3498714"/>
                <a:gd name="connsiteX81" fmla="*/ 2052754 w 4818179"/>
                <a:gd name="connsiteY81" fmla="*/ 2902312 h 3498714"/>
                <a:gd name="connsiteX82" fmla="*/ 682782 w 4818179"/>
                <a:gd name="connsiteY82" fmla="*/ 0 h 3498714"/>
                <a:gd name="connsiteX0" fmla="*/ 2671086 w 4818179"/>
                <a:gd name="connsiteY0" fmla="*/ 2584811 h 3498714"/>
                <a:gd name="connsiteX1" fmla="*/ 2671086 w 4818179"/>
                <a:gd name="connsiteY1" fmla="*/ 2397487 h 3498714"/>
                <a:gd name="connsiteX2" fmla="*/ 2671086 w 4818179"/>
                <a:gd name="connsiteY2" fmla="*/ 2584811 h 3498714"/>
                <a:gd name="connsiteX3" fmla="*/ 2251033 w 4818179"/>
                <a:gd name="connsiteY3" fmla="*/ 2089512 h 3498714"/>
                <a:gd name="connsiteX4" fmla="*/ 2070058 w 4818179"/>
                <a:gd name="connsiteY4" fmla="*/ 2270487 h 3498714"/>
                <a:gd name="connsiteX5" fmla="*/ 2251033 w 4818179"/>
                <a:gd name="connsiteY5" fmla="*/ 2451462 h 3498714"/>
                <a:gd name="connsiteX6" fmla="*/ 2432008 w 4818179"/>
                <a:gd name="connsiteY6" fmla="*/ 2270487 h 3498714"/>
                <a:gd name="connsiteX7" fmla="*/ 2251033 w 4818179"/>
                <a:gd name="connsiteY7" fmla="*/ 2089512 h 3498714"/>
                <a:gd name="connsiteX8" fmla="*/ 2842751 w 4818179"/>
                <a:gd name="connsiteY8" fmla="*/ 1749356 h 3498714"/>
                <a:gd name="connsiteX9" fmla="*/ 2392797 w 4818179"/>
                <a:gd name="connsiteY9" fmla="*/ 1878907 h 3498714"/>
                <a:gd name="connsiteX10" fmla="*/ 2478781 w 4818179"/>
                <a:gd name="connsiteY10" fmla="*/ 1920808 h 3498714"/>
                <a:gd name="connsiteX11" fmla="*/ 2842751 w 4818179"/>
                <a:gd name="connsiteY11" fmla="*/ 1749356 h 3498714"/>
                <a:gd name="connsiteX12" fmla="*/ 2534724 w 4818179"/>
                <a:gd name="connsiteY12" fmla="*/ 982297 h 3498714"/>
                <a:gd name="connsiteX13" fmla="*/ 1970999 w 4818179"/>
                <a:gd name="connsiteY13" fmla="*/ 2826112 h 3498714"/>
                <a:gd name="connsiteX14" fmla="*/ 1850348 w 4818179"/>
                <a:gd name="connsiteY14" fmla="*/ 2705462 h 3498714"/>
                <a:gd name="connsiteX15" fmla="*/ 1956769 w 4818179"/>
                <a:gd name="connsiteY15" fmla="*/ 2587684 h 3498714"/>
                <a:gd name="connsiteX16" fmla="*/ 1823360 w 4818179"/>
                <a:gd name="connsiteY16" fmla="*/ 2279217 h 3498714"/>
                <a:gd name="connsiteX17" fmla="*/ 2217440 w 4818179"/>
                <a:gd name="connsiteY17" fmla="*/ 1856216 h 3498714"/>
                <a:gd name="connsiteX18" fmla="*/ 2534724 w 4818179"/>
                <a:gd name="connsiteY18" fmla="*/ 982297 h 3498714"/>
                <a:gd name="connsiteX19" fmla="*/ 358791 w 4818179"/>
                <a:gd name="connsiteY19" fmla="*/ 644545 h 3498714"/>
                <a:gd name="connsiteX20" fmla="*/ 1006774 w 4818179"/>
                <a:gd name="connsiteY20" fmla="*/ 644545 h 3498714"/>
                <a:gd name="connsiteX21" fmla="*/ 1542636 w 4818179"/>
                <a:gd name="connsiteY21" fmla="*/ 1193969 h 3498714"/>
                <a:gd name="connsiteX22" fmla="*/ 1929878 w 4818179"/>
                <a:gd name="connsiteY22" fmla="*/ 1193970 h 3498714"/>
                <a:gd name="connsiteX23" fmla="*/ 2070059 w 4818179"/>
                <a:gd name="connsiteY23" fmla="*/ 1334152 h 3498714"/>
                <a:gd name="connsiteX24" fmla="*/ 1929878 w 4818179"/>
                <a:gd name="connsiteY24" fmla="*/ 1474333 h 3498714"/>
                <a:gd name="connsiteX25" fmla="*/ 1520943 w 4818179"/>
                <a:gd name="connsiteY25" fmla="*/ 1470388 h 3498714"/>
                <a:gd name="connsiteX26" fmla="*/ 1332825 w 4818179"/>
                <a:gd name="connsiteY26" fmla="*/ 1367201 h 3498714"/>
                <a:gd name="connsiteX27" fmla="*/ 1106501 w 4818179"/>
                <a:gd name="connsiteY27" fmla="*/ 1098289 h 3498714"/>
                <a:gd name="connsiteX28" fmla="*/ 1101049 w 4818179"/>
                <a:gd name="connsiteY28" fmla="*/ 1092836 h 3498714"/>
                <a:gd name="connsiteX29" fmla="*/ 1046523 w 4818179"/>
                <a:gd name="connsiteY29" fmla="*/ 1092836 h 3498714"/>
                <a:gd name="connsiteX30" fmla="*/ 1041071 w 4818179"/>
                <a:gd name="connsiteY30" fmla="*/ 1098289 h 3498714"/>
                <a:gd name="connsiteX31" fmla="*/ 1042136 w 4818179"/>
                <a:gd name="connsiteY31" fmla="*/ 1419754 h 3498714"/>
                <a:gd name="connsiteX32" fmla="*/ 1042136 w 4818179"/>
                <a:gd name="connsiteY32" fmla="*/ 3337652 h 3498714"/>
                <a:gd name="connsiteX33" fmla="*/ 881075 w 4818179"/>
                <a:gd name="connsiteY33" fmla="*/ 3498714 h 3498714"/>
                <a:gd name="connsiteX34" fmla="*/ 720012 w 4818179"/>
                <a:gd name="connsiteY34" fmla="*/ 3337652 h 3498714"/>
                <a:gd name="connsiteX35" fmla="*/ 720012 w 4818179"/>
                <a:gd name="connsiteY35" fmla="*/ 2125717 h 3498714"/>
                <a:gd name="connsiteX36" fmla="*/ 718947 w 4818179"/>
                <a:gd name="connsiteY36" fmla="*/ 2033194 h 3498714"/>
                <a:gd name="connsiteX37" fmla="*/ 714162 w 4818179"/>
                <a:gd name="connsiteY37" fmla="*/ 2028410 h 3498714"/>
                <a:gd name="connsiteX38" fmla="*/ 654759 w 4818179"/>
                <a:gd name="connsiteY38" fmla="*/ 2028410 h 3498714"/>
                <a:gd name="connsiteX39" fmla="*/ 649974 w 4818179"/>
                <a:gd name="connsiteY39" fmla="*/ 2033194 h 3498714"/>
                <a:gd name="connsiteX40" fmla="*/ 649974 w 4818179"/>
                <a:gd name="connsiteY40" fmla="*/ 2125717 h 3498714"/>
                <a:gd name="connsiteX41" fmla="*/ 649574 w 4818179"/>
                <a:gd name="connsiteY41" fmla="*/ 3337652 h 3498714"/>
                <a:gd name="connsiteX42" fmla="*/ 488511 w 4818179"/>
                <a:gd name="connsiteY42" fmla="*/ 3498714 h 3498714"/>
                <a:gd name="connsiteX43" fmla="*/ 327450 w 4818179"/>
                <a:gd name="connsiteY43" fmla="*/ 3337652 h 3498714"/>
                <a:gd name="connsiteX44" fmla="*/ 327450 w 4818179"/>
                <a:gd name="connsiteY44" fmla="*/ 1458216 h 3498714"/>
                <a:gd name="connsiteX45" fmla="*/ 322427 w 4818179"/>
                <a:gd name="connsiteY45" fmla="*/ 1098205 h 3498714"/>
                <a:gd name="connsiteX46" fmla="*/ 317058 w 4818179"/>
                <a:gd name="connsiteY46" fmla="*/ 1092836 h 3498714"/>
                <a:gd name="connsiteX47" fmla="*/ 263371 w 4818179"/>
                <a:gd name="connsiteY47" fmla="*/ 1092836 h 3498714"/>
                <a:gd name="connsiteX48" fmla="*/ 258001 w 4818179"/>
                <a:gd name="connsiteY48" fmla="*/ 1098205 h 3498714"/>
                <a:gd name="connsiteX49" fmla="*/ 258001 w 4818179"/>
                <a:gd name="connsiteY49" fmla="*/ 1444446 h 3498714"/>
                <a:gd name="connsiteX50" fmla="*/ 257700 w 4818179"/>
                <a:gd name="connsiteY50" fmla="*/ 1444370 h 3498714"/>
                <a:gd name="connsiteX51" fmla="*/ 257700 w 4818179"/>
                <a:gd name="connsiteY51" fmla="*/ 1912573 h 3498714"/>
                <a:gd name="connsiteX52" fmla="*/ 128850 w 4818179"/>
                <a:gd name="connsiteY52" fmla="*/ 2041423 h 3498714"/>
                <a:gd name="connsiteX53" fmla="*/ 0 w 4818179"/>
                <a:gd name="connsiteY53" fmla="*/ 1912573 h 3498714"/>
                <a:gd name="connsiteX54" fmla="*/ 0 w 4818179"/>
                <a:gd name="connsiteY54" fmla="*/ 1101802 h 3498714"/>
                <a:gd name="connsiteX55" fmla="*/ 0 w 4818179"/>
                <a:gd name="connsiteY55" fmla="*/ 1003338 h 3498714"/>
                <a:gd name="connsiteX56" fmla="*/ 0 w 4818179"/>
                <a:gd name="connsiteY56" fmla="*/ 982486 h 3498714"/>
                <a:gd name="connsiteX57" fmla="*/ 12733 w 4818179"/>
                <a:gd name="connsiteY57" fmla="*/ 894663 h 3498714"/>
                <a:gd name="connsiteX58" fmla="*/ 20539 w 4818179"/>
                <a:gd name="connsiteY58" fmla="*/ 868773 h 3498714"/>
                <a:gd name="connsiteX59" fmla="*/ 358791 w 4818179"/>
                <a:gd name="connsiteY59" fmla="*/ 644545 h 3498714"/>
                <a:gd name="connsiteX60" fmla="*/ 682782 w 4818179"/>
                <a:gd name="connsiteY60" fmla="*/ 0 h 3498714"/>
                <a:gd name="connsiteX61" fmla="*/ 966919 w 4818179"/>
                <a:gd name="connsiteY61" fmla="*/ 284138 h 3498714"/>
                <a:gd name="connsiteX62" fmla="*/ 682782 w 4818179"/>
                <a:gd name="connsiteY62" fmla="*/ 568275 h 3498714"/>
                <a:gd name="connsiteX63" fmla="*/ 398645 w 4818179"/>
                <a:gd name="connsiteY63" fmla="*/ 284138 h 3498714"/>
                <a:gd name="connsiteX64" fmla="*/ 682782 w 4818179"/>
                <a:gd name="connsiteY64" fmla="*/ 0 h 3498714"/>
                <a:gd name="connsiteX65" fmla="*/ 4707054 w 4818179"/>
                <a:gd name="connsiteY65" fmla="*/ 2902312 h 3498714"/>
                <a:gd name="connsiteX66" fmla="*/ 4818179 w 4818179"/>
                <a:gd name="connsiteY66" fmla="*/ 3013437 h 3498714"/>
                <a:gd name="connsiteX67" fmla="*/ 4707054 w 4818179"/>
                <a:gd name="connsiteY67" fmla="*/ 3124562 h 3498714"/>
                <a:gd name="connsiteX68" fmla="*/ 4545125 w 4818179"/>
                <a:gd name="connsiteY68" fmla="*/ 3124562 h 3498714"/>
                <a:gd name="connsiteX69" fmla="*/ 4545125 w 4818179"/>
                <a:gd name="connsiteY69" fmla="*/ 3361625 h 3498714"/>
                <a:gd name="connsiteX70" fmla="*/ 4436113 w 4818179"/>
                <a:gd name="connsiteY70" fmla="*/ 3470637 h 3498714"/>
                <a:gd name="connsiteX71" fmla="*/ 4235039 w 4818179"/>
                <a:gd name="connsiteY71" fmla="*/ 3470637 h 3498714"/>
                <a:gd name="connsiteX72" fmla="*/ 2589325 w 4818179"/>
                <a:gd name="connsiteY72" fmla="*/ 3124562 h 3498714"/>
                <a:gd name="connsiteX73" fmla="*/ 2589325 w 4818179"/>
                <a:gd name="connsiteY73" fmla="*/ 3361625 h 3498714"/>
                <a:gd name="connsiteX74" fmla="*/ 2480313 w 4818179"/>
                <a:gd name="connsiteY74" fmla="*/ 3470637 h 3498714"/>
                <a:gd name="connsiteX75" fmla="*/ 2279239 w 4818179"/>
                <a:gd name="connsiteY75" fmla="*/ 3470637 h 3498714"/>
                <a:gd name="connsiteX76" fmla="*/ 2170227 w 4818179"/>
                <a:gd name="connsiteY76" fmla="*/ 3361625 h 3498714"/>
                <a:gd name="connsiteX77" fmla="*/ 2170227 w 4818179"/>
                <a:gd name="connsiteY77" fmla="*/ 3124562 h 3498714"/>
                <a:gd name="connsiteX78" fmla="*/ 2052754 w 4818179"/>
                <a:gd name="connsiteY78" fmla="*/ 3124562 h 3498714"/>
                <a:gd name="connsiteX79" fmla="*/ 1941629 w 4818179"/>
                <a:gd name="connsiteY79" fmla="*/ 3013437 h 3498714"/>
                <a:gd name="connsiteX80" fmla="*/ 2052754 w 4818179"/>
                <a:gd name="connsiteY80" fmla="*/ 2902312 h 3498714"/>
                <a:gd name="connsiteX81" fmla="*/ 682782 w 4818179"/>
                <a:gd name="connsiteY81" fmla="*/ 0 h 3498714"/>
                <a:gd name="connsiteX0" fmla="*/ 2251033 w 4818179"/>
                <a:gd name="connsiteY0" fmla="*/ 2089512 h 3498714"/>
                <a:gd name="connsiteX1" fmla="*/ 2070058 w 4818179"/>
                <a:gd name="connsiteY1" fmla="*/ 2270487 h 3498714"/>
                <a:gd name="connsiteX2" fmla="*/ 2251033 w 4818179"/>
                <a:gd name="connsiteY2" fmla="*/ 2451462 h 3498714"/>
                <a:gd name="connsiteX3" fmla="*/ 2432008 w 4818179"/>
                <a:gd name="connsiteY3" fmla="*/ 2270487 h 3498714"/>
                <a:gd name="connsiteX4" fmla="*/ 2251033 w 4818179"/>
                <a:gd name="connsiteY4" fmla="*/ 2089512 h 3498714"/>
                <a:gd name="connsiteX5" fmla="*/ 2842751 w 4818179"/>
                <a:gd name="connsiteY5" fmla="*/ 1749356 h 3498714"/>
                <a:gd name="connsiteX6" fmla="*/ 2392797 w 4818179"/>
                <a:gd name="connsiteY6" fmla="*/ 1878907 h 3498714"/>
                <a:gd name="connsiteX7" fmla="*/ 2478781 w 4818179"/>
                <a:gd name="connsiteY7" fmla="*/ 1920808 h 3498714"/>
                <a:gd name="connsiteX8" fmla="*/ 2842751 w 4818179"/>
                <a:gd name="connsiteY8" fmla="*/ 1749356 h 3498714"/>
                <a:gd name="connsiteX9" fmla="*/ 2534724 w 4818179"/>
                <a:gd name="connsiteY9" fmla="*/ 982297 h 3498714"/>
                <a:gd name="connsiteX10" fmla="*/ 1970999 w 4818179"/>
                <a:gd name="connsiteY10" fmla="*/ 2826112 h 3498714"/>
                <a:gd name="connsiteX11" fmla="*/ 1850348 w 4818179"/>
                <a:gd name="connsiteY11" fmla="*/ 2705462 h 3498714"/>
                <a:gd name="connsiteX12" fmla="*/ 1956769 w 4818179"/>
                <a:gd name="connsiteY12" fmla="*/ 2587684 h 3498714"/>
                <a:gd name="connsiteX13" fmla="*/ 1823360 w 4818179"/>
                <a:gd name="connsiteY13" fmla="*/ 2279217 h 3498714"/>
                <a:gd name="connsiteX14" fmla="*/ 2217440 w 4818179"/>
                <a:gd name="connsiteY14" fmla="*/ 1856216 h 3498714"/>
                <a:gd name="connsiteX15" fmla="*/ 2534724 w 4818179"/>
                <a:gd name="connsiteY15" fmla="*/ 982297 h 3498714"/>
                <a:gd name="connsiteX16" fmla="*/ 358791 w 4818179"/>
                <a:gd name="connsiteY16" fmla="*/ 644545 h 3498714"/>
                <a:gd name="connsiteX17" fmla="*/ 1006774 w 4818179"/>
                <a:gd name="connsiteY17" fmla="*/ 644545 h 3498714"/>
                <a:gd name="connsiteX18" fmla="*/ 1542636 w 4818179"/>
                <a:gd name="connsiteY18" fmla="*/ 1193969 h 3498714"/>
                <a:gd name="connsiteX19" fmla="*/ 1929878 w 4818179"/>
                <a:gd name="connsiteY19" fmla="*/ 1193970 h 3498714"/>
                <a:gd name="connsiteX20" fmla="*/ 2070059 w 4818179"/>
                <a:gd name="connsiteY20" fmla="*/ 1334152 h 3498714"/>
                <a:gd name="connsiteX21" fmla="*/ 1929878 w 4818179"/>
                <a:gd name="connsiteY21" fmla="*/ 1474333 h 3498714"/>
                <a:gd name="connsiteX22" fmla="*/ 1520943 w 4818179"/>
                <a:gd name="connsiteY22" fmla="*/ 1470388 h 3498714"/>
                <a:gd name="connsiteX23" fmla="*/ 1332825 w 4818179"/>
                <a:gd name="connsiteY23" fmla="*/ 1367201 h 3498714"/>
                <a:gd name="connsiteX24" fmla="*/ 1106501 w 4818179"/>
                <a:gd name="connsiteY24" fmla="*/ 1098289 h 3498714"/>
                <a:gd name="connsiteX25" fmla="*/ 1101049 w 4818179"/>
                <a:gd name="connsiteY25" fmla="*/ 1092836 h 3498714"/>
                <a:gd name="connsiteX26" fmla="*/ 1046523 w 4818179"/>
                <a:gd name="connsiteY26" fmla="*/ 1092836 h 3498714"/>
                <a:gd name="connsiteX27" fmla="*/ 1041071 w 4818179"/>
                <a:gd name="connsiteY27" fmla="*/ 1098289 h 3498714"/>
                <a:gd name="connsiteX28" fmla="*/ 1042136 w 4818179"/>
                <a:gd name="connsiteY28" fmla="*/ 1419754 h 3498714"/>
                <a:gd name="connsiteX29" fmla="*/ 1042136 w 4818179"/>
                <a:gd name="connsiteY29" fmla="*/ 3337652 h 3498714"/>
                <a:gd name="connsiteX30" fmla="*/ 881075 w 4818179"/>
                <a:gd name="connsiteY30" fmla="*/ 3498714 h 3498714"/>
                <a:gd name="connsiteX31" fmla="*/ 720012 w 4818179"/>
                <a:gd name="connsiteY31" fmla="*/ 3337652 h 3498714"/>
                <a:gd name="connsiteX32" fmla="*/ 720012 w 4818179"/>
                <a:gd name="connsiteY32" fmla="*/ 2125717 h 3498714"/>
                <a:gd name="connsiteX33" fmla="*/ 718947 w 4818179"/>
                <a:gd name="connsiteY33" fmla="*/ 2033194 h 3498714"/>
                <a:gd name="connsiteX34" fmla="*/ 714162 w 4818179"/>
                <a:gd name="connsiteY34" fmla="*/ 2028410 h 3498714"/>
                <a:gd name="connsiteX35" fmla="*/ 654759 w 4818179"/>
                <a:gd name="connsiteY35" fmla="*/ 2028410 h 3498714"/>
                <a:gd name="connsiteX36" fmla="*/ 649974 w 4818179"/>
                <a:gd name="connsiteY36" fmla="*/ 2033194 h 3498714"/>
                <a:gd name="connsiteX37" fmla="*/ 649974 w 4818179"/>
                <a:gd name="connsiteY37" fmla="*/ 2125717 h 3498714"/>
                <a:gd name="connsiteX38" fmla="*/ 649574 w 4818179"/>
                <a:gd name="connsiteY38" fmla="*/ 3337652 h 3498714"/>
                <a:gd name="connsiteX39" fmla="*/ 488511 w 4818179"/>
                <a:gd name="connsiteY39" fmla="*/ 3498714 h 3498714"/>
                <a:gd name="connsiteX40" fmla="*/ 327450 w 4818179"/>
                <a:gd name="connsiteY40" fmla="*/ 3337652 h 3498714"/>
                <a:gd name="connsiteX41" fmla="*/ 327450 w 4818179"/>
                <a:gd name="connsiteY41" fmla="*/ 1458216 h 3498714"/>
                <a:gd name="connsiteX42" fmla="*/ 322427 w 4818179"/>
                <a:gd name="connsiteY42" fmla="*/ 1098205 h 3498714"/>
                <a:gd name="connsiteX43" fmla="*/ 317058 w 4818179"/>
                <a:gd name="connsiteY43" fmla="*/ 1092836 h 3498714"/>
                <a:gd name="connsiteX44" fmla="*/ 263371 w 4818179"/>
                <a:gd name="connsiteY44" fmla="*/ 1092836 h 3498714"/>
                <a:gd name="connsiteX45" fmla="*/ 258001 w 4818179"/>
                <a:gd name="connsiteY45" fmla="*/ 1098205 h 3498714"/>
                <a:gd name="connsiteX46" fmla="*/ 258001 w 4818179"/>
                <a:gd name="connsiteY46" fmla="*/ 1444446 h 3498714"/>
                <a:gd name="connsiteX47" fmla="*/ 257700 w 4818179"/>
                <a:gd name="connsiteY47" fmla="*/ 1444370 h 3498714"/>
                <a:gd name="connsiteX48" fmla="*/ 257700 w 4818179"/>
                <a:gd name="connsiteY48" fmla="*/ 1912573 h 3498714"/>
                <a:gd name="connsiteX49" fmla="*/ 128850 w 4818179"/>
                <a:gd name="connsiteY49" fmla="*/ 2041423 h 3498714"/>
                <a:gd name="connsiteX50" fmla="*/ 0 w 4818179"/>
                <a:gd name="connsiteY50" fmla="*/ 1912573 h 3498714"/>
                <a:gd name="connsiteX51" fmla="*/ 0 w 4818179"/>
                <a:gd name="connsiteY51" fmla="*/ 1101802 h 3498714"/>
                <a:gd name="connsiteX52" fmla="*/ 0 w 4818179"/>
                <a:gd name="connsiteY52" fmla="*/ 1003338 h 3498714"/>
                <a:gd name="connsiteX53" fmla="*/ 0 w 4818179"/>
                <a:gd name="connsiteY53" fmla="*/ 982486 h 3498714"/>
                <a:gd name="connsiteX54" fmla="*/ 12733 w 4818179"/>
                <a:gd name="connsiteY54" fmla="*/ 894663 h 3498714"/>
                <a:gd name="connsiteX55" fmla="*/ 20539 w 4818179"/>
                <a:gd name="connsiteY55" fmla="*/ 868773 h 3498714"/>
                <a:gd name="connsiteX56" fmla="*/ 358791 w 4818179"/>
                <a:gd name="connsiteY56" fmla="*/ 644545 h 3498714"/>
                <a:gd name="connsiteX57" fmla="*/ 682782 w 4818179"/>
                <a:gd name="connsiteY57" fmla="*/ 0 h 3498714"/>
                <a:gd name="connsiteX58" fmla="*/ 966919 w 4818179"/>
                <a:gd name="connsiteY58" fmla="*/ 284138 h 3498714"/>
                <a:gd name="connsiteX59" fmla="*/ 682782 w 4818179"/>
                <a:gd name="connsiteY59" fmla="*/ 568275 h 3498714"/>
                <a:gd name="connsiteX60" fmla="*/ 398645 w 4818179"/>
                <a:gd name="connsiteY60" fmla="*/ 284138 h 3498714"/>
                <a:gd name="connsiteX61" fmla="*/ 682782 w 4818179"/>
                <a:gd name="connsiteY61" fmla="*/ 0 h 3498714"/>
                <a:gd name="connsiteX62" fmla="*/ 4707054 w 4818179"/>
                <a:gd name="connsiteY62" fmla="*/ 2902312 h 3498714"/>
                <a:gd name="connsiteX63" fmla="*/ 4818179 w 4818179"/>
                <a:gd name="connsiteY63" fmla="*/ 3013437 h 3498714"/>
                <a:gd name="connsiteX64" fmla="*/ 4707054 w 4818179"/>
                <a:gd name="connsiteY64" fmla="*/ 3124562 h 3498714"/>
                <a:gd name="connsiteX65" fmla="*/ 4545125 w 4818179"/>
                <a:gd name="connsiteY65" fmla="*/ 3124562 h 3498714"/>
                <a:gd name="connsiteX66" fmla="*/ 4545125 w 4818179"/>
                <a:gd name="connsiteY66" fmla="*/ 3361625 h 3498714"/>
                <a:gd name="connsiteX67" fmla="*/ 4436113 w 4818179"/>
                <a:gd name="connsiteY67" fmla="*/ 3470637 h 3498714"/>
                <a:gd name="connsiteX68" fmla="*/ 4235039 w 4818179"/>
                <a:gd name="connsiteY68" fmla="*/ 3470637 h 3498714"/>
                <a:gd name="connsiteX69" fmla="*/ 2589325 w 4818179"/>
                <a:gd name="connsiteY69" fmla="*/ 3124562 h 3498714"/>
                <a:gd name="connsiteX70" fmla="*/ 2589325 w 4818179"/>
                <a:gd name="connsiteY70" fmla="*/ 3361625 h 3498714"/>
                <a:gd name="connsiteX71" fmla="*/ 2480313 w 4818179"/>
                <a:gd name="connsiteY71" fmla="*/ 3470637 h 3498714"/>
                <a:gd name="connsiteX72" fmla="*/ 2279239 w 4818179"/>
                <a:gd name="connsiteY72" fmla="*/ 3470637 h 3498714"/>
                <a:gd name="connsiteX73" fmla="*/ 2170227 w 4818179"/>
                <a:gd name="connsiteY73" fmla="*/ 3361625 h 3498714"/>
                <a:gd name="connsiteX74" fmla="*/ 2170227 w 4818179"/>
                <a:gd name="connsiteY74" fmla="*/ 3124562 h 3498714"/>
                <a:gd name="connsiteX75" fmla="*/ 2052754 w 4818179"/>
                <a:gd name="connsiteY75" fmla="*/ 3124562 h 3498714"/>
                <a:gd name="connsiteX76" fmla="*/ 1941629 w 4818179"/>
                <a:gd name="connsiteY76" fmla="*/ 3013437 h 3498714"/>
                <a:gd name="connsiteX77" fmla="*/ 2052754 w 4818179"/>
                <a:gd name="connsiteY77" fmla="*/ 2902312 h 3498714"/>
                <a:gd name="connsiteX78" fmla="*/ 682782 w 4818179"/>
                <a:gd name="connsiteY78" fmla="*/ 0 h 3498714"/>
                <a:gd name="connsiteX0" fmla="*/ 2251033 w 4818179"/>
                <a:gd name="connsiteY0" fmla="*/ 2089512 h 3498714"/>
                <a:gd name="connsiteX1" fmla="*/ 2070058 w 4818179"/>
                <a:gd name="connsiteY1" fmla="*/ 2270487 h 3498714"/>
                <a:gd name="connsiteX2" fmla="*/ 2251033 w 4818179"/>
                <a:gd name="connsiteY2" fmla="*/ 2451462 h 3498714"/>
                <a:gd name="connsiteX3" fmla="*/ 2432008 w 4818179"/>
                <a:gd name="connsiteY3" fmla="*/ 2270487 h 3498714"/>
                <a:gd name="connsiteX4" fmla="*/ 2251033 w 4818179"/>
                <a:gd name="connsiteY4" fmla="*/ 2089512 h 3498714"/>
                <a:gd name="connsiteX5" fmla="*/ 2842751 w 4818179"/>
                <a:gd name="connsiteY5" fmla="*/ 1749356 h 3498714"/>
                <a:gd name="connsiteX6" fmla="*/ 2392797 w 4818179"/>
                <a:gd name="connsiteY6" fmla="*/ 1878907 h 3498714"/>
                <a:gd name="connsiteX7" fmla="*/ 2478781 w 4818179"/>
                <a:gd name="connsiteY7" fmla="*/ 1920808 h 3498714"/>
                <a:gd name="connsiteX8" fmla="*/ 2842751 w 4818179"/>
                <a:gd name="connsiteY8" fmla="*/ 1749356 h 3498714"/>
                <a:gd name="connsiteX9" fmla="*/ 2534724 w 4818179"/>
                <a:gd name="connsiteY9" fmla="*/ 982297 h 3498714"/>
                <a:gd name="connsiteX10" fmla="*/ 1970999 w 4818179"/>
                <a:gd name="connsiteY10" fmla="*/ 2826112 h 3498714"/>
                <a:gd name="connsiteX11" fmla="*/ 1850348 w 4818179"/>
                <a:gd name="connsiteY11" fmla="*/ 2705462 h 3498714"/>
                <a:gd name="connsiteX12" fmla="*/ 1956769 w 4818179"/>
                <a:gd name="connsiteY12" fmla="*/ 2587684 h 3498714"/>
                <a:gd name="connsiteX13" fmla="*/ 1823360 w 4818179"/>
                <a:gd name="connsiteY13" fmla="*/ 2279217 h 3498714"/>
                <a:gd name="connsiteX14" fmla="*/ 2217440 w 4818179"/>
                <a:gd name="connsiteY14" fmla="*/ 1856216 h 3498714"/>
                <a:gd name="connsiteX15" fmla="*/ 2534724 w 4818179"/>
                <a:gd name="connsiteY15" fmla="*/ 982297 h 3498714"/>
                <a:gd name="connsiteX16" fmla="*/ 358791 w 4818179"/>
                <a:gd name="connsiteY16" fmla="*/ 644545 h 3498714"/>
                <a:gd name="connsiteX17" fmla="*/ 1006774 w 4818179"/>
                <a:gd name="connsiteY17" fmla="*/ 644545 h 3498714"/>
                <a:gd name="connsiteX18" fmla="*/ 1542636 w 4818179"/>
                <a:gd name="connsiteY18" fmla="*/ 1193969 h 3498714"/>
                <a:gd name="connsiteX19" fmla="*/ 1929878 w 4818179"/>
                <a:gd name="connsiteY19" fmla="*/ 1193970 h 3498714"/>
                <a:gd name="connsiteX20" fmla="*/ 2070059 w 4818179"/>
                <a:gd name="connsiteY20" fmla="*/ 1334152 h 3498714"/>
                <a:gd name="connsiteX21" fmla="*/ 1929878 w 4818179"/>
                <a:gd name="connsiteY21" fmla="*/ 1474333 h 3498714"/>
                <a:gd name="connsiteX22" fmla="*/ 1520943 w 4818179"/>
                <a:gd name="connsiteY22" fmla="*/ 1470388 h 3498714"/>
                <a:gd name="connsiteX23" fmla="*/ 1332825 w 4818179"/>
                <a:gd name="connsiteY23" fmla="*/ 1367201 h 3498714"/>
                <a:gd name="connsiteX24" fmla="*/ 1106501 w 4818179"/>
                <a:gd name="connsiteY24" fmla="*/ 1098289 h 3498714"/>
                <a:gd name="connsiteX25" fmla="*/ 1101049 w 4818179"/>
                <a:gd name="connsiteY25" fmla="*/ 1092836 h 3498714"/>
                <a:gd name="connsiteX26" fmla="*/ 1046523 w 4818179"/>
                <a:gd name="connsiteY26" fmla="*/ 1092836 h 3498714"/>
                <a:gd name="connsiteX27" fmla="*/ 1041071 w 4818179"/>
                <a:gd name="connsiteY27" fmla="*/ 1098289 h 3498714"/>
                <a:gd name="connsiteX28" fmla="*/ 1042136 w 4818179"/>
                <a:gd name="connsiteY28" fmla="*/ 1419754 h 3498714"/>
                <a:gd name="connsiteX29" fmla="*/ 1042136 w 4818179"/>
                <a:gd name="connsiteY29" fmla="*/ 3337652 h 3498714"/>
                <a:gd name="connsiteX30" fmla="*/ 881075 w 4818179"/>
                <a:gd name="connsiteY30" fmla="*/ 3498714 h 3498714"/>
                <a:gd name="connsiteX31" fmla="*/ 720012 w 4818179"/>
                <a:gd name="connsiteY31" fmla="*/ 3337652 h 3498714"/>
                <a:gd name="connsiteX32" fmla="*/ 720012 w 4818179"/>
                <a:gd name="connsiteY32" fmla="*/ 2125717 h 3498714"/>
                <a:gd name="connsiteX33" fmla="*/ 718947 w 4818179"/>
                <a:gd name="connsiteY33" fmla="*/ 2033194 h 3498714"/>
                <a:gd name="connsiteX34" fmla="*/ 714162 w 4818179"/>
                <a:gd name="connsiteY34" fmla="*/ 2028410 h 3498714"/>
                <a:gd name="connsiteX35" fmla="*/ 654759 w 4818179"/>
                <a:gd name="connsiteY35" fmla="*/ 2028410 h 3498714"/>
                <a:gd name="connsiteX36" fmla="*/ 649974 w 4818179"/>
                <a:gd name="connsiteY36" fmla="*/ 2033194 h 3498714"/>
                <a:gd name="connsiteX37" fmla="*/ 649974 w 4818179"/>
                <a:gd name="connsiteY37" fmla="*/ 2125717 h 3498714"/>
                <a:gd name="connsiteX38" fmla="*/ 649574 w 4818179"/>
                <a:gd name="connsiteY38" fmla="*/ 3337652 h 3498714"/>
                <a:gd name="connsiteX39" fmla="*/ 488511 w 4818179"/>
                <a:gd name="connsiteY39" fmla="*/ 3498714 h 3498714"/>
                <a:gd name="connsiteX40" fmla="*/ 327450 w 4818179"/>
                <a:gd name="connsiteY40" fmla="*/ 3337652 h 3498714"/>
                <a:gd name="connsiteX41" fmla="*/ 327450 w 4818179"/>
                <a:gd name="connsiteY41" fmla="*/ 1458216 h 3498714"/>
                <a:gd name="connsiteX42" fmla="*/ 322427 w 4818179"/>
                <a:gd name="connsiteY42" fmla="*/ 1098205 h 3498714"/>
                <a:gd name="connsiteX43" fmla="*/ 317058 w 4818179"/>
                <a:gd name="connsiteY43" fmla="*/ 1092836 h 3498714"/>
                <a:gd name="connsiteX44" fmla="*/ 263371 w 4818179"/>
                <a:gd name="connsiteY44" fmla="*/ 1092836 h 3498714"/>
                <a:gd name="connsiteX45" fmla="*/ 258001 w 4818179"/>
                <a:gd name="connsiteY45" fmla="*/ 1098205 h 3498714"/>
                <a:gd name="connsiteX46" fmla="*/ 258001 w 4818179"/>
                <a:gd name="connsiteY46" fmla="*/ 1444446 h 3498714"/>
                <a:gd name="connsiteX47" fmla="*/ 257700 w 4818179"/>
                <a:gd name="connsiteY47" fmla="*/ 1444370 h 3498714"/>
                <a:gd name="connsiteX48" fmla="*/ 257700 w 4818179"/>
                <a:gd name="connsiteY48" fmla="*/ 1912573 h 3498714"/>
                <a:gd name="connsiteX49" fmla="*/ 128850 w 4818179"/>
                <a:gd name="connsiteY49" fmla="*/ 2041423 h 3498714"/>
                <a:gd name="connsiteX50" fmla="*/ 0 w 4818179"/>
                <a:gd name="connsiteY50" fmla="*/ 1912573 h 3498714"/>
                <a:gd name="connsiteX51" fmla="*/ 0 w 4818179"/>
                <a:gd name="connsiteY51" fmla="*/ 1101802 h 3498714"/>
                <a:gd name="connsiteX52" fmla="*/ 0 w 4818179"/>
                <a:gd name="connsiteY52" fmla="*/ 1003338 h 3498714"/>
                <a:gd name="connsiteX53" fmla="*/ 0 w 4818179"/>
                <a:gd name="connsiteY53" fmla="*/ 982486 h 3498714"/>
                <a:gd name="connsiteX54" fmla="*/ 12733 w 4818179"/>
                <a:gd name="connsiteY54" fmla="*/ 894663 h 3498714"/>
                <a:gd name="connsiteX55" fmla="*/ 20539 w 4818179"/>
                <a:gd name="connsiteY55" fmla="*/ 868773 h 3498714"/>
                <a:gd name="connsiteX56" fmla="*/ 358791 w 4818179"/>
                <a:gd name="connsiteY56" fmla="*/ 644545 h 3498714"/>
                <a:gd name="connsiteX57" fmla="*/ 682782 w 4818179"/>
                <a:gd name="connsiteY57" fmla="*/ 0 h 3498714"/>
                <a:gd name="connsiteX58" fmla="*/ 966919 w 4818179"/>
                <a:gd name="connsiteY58" fmla="*/ 284138 h 3498714"/>
                <a:gd name="connsiteX59" fmla="*/ 682782 w 4818179"/>
                <a:gd name="connsiteY59" fmla="*/ 568275 h 3498714"/>
                <a:gd name="connsiteX60" fmla="*/ 398645 w 4818179"/>
                <a:gd name="connsiteY60" fmla="*/ 284138 h 3498714"/>
                <a:gd name="connsiteX61" fmla="*/ 682782 w 4818179"/>
                <a:gd name="connsiteY61" fmla="*/ 0 h 3498714"/>
                <a:gd name="connsiteX62" fmla="*/ 4818179 w 4818179"/>
                <a:gd name="connsiteY62" fmla="*/ 3013437 h 3498714"/>
                <a:gd name="connsiteX63" fmla="*/ 4707054 w 4818179"/>
                <a:gd name="connsiteY63" fmla="*/ 3124562 h 3498714"/>
                <a:gd name="connsiteX64" fmla="*/ 4545125 w 4818179"/>
                <a:gd name="connsiteY64" fmla="*/ 3124562 h 3498714"/>
                <a:gd name="connsiteX65" fmla="*/ 4545125 w 4818179"/>
                <a:gd name="connsiteY65" fmla="*/ 3361625 h 3498714"/>
                <a:gd name="connsiteX66" fmla="*/ 4436113 w 4818179"/>
                <a:gd name="connsiteY66" fmla="*/ 3470637 h 3498714"/>
                <a:gd name="connsiteX67" fmla="*/ 4235039 w 4818179"/>
                <a:gd name="connsiteY67" fmla="*/ 3470637 h 3498714"/>
                <a:gd name="connsiteX68" fmla="*/ 2589325 w 4818179"/>
                <a:gd name="connsiteY68" fmla="*/ 3124562 h 3498714"/>
                <a:gd name="connsiteX69" fmla="*/ 2589325 w 4818179"/>
                <a:gd name="connsiteY69" fmla="*/ 3361625 h 3498714"/>
                <a:gd name="connsiteX70" fmla="*/ 2480313 w 4818179"/>
                <a:gd name="connsiteY70" fmla="*/ 3470637 h 3498714"/>
                <a:gd name="connsiteX71" fmla="*/ 2279239 w 4818179"/>
                <a:gd name="connsiteY71" fmla="*/ 3470637 h 3498714"/>
                <a:gd name="connsiteX72" fmla="*/ 2170227 w 4818179"/>
                <a:gd name="connsiteY72" fmla="*/ 3361625 h 3498714"/>
                <a:gd name="connsiteX73" fmla="*/ 2170227 w 4818179"/>
                <a:gd name="connsiteY73" fmla="*/ 3124562 h 3498714"/>
                <a:gd name="connsiteX74" fmla="*/ 2052754 w 4818179"/>
                <a:gd name="connsiteY74" fmla="*/ 3124562 h 3498714"/>
                <a:gd name="connsiteX75" fmla="*/ 1941629 w 4818179"/>
                <a:gd name="connsiteY75" fmla="*/ 3013437 h 3498714"/>
                <a:gd name="connsiteX76" fmla="*/ 2052754 w 4818179"/>
                <a:gd name="connsiteY76" fmla="*/ 2902312 h 3498714"/>
                <a:gd name="connsiteX77" fmla="*/ 682782 w 4818179"/>
                <a:gd name="connsiteY77" fmla="*/ 0 h 3498714"/>
                <a:gd name="connsiteX0" fmla="*/ 2251033 w 4707054"/>
                <a:gd name="connsiteY0" fmla="*/ 2089512 h 3498714"/>
                <a:gd name="connsiteX1" fmla="*/ 2070058 w 4707054"/>
                <a:gd name="connsiteY1" fmla="*/ 2270487 h 3498714"/>
                <a:gd name="connsiteX2" fmla="*/ 2251033 w 4707054"/>
                <a:gd name="connsiteY2" fmla="*/ 2451462 h 3498714"/>
                <a:gd name="connsiteX3" fmla="*/ 2432008 w 4707054"/>
                <a:gd name="connsiteY3" fmla="*/ 2270487 h 3498714"/>
                <a:gd name="connsiteX4" fmla="*/ 2251033 w 4707054"/>
                <a:gd name="connsiteY4" fmla="*/ 2089512 h 3498714"/>
                <a:gd name="connsiteX5" fmla="*/ 2842751 w 4707054"/>
                <a:gd name="connsiteY5" fmla="*/ 1749356 h 3498714"/>
                <a:gd name="connsiteX6" fmla="*/ 2392797 w 4707054"/>
                <a:gd name="connsiteY6" fmla="*/ 1878907 h 3498714"/>
                <a:gd name="connsiteX7" fmla="*/ 2478781 w 4707054"/>
                <a:gd name="connsiteY7" fmla="*/ 1920808 h 3498714"/>
                <a:gd name="connsiteX8" fmla="*/ 2842751 w 4707054"/>
                <a:gd name="connsiteY8" fmla="*/ 1749356 h 3498714"/>
                <a:gd name="connsiteX9" fmla="*/ 2534724 w 4707054"/>
                <a:gd name="connsiteY9" fmla="*/ 982297 h 3498714"/>
                <a:gd name="connsiteX10" fmla="*/ 1970999 w 4707054"/>
                <a:gd name="connsiteY10" fmla="*/ 2826112 h 3498714"/>
                <a:gd name="connsiteX11" fmla="*/ 1850348 w 4707054"/>
                <a:gd name="connsiteY11" fmla="*/ 2705462 h 3498714"/>
                <a:gd name="connsiteX12" fmla="*/ 1956769 w 4707054"/>
                <a:gd name="connsiteY12" fmla="*/ 2587684 h 3498714"/>
                <a:gd name="connsiteX13" fmla="*/ 1823360 w 4707054"/>
                <a:gd name="connsiteY13" fmla="*/ 2279217 h 3498714"/>
                <a:gd name="connsiteX14" fmla="*/ 2217440 w 4707054"/>
                <a:gd name="connsiteY14" fmla="*/ 1856216 h 3498714"/>
                <a:gd name="connsiteX15" fmla="*/ 2534724 w 4707054"/>
                <a:gd name="connsiteY15" fmla="*/ 982297 h 3498714"/>
                <a:gd name="connsiteX16" fmla="*/ 358791 w 4707054"/>
                <a:gd name="connsiteY16" fmla="*/ 644545 h 3498714"/>
                <a:gd name="connsiteX17" fmla="*/ 1006774 w 4707054"/>
                <a:gd name="connsiteY17" fmla="*/ 644545 h 3498714"/>
                <a:gd name="connsiteX18" fmla="*/ 1542636 w 4707054"/>
                <a:gd name="connsiteY18" fmla="*/ 1193969 h 3498714"/>
                <a:gd name="connsiteX19" fmla="*/ 1929878 w 4707054"/>
                <a:gd name="connsiteY19" fmla="*/ 1193970 h 3498714"/>
                <a:gd name="connsiteX20" fmla="*/ 2070059 w 4707054"/>
                <a:gd name="connsiteY20" fmla="*/ 1334152 h 3498714"/>
                <a:gd name="connsiteX21" fmla="*/ 1929878 w 4707054"/>
                <a:gd name="connsiteY21" fmla="*/ 1474333 h 3498714"/>
                <a:gd name="connsiteX22" fmla="*/ 1520943 w 4707054"/>
                <a:gd name="connsiteY22" fmla="*/ 1470388 h 3498714"/>
                <a:gd name="connsiteX23" fmla="*/ 1332825 w 4707054"/>
                <a:gd name="connsiteY23" fmla="*/ 1367201 h 3498714"/>
                <a:gd name="connsiteX24" fmla="*/ 1106501 w 4707054"/>
                <a:gd name="connsiteY24" fmla="*/ 1098289 h 3498714"/>
                <a:gd name="connsiteX25" fmla="*/ 1101049 w 4707054"/>
                <a:gd name="connsiteY25" fmla="*/ 1092836 h 3498714"/>
                <a:gd name="connsiteX26" fmla="*/ 1046523 w 4707054"/>
                <a:gd name="connsiteY26" fmla="*/ 1092836 h 3498714"/>
                <a:gd name="connsiteX27" fmla="*/ 1041071 w 4707054"/>
                <a:gd name="connsiteY27" fmla="*/ 1098289 h 3498714"/>
                <a:gd name="connsiteX28" fmla="*/ 1042136 w 4707054"/>
                <a:gd name="connsiteY28" fmla="*/ 1419754 h 3498714"/>
                <a:gd name="connsiteX29" fmla="*/ 1042136 w 4707054"/>
                <a:gd name="connsiteY29" fmla="*/ 3337652 h 3498714"/>
                <a:gd name="connsiteX30" fmla="*/ 881075 w 4707054"/>
                <a:gd name="connsiteY30" fmla="*/ 3498714 h 3498714"/>
                <a:gd name="connsiteX31" fmla="*/ 720012 w 4707054"/>
                <a:gd name="connsiteY31" fmla="*/ 3337652 h 3498714"/>
                <a:gd name="connsiteX32" fmla="*/ 720012 w 4707054"/>
                <a:gd name="connsiteY32" fmla="*/ 2125717 h 3498714"/>
                <a:gd name="connsiteX33" fmla="*/ 718947 w 4707054"/>
                <a:gd name="connsiteY33" fmla="*/ 2033194 h 3498714"/>
                <a:gd name="connsiteX34" fmla="*/ 714162 w 4707054"/>
                <a:gd name="connsiteY34" fmla="*/ 2028410 h 3498714"/>
                <a:gd name="connsiteX35" fmla="*/ 654759 w 4707054"/>
                <a:gd name="connsiteY35" fmla="*/ 2028410 h 3498714"/>
                <a:gd name="connsiteX36" fmla="*/ 649974 w 4707054"/>
                <a:gd name="connsiteY36" fmla="*/ 2033194 h 3498714"/>
                <a:gd name="connsiteX37" fmla="*/ 649974 w 4707054"/>
                <a:gd name="connsiteY37" fmla="*/ 2125717 h 3498714"/>
                <a:gd name="connsiteX38" fmla="*/ 649574 w 4707054"/>
                <a:gd name="connsiteY38" fmla="*/ 3337652 h 3498714"/>
                <a:gd name="connsiteX39" fmla="*/ 488511 w 4707054"/>
                <a:gd name="connsiteY39" fmla="*/ 3498714 h 3498714"/>
                <a:gd name="connsiteX40" fmla="*/ 327450 w 4707054"/>
                <a:gd name="connsiteY40" fmla="*/ 3337652 h 3498714"/>
                <a:gd name="connsiteX41" fmla="*/ 327450 w 4707054"/>
                <a:gd name="connsiteY41" fmla="*/ 1458216 h 3498714"/>
                <a:gd name="connsiteX42" fmla="*/ 322427 w 4707054"/>
                <a:gd name="connsiteY42" fmla="*/ 1098205 h 3498714"/>
                <a:gd name="connsiteX43" fmla="*/ 317058 w 4707054"/>
                <a:gd name="connsiteY43" fmla="*/ 1092836 h 3498714"/>
                <a:gd name="connsiteX44" fmla="*/ 263371 w 4707054"/>
                <a:gd name="connsiteY44" fmla="*/ 1092836 h 3498714"/>
                <a:gd name="connsiteX45" fmla="*/ 258001 w 4707054"/>
                <a:gd name="connsiteY45" fmla="*/ 1098205 h 3498714"/>
                <a:gd name="connsiteX46" fmla="*/ 258001 w 4707054"/>
                <a:gd name="connsiteY46" fmla="*/ 1444446 h 3498714"/>
                <a:gd name="connsiteX47" fmla="*/ 257700 w 4707054"/>
                <a:gd name="connsiteY47" fmla="*/ 1444370 h 3498714"/>
                <a:gd name="connsiteX48" fmla="*/ 257700 w 4707054"/>
                <a:gd name="connsiteY48" fmla="*/ 1912573 h 3498714"/>
                <a:gd name="connsiteX49" fmla="*/ 128850 w 4707054"/>
                <a:gd name="connsiteY49" fmla="*/ 2041423 h 3498714"/>
                <a:gd name="connsiteX50" fmla="*/ 0 w 4707054"/>
                <a:gd name="connsiteY50" fmla="*/ 1912573 h 3498714"/>
                <a:gd name="connsiteX51" fmla="*/ 0 w 4707054"/>
                <a:gd name="connsiteY51" fmla="*/ 1101802 h 3498714"/>
                <a:gd name="connsiteX52" fmla="*/ 0 w 4707054"/>
                <a:gd name="connsiteY52" fmla="*/ 1003338 h 3498714"/>
                <a:gd name="connsiteX53" fmla="*/ 0 w 4707054"/>
                <a:gd name="connsiteY53" fmla="*/ 982486 h 3498714"/>
                <a:gd name="connsiteX54" fmla="*/ 12733 w 4707054"/>
                <a:gd name="connsiteY54" fmla="*/ 894663 h 3498714"/>
                <a:gd name="connsiteX55" fmla="*/ 20539 w 4707054"/>
                <a:gd name="connsiteY55" fmla="*/ 868773 h 3498714"/>
                <a:gd name="connsiteX56" fmla="*/ 358791 w 4707054"/>
                <a:gd name="connsiteY56" fmla="*/ 644545 h 3498714"/>
                <a:gd name="connsiteX57" fmla="*/ 682782 w 4707054"/>
                <a:gd name="connsiteY57" fmla="*/ 0 h 3498714"/>
                <a:gd name="connsiteX58" fmla="*/ 966919 w 4707054"/>
                <a:gd name="connsiteY58" fmla="*/ 284138 h 3498714"/>
                <a:gd name="connsiteX59" fmla="*/ 682782 w 4707054"/>
                <a:gd name="connsiteY59" fmla="*/ 568275 h 3498714"/>
                <a:gd name="connsiteX60" fmla="*/ 398645 w 4707054"/>
                <a:gd name="connsiteY60" fmla="*/ 284138 h 3498714"/>
                <a:gd name="connsiteX61" fmla="*/ 682782 w 4707054"/>
                <a:gd name="connsiteY61" fmla="*/ 0 h 3498714"/>
                <a:gd name="connsiteX62" fmla="*/ 4707054 w 4707054"/>
                <a:gd name="connsiteY62" fmla="*/ 3124562 h 3498714"/>
                <a:gd name="connsiteX63" fmla="*/ 4545125 w 4707054"/>
                <a:gd name="connsiteY63" fmla="*/ 3124562 h 3498714"/>
                <a:gd name="connsiteX64" fmla="*/ 4545125 w 4707054"/>
                <a:gd name="connsiteY64" fmla="*/ 3361625 h 3498714"/>
                <a:gd name="connsiteX65" fmla="*/ 4436113 w 4707054"/>
                <a:gd name="connsiteY65" fmla="*/ 3470637 h 3498714"/>
                <a:gd name="connsiteX66" fmla="*/ 4235039 w 4707054"/>
                <a:gd name="connsiteY66" fmla="*/ 3470637 h 3498714"/>
                <a:gd name="connsiteX67" fmla="*/ 2589325 w 4707054"/>
                <a:gd name="connsiteY67" fmla="*/ 3124562 h 3498714"/>
                <a:gd name="connsiteX68" fmla="*/ 2589325 w 4707054"/>
                <a:gd name="connsiteY68" fmla="*/ 3361625 h 3498714"/>
                <a:gd name="connsiteX69" fmla="*/ 2480313 w 4707054"/>
                <a:gd name="connsiteY69" fmla="*/ 3470637 h 3498714"/>
                <a:gd name="connsiteX70" fmla="*/ 2279239 w 4707054"/>
                <a:gd name="connsiteY70" fmla="*/ 3470637 h 3498714"/>
                <a:gd name="connsiteX71" fmla="*/ 2170227 w 4707054"/>
                <a:gd name="connsiteY71" fmla="*/ 3361625 h 3498714"/>
                <a:gd name="connsiteX72" fmla="*/ 2170227 w 4707054"/>
                <a:gd name="connsiteY72" fmla="*/ 3124562 h 3498714"/>
                <a:gd name="connsiteX73" fmla="*/ 2052754 w 4707054"/>
                <a:gd name="connsiteY73" fmla="*/ 3124562 h 3498714"/>
                <a:gd name="connsiteX74" fmla="*/ 1941629 w 4707054"/>
                <a:gd name="connsiteY74" fmla="*/ 3013437 h 3498714"/>
                <a:gd name="connsiteX75" fmla="*/ 2052754 w 4707054"/>
                <a:gd name="connsiteY75" fmla="*/ 2902312 h 3498714"/>
                <a:gd name="connsiteX76" fmla="*/ 682782 w 4707054"/>
                <a:gd name="connsiteY76" fmla="*/ 0 h 3498714"/>
                <a:gd name="connsiteX0" fmla="*/ 2251033 w 4545125"/>
                <a:gd name="connsiteY0" fmla="*/ 2089512 h 3498714"/>
                <a:gd name="connsiteX1" fmla="*/ 2070058 w 4545125"/>
                <a:gd name="connsiteY1" fmla="*/ 2270487 h 3498714"/>
                <a:gd name="connsiteX2" fmla="*/ 2251033 w 4545125"/>
                <a:gd name="connsiteY2" fmla="*/ 2451462 h 3498714"/>
                <a:gd name="connsiteX3" fmla="*/ 2432008 w 4545125"/>
                <a:gd name="connsiteY3" fmla="*/ 2270487 h 3498714"/>
                <a:gd name="connsiteX4" fmla="*/ 2251033 w 4545125"/>
                <a:gd name="connsiteY4" fmla="*/ 2089512 h 3498714"/>
                <a:gd name="connsiteX5" fmla="*/ 2842751 w 4545125"/>
                <a:gd name="connsiteY5" fmla="*/ 1749356 h 3498714"/>
                <a:gd name="connsiteX6" fmla="*/ 2392797 w 4545125"/>
                <a:gd name="connsiteY6" fmla="*/ 1878907 h 3498714"/>
                <a:gd name="connsiteX7" fmla="*/ 2478781 w 4545125"/>
                <a:gd name="connsiteY7" fmla="*/ 1920808 h 3498714"/>
                <a:gd name="connsiteX8" fmla="*/ 2842751 w 4545125"/>
                <a:gd name="connsiteY8" fmla="*/ 1749356 h 3498714"/>
                <a:gd name="connsiteX9" fmla="*/ 2534724 w 4545125"/>
                <a:gd name="connsiteY9" fmla="*/ 982297 h 3498714"/>
                <a:gd name="connsiteX10" fmla="*/ 1970999 w 4545125"/>
                <a:gd name="connsiteY10" fmla="*/ 2826112 h 3498714"/>
                <a:gd name="connsiteX11" fmla="*/ 1850348 w 4545125"/>
                <a:gd name="connsiteY11" fmla="*/ 2705462 h 3498714"/>
                <a:gd name="connsiteX12" fmla="*/ 1956769 w 4545125"/>
                <a:gd name="connsiteY12" fmla="*/ 2587684 h 3498714"/>
                <a:gd name="connsiteX13" fmla="*/ 1823360 w 4545125"/>
                <a:gd name="connsiteY13" fmla="*/ 2279217 h 3498714"/>
                <a:gd name="connsiteX14" fmla="*/ 2217440 w 4545125"/>
                <a:gd name="connsiteY14" fmla="*/ 1856216 h 3498714"/>
                <a:gd name="connsiteX15" fmla="*/ 2534724 w 4545125"/>
                <a:gd name="connsiteY15" fmla="*/ 982297 h 3498714"/>
                <a:gd name="connsiteX16" fmla="*/ 358791 w 4545125"/>
                <a:gd name="connsiteY16" fmla="*/ 644545 h 3498714"/>
                <a:gd name="connsiteX17" fmla="*/ 1006774 w 4545125"/>
                <a:gd name="connsiteY17" fmla="*/ 644545 h 3498714"/>
                <a:gd name="connsiteX18" fmla="*/ 1542636 w 4545125"/>
                <a:gd name="connsiteY18" fmla="*/ 1193969 h 3498714"/>
                <a:gd name="connsiteX19" fmla="*/ 1929878 w 4545125"/>
                <a:gd name="connsiteY19" fmla="*/ 1193970 h 3498714"/>
                <a:gd name="connsiteX20" fmla="*/ 2070059 w 4545125"/>
                <a:gd name="connsiteY20" fmla="*/ 1334152 h 3498714"/>
                <a:gd name="connsiteX21" fmla="*/ 1929878 w 4545125"/>
                <a:gd name="connsiteY21" fmla="*/ 1474333 h 3498714"/>
                <a:gd name="connsiteX22" fmla="*/ 1520943 w 4545125"/>
                <a:gd name="connsiteY22" fmla="*/ 1470388 h 3498714"/>
                <a:gd name="connsiteX23" fmla="*/ 1332825 w 4545125"/>
                <a:gd name="connsiteY23" fmla="*/ 1367201 h 3498714"/>
                <a:gd name="connsiteX24" fmla="*/ 1106501 w 4545125"/>
                <a:gd name="connsiteY24" fmla="*/ 1098289 h 3498714"/>
                <a:gd name="connsiteX25" fmla="*/ 1101049 w 4545125"/>
                <a:gd name="connsiteY25" fmla="*/ 1092836 h 3498714"/>
                <a:gd name="connsiteX26" fmla="*/ 1046523 w 4545125"/>
                <a:gd name="connsiteY26" fmla="*/ 1092836 h 3498714"/>
                <a:gd name="connsiteX27" fmla="*/ 1041071 w 4545125"/>
                <a:gd name="connsiteY27" fmla="*/ 1098289 h 3498714"/>
                <a:gd name="connsiteX28" fmla="*/ 1042136 w 4545125"/>
                <a:gd name="connsiteY28" fmla="*/ 1419754 h 3498714"/>
                <a:gd name="connsiteX29" fmla="*/ 1042136 w 4545125"/>
                <a:gd name="connsiteY29" fmla="*/ 3337652 h 3498714"/>
                <a:gd name="connsiteX30" fmla="*/ 881075 w 4545125"/>
                <a:gd name="connsiteY30" fmla="*/ 3498714 h 3498714"/>
                <a:gd name="connsiteX31" fmla="*/ 720012 w 4545125"/>
                <a:gd name="connsiteY31" fmla="*/ 3337652 h 3498714"/>
                <a:gd name="connsiteX32" fmla="*/ 720012 w 4545125"/>
                <a:gd name="connsiteY32" fmla="*/ 2125717 h 3498714"/>
                <a:gd name="connsiteX33" fmla="*/ 718947 w 4545125"/>
                <a:gd name="connsiteY33" fmla="*/ 2033194 h 3498714"/>
                <a:gd name="connsiteX34" fmla="*/ 714162 w 4545125"/>
                <a:gd name="connsiteY34" fmla="*/ 2028410 h 3498714"/>
                <a:gd name="connsiteX35" fmla="*/ 654759 w 4545125"/>
                <a:gd name="connsiteY35" fmla="*/ 2028410 h 3498714"/>
                <a:gd name="connsiteX36" fmla="*/ 649974 w 4545125"/>
                <a:gd name="connsiteY36" fmla="*/ 2033194 h 3498714"/>
                <a:gd name="connsiteX37" fmla="*/ 649974 w 4545125"/>
                <a:gd name="connsiteY37" fmla="*/ 2125717 h 3498714"/>
                <a:gd name="connsiteX38" fmla="*/ 649574 w 4545125"/>
                <a:gd name="connsiteY38" fmla="*/ 3337652 h 3498714"/>
                <a:gd name="connsiteX39" fmla="*/ 488511 w 4545125"/>
                <a:gd name="connsiteY39" fmla="*/ 3498714 h 3498714"/>
                <a:gd name="connsiteX40" fmla="*/ 327450 w 4545125"/>
                <a:gd name="connsiteY40" fmla="*/ 3337652 h 3498714"/>
                <a:gd name="connsiteX41" fmla="*/ 327450 w 4545125"/>
                <a:gd name="connsiteY41" fmla="*/ 1458216 h 3498714"/>
                <a:gd name="connsiteX42" fmla="*/ 322427 w 4545125"/>
                <a:gd name="connsiteY42" fmla="*/ 1098205 h 3498714"/>
                <a:gd name="connsiteX43" fmla="*/ 317058 w 4545125"/>
                <a:gd name="connsiteY43" fmla="*/ 1092836 h 3498714"/>
                <a:gd name="connsiteX44" fmla="*/ 263371 w 4545125"/>
                <a:gd name="connsiteY44" fmla="*/ 1092836 h 3498714"/>
                <a:gd name="connsiteX45" fmla="*/ 258001 w 4545125"/>
                <a:gd name="connsiteY45" fmla="*/ 1098205 h 3498714"/>
                <a:gd name="connsiteX46" fmla="*/ 258001 w 4545125"/>
                <a:gd name="connsiteY46" fmla="*/ 1444446 h 3498714"/>
                <a:gd name="connsiteX47" fmla="*/ 257700 w 4545125"/>
                <a:gd name="connsiteY47" fmla="*/ 1444370 h 3498714"/>
                <a:gd name="connsiteX48" fmla="*/ 257700 w 4545125"/>
                <a:gd name="connsiteY48" fmla="*/ 1912573 h 3498714"/>
                <a:gd name="connsiteX49" fmla="*/ 128850 w 4545125"/>
                <a:gd name="connsiteY49" fmla="*/ 2041423 h 3498714"/>
                <a:gd name="connsiteX50" fmla="*/ 0 w 4545125"/>
                <a:gd name="connsiteY50" fmla="*/ 1912573 h 3498714"/>
                <a:gd name="connsiteX51" fmla="*/ 0 w 4545125"/>
                <a:gd name="connsiteY51" fmla="*/ 1101802 h 3498714"/>
                <a:gd name="connsiteX52" fmla="*/ 0 w 4545125"/>
                <a:gd name="connsiteY52" fmla="*/ 1003338 h 3498714"/>
                <a:gd name="connsiteX53" fmla="*/ 0 w 4545125"/>
                <a:gd name="connsiteY53" fmla="*/ 982486 h 3498714"/>
                <a:gd name="connsiteX54" fmla="*/ 12733 w 4545125"/>
                <a:gd name="connsiteY54" fmla="*/ 894663 h 3498714"/>
                <a:gd name="connsiteX55" fmla="*/ 20539 w 4545125"/>
                <a:gd name="connsiteY55" fmla="*/ 868773 h 3498714"/>
                <a:gd name="connsiteX56" fmla="*/ 358791 w 4545125"/>
                <a:gd name="connsiteY56" fmla="*/ 644545 h 3498714"/>
                <a:gd name="connsiteX57" fmla="*/ 682782 w 4545125"/>
                <a:gd name="connsiteY57" fmla="*/ 0 h 3498714"/>
                <a:gd name="connsiteX58" fmla="*/ 966919 w 4545125"/>
                <a:gd name="connsiteY58" fmla="*/ 284138 h 3498714"/>
                <a:gd name="connsiteX59" fmla="*/ 682782 w 4545125"/>
                <a:gd name="connsiteY59" fmla="*/ 568275 h 3498714"/>
                <a:gd name="connsiteX60" fmla="*/ 398645 w 4545125"/>
                <a:gd name="connsiteY60" fmla="*/ 284138 h 3498714"/>
                <a:gd name="connsiteX61" fmla="*/ 682782 w 4545125"/>
                <a:gd name="connsiteY61" fmla="*/ 0 h 3498714"/>
                <a:gd name="connsiteX62" fmla="*/ 4545125 w 4545125"/>
                <a:gd name="connsiteY62" fmla="*/ 3124562 h 3498714"/>
                <a:gd name="connsiteX63" fmla="*/ 4545125 w 4545125"/>
                <a:gd name="connsiteY63" fmla="*/ 3361625 h 3498714"/>
                <a:gd name="connsiteX64" fmla="*/ 4436113 w 4545125"/>
                <a:gd name="connsiteY64" fmla="*/ 3470637 h 3498714"/>
                <a:gd name="connsiteX65" fmla="*/ 4235039 w 4545125"/>
                <a:gd name="connsiteY65" fmla="*/ 3470637 h 3498714"/>
                <a:gd name="connsiteX66" fmla="*/ 2589325 w 4545125"/>
                <a:gd name="connsiteY66" fmla="*/ 3124562 h 3498714"/>
                <a:gd name="connsiteX67" fmla="*/ 2589325 w 4545125"/>
                <a:gd name="connsiteY67" fmla="*/ 3361625 h 3498714"/>
                <a:gd name="connsiteX68" fmla="*/ 2480313 w 4545125"/>
                <a:gd name="connsiteY68" fmla="*/ 3470637 h 3498714"/>
                <a:gd name="connsiteX69" fmla="*/ 2279239 w 4545125"/>
                <a:gd name="connsiteY69" fmla="*/ 3470637 h 3498714"/>
                <a:gd name="connsiteX70" fmla="*/ 2170227 w 4545125"/>
                <a:gd name="connsiteY70" fmla="*/ 3361625 h 3498714"/>
                <a:gd name="connsiteX71" fmla="*/ 2170227 w 4545125"/>
                <a:gd name="connsiteY71" fmla="*/ 3124562 h 3498714"/>
                <a:gd name="connsiteX72" fmla="*/ 2052754 w 4545125"/>
                <a:gd name="connsiteY72" fmla="*/ 3124562 h 3498714"/>
                <a:gd name="connsiteX73" fmla="*/ 1941629 w 4545125"/>
                <a:gd name="connsiteY73" fmla="*/ 3013437 h 3498714"/>
                <a:gd name="connsiteX74" fmla="*/ 2052754 w 4545125"/>
                <a:gd name="connsiteY74" fmla="*/ 2902312 h 3498714"/>
                <a:gd name="connsiteX75" fmla="*/ 682782 w 4545125"/>
                <a:gd name="connsiteY75" fmla="*/ 0 h 3498714"/>
                <a:gd name="connsiteX0" fmla="*/ 2251033 w 4545125"/>
                <a:gd name="connsiteY0" fmla="*/ 2089512 h 3498714"/>
                <a:gd name="connsiteX1" fmla="*/ 2070058 w 4545125"/>
                <a:gd name="connsiteY1" fmla="*/ 2270487 h 3498714"/>
                <a:gd name="connsiteX2" fmla="*/ 2251033 w 4545125"/>
                <a:gd name="connsiteY2" fmla="*/ 2451462 h 3498714"/>
                <a:gd name="connsiteX3" fmla="*/ 2432008 w 4545125"/>
                <a:gd name="connsiteY3" fmla="*/ 2270487 h 3498714"/>
                <a:gd name="connsiteX4" fmla="*/ 2251033 w 4545125"/>
                <a:gd name="connsiteY4" fmla="*/ 2089512 h 3498714"/>
                <a:gd name="connsiteX5" fmla="*/ 2842751 w 4545125"/>
                <a:gd name="connsiteY5" fmla="*/ 1749356 h 3498714"/>
                <a:gd name="connsiteX6" fmla="*/ 2392797 w 4545125"/>
                <a:gd name="connsiteY6" fmla="*/ 1878907 h 3498714"/>
                <a:gd name="connsiteX7" fmla="*/ 2478781 w 4545125"/>
                <a:gd name="connsiteY7" fmla="*/ 1920808 h 3498714"/>
                <a:gd name="connsiteX8" fmla="*/ 2842751 w 4545125"/>
                <a:gd name="connsiteY8" fmla="*/ 1749356 h 3498714"/>
                <a:gd name="connsiteX9" fmla="*/ 2534724 w 4545125"/>
                <a:gd name="connsiteY9" fmla="*/ 982297 h 3498714"/>
                <a:gd name="connsiteX10" fmla="*/ 1970999 w 4545125"/>
                <a:gd name="connsiteY10" fmla="*/ 2826112 h 3498714"/>
                <a:gd name="connsiteX11" fmla="*/ 1850348 w 4545125"/>
                <a:gd name="connsiteY11" fmla="*/ 2705462 h 3498714"/>
                <a:gd name="connsiteX12" fmla="*/ 1956769 w 4545125"/>
                <a:gd name="connsiteY12" fmla="*/ 2587684 h 3498714"/>
                <a:gd name="connsiteX13" fmla="*/ 1823360 w 4545125"/>
                <a:gd name="connsiteY13" fmla="*/ 2279217 h 3498714"/>
                <a:gd name="connsiteX14" fmla="*/ 2217440 w 4545125"/>
                <a:gd name="connsiteY14" fmla="*/ 1856216 h 3498714"/>
                <a:gd name="connsiteX15" fmla="*/ 2534724 w 4545125"/>
                <a:gd name="connsiteY15" fmla="*/ 982297 h 3498714"/>
                <a:gd name="connsiteX16" fmla="*/ 358791 w 4545125"/>
                <a:gd name="connsiteY16" fmla="*/ 644545 h 3498714"/>
                <a:gd name="connsiteX17" fmla="*/ 1006774 w 4545125"/>
                <a:gd name="connsiteY17" fmla="*/ 644545 h 3498714"/>
                <a:gd name="connsiteX18" fmla="*/ 1542636 w 4545125"/>
                <a:gd name="connsiteY18" fmla="*/ 1193969 h 3498714"/>
                <a:gd name="connsiteX19" fmla="*/ 1929878 w 4545125"/>
                <a:gd name="connsiteY19" fmla="*/ 1193970 h 3498714"/>
                <a:gd name="connsiteX20" fmla="*/ 2070059 w 4545125"/>
                <a:gd name="connsiteY20" fmla="*/ 1334152 h 3498714"/>
                <a:gd name="connsiteX21" fmla="*/ 1929878 w 4545125"/>
                <a:gd name="connsiteY21" fmla="*/ 1474333 h 3498714"/>
                <a:gd name="connsiteX22" fmla="*/ 1520943 w 4545125"/>
                <a:gd name="connsiteY22" fmla="*/ 1470388 h 3498714"/>
                <a:gd name="connsiteX23" fmla="*/ 1332825 w 4545125"/>
                <a:gd name="connsiteY23" fmla="*/ 1367201 h 3498714"/>
                <a:gd name="connsiteX24" fmla="*/ 1106501 w 4545125"/>
                <a:gd name="connsiteY24" fmla="*/ 1098289 h 3498714"/>
                <a:gd name="connsiteX25" fmla="*/ 1101049 w 4545125"/>
                <a:gd name="connsiteY25" fmla="*/ 1092836 h 3498714"/>
                <a:gd name="connsiteX26" fmla="*/ 1046523 w 4545125"/>
                <a:gd name="connsiteY26" fmla="*/ 1092836 h 3498714"/>
                <a:gd name="connsiteX27" fmla="*/ 1041071 w 4545125"/>
                <a:gd name="connsiteY27" fmla="*/ 1098289 h 3498714"/>
                <a:gd name="connsiteX28" fmla="*/ 1042136 w 4545125"/>
                <a:gd name="connsiteY28" fmla="*/ 1419754 h 3498714"/>
                <a:gd name="connsiteX29" fmla="*/ 1042136 w 4545125"/>
                <a:gd name="connsiteY29" fmla="*/ 3337652 h 3498714"/>
                <a:gd name="connsiteX30" fmla="*/ 881075 w 4545125"/>
                <a:gd name="connsiteY30" fmla="*/ 3498714 h 3498714"/>
                <a:gd name="connsiteX31" fmla="*/ 720012 w 4545125"/>
                <a:gd name="connsiteY31" fmla="*/ 3337652 h 3498714"/>
                <a:gd name="connsiteX32" fmla="*/ 720012 w 4545125"/>
                <a:gd name="connsiteY32" fmla="*/ 2125717 h 3498714"/>
                <a:gd name="connsiteX33" fmla="*/ 718947 w 4545125"/>
                <a:gd name="connsiteY33" fmla="*/ 2033194 h 3498714"/>
                <a:gd name="connsiteX34" fmla="*/ 714162 w 4545125"/>
                <a:gd name="connsiteY34" fmla="*/ 2028410 h 3498714"/>
                <a:gd name="connsiteX35" fmla="*/ 654759 w 4545125"/>
                <a:gd name="connsiteY35" fmla="*/ 2028410 h 3498714"/>
                <a:gd name="connsiteX36" fmla="*/ 649974 w 4545125"/>
                <a:gd name="connsiteY36" fmla="*/ 2033194 h 3498714"/>
                <a:gd name="connsiteX37" fmla="*/ 649974 w 4545125"/>
                <a:gd name="connsiteY37" fmla="*/ 2125717 h 3498714"/>
                <a:gd name="connsiteX38" fmla="*/ 649574 w 4545125"/>
                <a:gd name="connsiteY38" fmla="*/ 3337652 h 3498714"/>
                <a:gd name="connsiteX39" fmla="*/ 488511 w 4545125"/>
                <a:gd name="connsiteY39" fmla="*/ 3498714 h 3498714"/>
                <a:gd name="connsiteX40" fmla="*/ 327450 w 4545125"/>
                <a:gd name="connsiteY40" fmla="*/ 3337652 h 3498714"/>
                <a:gd name="connsiteX41" fmla="*/ 327450 w 4545125"/>
                <a:gd name="connsiteY41" fmla="*/ 1458216 h 3498714"/>
                <a:gd name="connsiteX42" fmla="*/ 322427 w 4545125"/>
                <a:gd name="connsiteY42" fmla="*/ 1098205 h 3498714"/>
                <a:gd name="connsiteX43" fmla="*/ 317058 w 4545125"/>
                <a:gd name="connsiteY43" fmla="*/ 1092836 h 3498714"/>
                <a:gd name="connsiteX44" fmla="*/ 263371 w 4545125"/>
                <a:gd name="connsiteY44" fmla="*/ 1092836 h 3498714"/>
                <a:gd name="connsiteX45" fmla="*/ 258001 w 4545125"/>
                <a:gd name="connsiteY45" fmla="*/ 1098205 h 3498714"/>
                <a:gd name="connsiteX46" fmla="*/ 258001 w 4545125"/>
                <a:gd name="connsiteY46" fmla="*/ 1444446 h 3498714"/>
                <a:gd name="connsiteX47" fmla="*/ 257700 w 4545125"/>
                <a:gd name="connsiteY47" fmla="*/ 1444370 h 3498714"/>
                <a:gd name="connsiteX48" fmla="*/ 257700 w 4545125"/>
                <a:gd name="connsiteY48" fmla="*/ 1912573 h 3498714"/>
                <a:gd name="connsiteX49" fmla="*/ 128850 w 4545125"/>
                <a:gd name="connsiteY49" fmla="*/ 2041423 h 3498714"/>
                <a:gd name="connsiteX50" fmla="*/ 0 w 4545125"/>
                <a:gd name="connsiteY50" fmla="*/ 1912573 h 3498714"/>
                <a:gd name="connsiteX51" fmla="*/ 0 w 4545125"/>
                <a:gd name="connsiteY51" fmla="*/ 1101802 h 3498714"/>
                <a:gd name="connsiteX52" fmla="*/ 0 w 4545125"/>
                <a:gd name="connsiteY52" fmla="*/ 1003338 h 3498714"/>
                <a:gd name="connsiteX53" fmla="*/ 0 w 4545125"/>
                <a:gd name="connsiteY53" fmla="*/ 982486 h 3498714"/>
                <a:gd name="connsiteX54" fmla="*/ 12733 w 4545125"/>
                <a:gd name="connsiteY54" fmla="*/ 894663 h 3498714"/>
                <a:gd name="connsiteX55" fmla="*/ 20539 w 4545125"/>
                <a:gd name="connsiteY55" fmla="*/ 868773 h 3498714"/>
                <a:gd name="connsiteX56" fmla="*/ 358791 w 4545125"/>
                <a:gd name="connsiteY56" fmla="*/ 644545 h 3498714"/>
                <a:gd name="connsiteX57" fmla="*/ 682782 w 4545125"/>
                <a:gd name="connsiteY57" fmla="*/ 0 h 3498714"/>
                <a:gd name="connsiteX58" fmla="*/ 966919 w 4545125"/>
                <a:gd name="connsiteY58" fmla="*/ 284138 h 3498714"/>
                <a:gd name="connsiteX59" fmla="*/ 682782 w 4545125"/>
                <a:gd name="connsiteY59" fmla="*/ 568275 h 3498714"/>
                <a:gd name="connsiteX60" fmla="*/ 398645 w 4545125"/>
                <a:gd name="connsiteY60" fmla="*/ 284138 h 3498714"/>
                <a:gd name="connsiteX61" fmla="*/ 682782 w 4545125"/>
                <a:gd name="connsiteY61" fmla="*/ 0 h 3498714"/>
                <a:gd name="connsiteX62" fmla="*/ 4545125 w 4545125"/>
                <a:gd name="connsiteY62" fmla="*/ 3361625 h 3498714"/>
                <a:gd name="connsiteX63" fmla="*/ 4436113 w 4545125"/>
                <a:gd name="connsiteY63" fmla="*/ 3470637 h 3498714"/>
                <a:gd name="connsiteX64" fmla="*/ 4235039 w 4545125"/>
                <a:gd name="connsiteY64" fmla="*/ 3470637 h 3498714"/>
                <a:gd name="connsiteX65" fmla="*/ 2589325 w 4545125"/>
                <a:gd name="connsiteY65" fmla="*/ 3124562 h 3498714"/>
                <a:gd name="connsiteX66" fmla="*/ 2589325 w 4545125"/>
                <a:gd name="connsiteY66" fmla="*/ 3361625 h 3498714"/>
                <a:gd name="connsiteX67" fmla="*/ 2480313 w 4545125"/>
                <a:gd name="connsiteY67" fmla="*/ 3470637 h 3498714"/>
                <a:gd name="connsiteX68" fmla="*/ 2279239 w 4545125"/>
                <a:gd name="connsiteY68" fmla="*/ 3470637 h 3498714"/>
                <a:gd name="connsiteX69" fmla="*/ 2170227 w 4545125"/>
                <a:gd name="connsiteY69" fmla="*/ 3361625 h 3498714"/>
                <a:gd name="connsiteX70" fmla="*/ 2170227 w 4545125"/>
                <a:gd name="connsiteY70" fmla="*/ 3124562 h 3498714"/>
                <a:gd name="connsiteX71" fmla="*/ 2052754 w 4545125"/>
                <a:gd name="connsiteY71" fmla="*/ 3124562 h 3498714"/>
                <a:gd name="connsiteX72" fmla="*/ 1941629 w 4545125"/>
                <a:gd name="connsiteY72" fmla="*/ 3013437 h 3498714"/>
                <a:gd name="connsiteX73" fmla="*/ 2052754 w 4545125"/>
                <a:gd name="connsiteY73" fmla="*/ 2902312 h 3498714"/>
                <a:gd name="connsiteX74" fmla="*/ 682782 w 4545125"/>
                <a:gd name="connsiteY74" fmla="*/ 0 h 3498714"/>
                <a:gd name="connsiteX0" fmla="*/ 2251033 w 4436113"/>
                <a:gd name="connsiteY0" fmla="*/ 2089512 h 3498714"/>
                <a:gd name="connsiteX1" fmla="*/ 2070058 w 4436113"/>
                <a:gd name="connsiteY1" fmla="*/ 2270487 h 3498714"/>
                <a:gd name="connsiteX2" fmla="*/ 2251033 w 4436113"/>
                <a:gd name="connsiteY2" fmla="*/ 2451462 h 3498714"/>
                <a:gd name="connsiteX3" fmla="*/ 2432008 w 4436113"/>
                <a:gd name="connsiteY3" fmla="*/ 2270487 h 3498714"/>
                <a:gd name="connsiteX4" fmla="*/ 2251033 w 4436113"/>
                <a:gd name="connsiteY4" fmla="*/ 2089512 h 3498714"/>
                <a:gd name="connsiteX5" fmla="*/ 2842751 w 4436113"/>
                <a:gd name="connsiteY5" fmla="*/ 1749356 h 3498714"/>
                <a:gd name="connsiteX6" fmla="*/ 2392797 w 4436113"/>
                <a:gd name="connsiteY6" fmla="*/ 1878907 h 3498714"/>
                <a:gd name="connsiteX7" fmla="*/ 2478781 w 4436113"/>
                <a:gd name="connsiteY7" fmla="*/ 1920808 h 3498714"/>
                <a:gd name="connsiteX8" fmla="*/ 2842751 w 4436113"/>
                <a:gd name="connsiteY8" fmla="*/ 1749356 h 3498714"/>
                <a:gd name="connsiteX9" fmla="*/ 2534724 w 4436113"/>
                <a:gd name="connsiteY9" fmla="*/ 982297 h 3498714"/>
                <a:gd name="connsiteX10" fmla="*/ 1970999 w 4436113"/>
                <a:gd name="connsiteY10" fmla="*/ 2826112 h 3498714"/>
                <a:gd name="connsiteX11" fmla="*/ 1850348 w 4436113"/>
                <a:gd name="connsiteY11" fmla="*/ 2705462 h 3498714"/>
                <a:gd name="connsiteX12" fmla="*/ 1956769 w 4436113"/>
                <a:gd name="connsiteY12" fmla="*/ 2587684 h 3498714"/>
                <a:gd name="connsiteX13" fmla="*/ 1823360 w 4436113"/>
                <a:gd name="connsiteY13" fmla="*/ 2279217 h 3498714"/>
                <a:gd name="connsiteX14" fmla="*/ 2217440 w 4436113"/>
                <a:gd name="connsiteY14" fmla="*/ 1856216 h 3498714"/>
                <a:gd name="connsiteX15" fmla="*/ 2534724 w 4436113"/>
                <a:gd name="connsiteY15" fmla="*/ 982297 h 3498714"/>
                <a:gd name="connsiteX16" fmla="*/ 358791 w 4436113"/>
                <a:gd name="connsiteY16" fmla="*/ 644545 h 3498714"/>
                <a:gd name="connsiteX17" fmla="*/ 1006774 w 4436113"/>
                <a:gd name="connsiteY17" fmla="*/ 644545 h 3498714"/>
                <a:gd name="connsiteX18" fmla="*/ 1542636 w 4436113"/>
                <a:gd name="connsiteY18" fmla="*/ 1193969 h 3498714"/>
                <a:gd name="connsiteX19" fmla="*/ 1929878 w 4436113"/>
                <a:gd name="connsiteY19" fmla="*/ 1193970 h 3498714"/>
                <a:gd name="connsiteX20" fmla="*/ 2070059 w 4436113"/>
                <a:gd name="connsiteY20" fmla="*/ 1334152 h 3498714"/>
                <a:gd name="connsiteX21" fmla="*/ 1929878 w 4436113"/>
                <a:gd name="connsiteY21" fmla="*/ 1474333 h 3498714"/>
                <a:gd name="connsiteX22" fmla="*/ 1520943 w 4436113"/>
                <a:gd name="connsiteY22" fmla="*/ 1470388 h 3498714"/>
                <a:gd name="connsiteX23" fmla="*/ 1332825 w 4436113"/>
                <a:gd name="connsiteY23" fmla="*/ 1367201 h 3498714"/>
                <a:gd name="connsiteX24" fmla="*/ 1106501 w 4436113"/>
                <a:gd name="connsiteY24" fmla="*/ 1098289 h 3498714"/>
                <a:gd name="connsiteX25" fmla="*/ 1101049 w 4436113"/>
                <a:gd name="connsiteY25" fmla="*/ 1092836 h 3498714"/>
                <a:gd name="connsiteX26" fmla="*/ 1046523 w 4436113"/>
                <a:gd name="connsiteY26" fmla="*/ 1092836 h 3498714"/>
                <a:gd name="connsiteX27" fmla="*/ 1041071 w 4436113"/>
                <a:gd name="connsiteY27" fmla="*/ 1098289 h 3498714"/>
                <a:gd name="connsiteX28" fmla="*/ 1042136 w 4436113"/>
                <a:gd name="connsiteY28" fmla="*/ 1419754 h 3498714"/>
                <a:gd name="connsiteX29" fmla="*/ 1042136 w 4436113"/>
                <a:gd name="connsiteY29" fmla="*/ 3337652 h 3498714"/>
                <a:gd name="connsiteX30" fmla="*/ 881075 w 4436113"/>
                <a:gd name="connsiteY30" fmla="*/ 3498714 h 3498714"/>
                <a:gd name="connsiteX31" fmla="*/ 720012 w 4436113"/>
                <a:gd name="connsiteY31" fmla="*/ 3337652 h 3498714"/>
                <a:gd name="connsiteX32" fmla="*/ 720012 w 4436113"/>
                <a:gd name="connsiteY32" fmla="*/ 2125717 h 3498714"/>
                <a:gd name="connsiteX33" fmla="*/ 718947 w 4436113"/>
                <a:gd name="connsiteY33" fmla="*/ 2033194 h 3498714"/>
                <a:gd name="connsiteX34" fmla="*/ 714162 w 4436113"/>
                <a:gd name="connsiteY34" fmla="*/ 2028410 h 3498714"/>
                <a:gd name="connsiteX35" fmla="*/ 654759 w 4436113"/>
                <a:gd name="connsiteY35" fmla="*/ 2028410 h 3498714"/>
                <a:gd name="connsiteX36" fmla="*/ 649974 w 4436113"/>
                <a:gd name="connsiteY36" fmla="*/ 2033194 h 3498714"/>
                <a:gd name="connsiteX37" fmla="*/ 649974 w 4436113"/>
                <a:gd name="connsiteY37" fmla="*/ 2125717 h 3498714"/>
                <a:gd name="connsiteX38" fmla="*/ 649574 w 4436113"/>
                <a:gd name="connsiteY38" fmla="*/ 3337652 h 3498714"/>
                <a:gd name="connsiteX39" fmla="*/ 488511 w 4436113"/>
                <a:gd name="connsiteY39" fmla="*/ 3498714 h 3498714"/>
                <a:gd name="connsiteX40" fmla="*/ 327450 w 4436113"/>
                <a:gd name="connsiteY40" fmla="*/ 3337652 h 3498714"/>
                <a:gd name="connsiteX41" fmla="*/ 327450 w 4436113"/>
                <a:gd name="connsiteY41" fmla="*/ 1458216 h 3498714"/>
                <a:gd name="connsiteX42" fmla="*/ 322427 w 4436113"/>
                <a:gd name="connsiteY42" fmla="*/ 1098205 h 3498714"/>
                <a:gd name="connsiteX43" fmla="*/ 317058 w 4436113"/>
                <a:gd name="connsiteY43" fmla="*/ 1092836 h 3498714"/>
                <a:gd name="connsiteX44" fmla="*/ 263371 w 4436113"/>
                <a:gd name="connsiteY44" fmla="*/ 1092836 h 3498714"/>
                <a:gd name="connsiteX45" fmla="*/ 258001 w 4436113"/>
                <a:gd name="connsiteY45" fmla="*/ 1098205 h 3498714"/>
                <a:gd name="connsiteX46" fmla="*/ 258001 w 4436113"/>
                <a:gd name="connsiteY46" fmla="*/ 1444446 h 3498714"/>
                <a:gd name="connsiteX47" fmla="*/ 257700 w 4436113"/>
                <a:gd name="connsiteY47" fmla="*/ 1444370 h 3498714"/>
                <a:gd name="connsiteX48" fmla="*/ 257700 w 4436113"/>
                <a:gd name="connsiteY48" fmla="*/ 1912573 h 3498714"/>
                <a:gd name="connsiteX49" fmla="*/ 128850 w 4436113"/>
                <a:gd name="connsiteY49" fmla="*/ 2041423 h 3498714"/>
                <a:gd name="connsiteX50" fmla="*/ 0 w 4436113"/>
                <a:gd name="connsiteY50" fmla="*/ 1912573 h 3498714"/>
                <a:gd name="connsiteX51" fmla="*/ 0 w 4436113"/>
                <a:gd name="connsiteY51" fmla="*/ 1101802 h 3498714"/>
                <a:gd name="connsiteX52" fmla="*/ 0 w 4436113"/>
                <a:gd name="connsiteY52" fmla="*/ 1003338 h 3498714"/>
                <a:gd name="connsiteX53" fmla="*/ 0 w 4436113"/>
                <a:gd name="connsiteY53" fmla="*/ 982486 h 3498714"/>
                <a:gd name="connsiteX54" fmla="*/ 12733 w 4436113"/>
                <a:gd name="connsiteY54" fmla="*/ 894663 h 3498714"/>
                <a:gd name="connsiteX55" fmla="*/ 20539 w 4436113"/>
                <a:gd name="connsiteY55" fmla="*/ 868773 h 3498714"/>
                <a:gd name="connsiteX56" fmla="*/ 358791 w 4436113"/>
                <a:gd name="connsiteY56" fmla="*/ 644545 h 3498714"/>
                <a:gd name="connsiteX57" fmla="*/ 682782 w 4436113"/>
                <a:gd name="connsiteY57" fmla="*/ 0 h 3498714"/>
                <a:gd name="connsiteX58" fmla="*/ 966919 w 4436113"/>
                <a:gd name="connsiteY58" fmla="*/ 284138 h 3498714"/>
                <a:gd name="connsiteX59" fmla="*/ 682782 w 4436113"/>
                <a:gd name="connsiteY59" fmla="*/ 568275 h 3498714"/>
                <a:gd name="connsiteX60" fmla="*/ 398645 w 4436113"/>
                <a:gd name="connsiteY60" fmla="*/ 284138 h 3498714"/>
                <a:gd name="connsiteX61" fmla="*/ 682782 w 4436113"/>
                <a:gd name="connsiteY61" fmla="*/ 0 h 3498714"/>
                <a:gd name="connsiteX62" fmla="*/ 4436113 w 4436113"/>
                <a:gd name="connsiteY62" fmla="*/ 3470637 h 3498714"/>
                <a:gd name="connsiteX63" fmla="*/ 4235039 w 4436113"/>
                <a:gd name="connsiteY63" fmla="*/ 3470637 h 3498714"/>
                <a:gd name="connsiteX64" fmla="*/ 2589325 w 4436113"/>
                <a:gd name="connsiteY64" fmla="*/ 3124562 h 3498714"/>
                <a:gd name="connsiteX65" fmla="*/ 2589325 w 4436113"/>
                <a:gd name="connsiteY65" fmla="*/ 3361625 h 3498714"/>
                <a:gd name="connsiteX66" fmla="*/ 2480313 w 4436113"/>
                <a:gd name="connsiteY66" fmla="*/ 3470637 h 3498714"/>
                <a:gd name="connsiteX67" fmla="*/ 2279239 w 4436113"/>
                <a:gd name="connsiteY67" fmla="*/ 3470637 h 3498714"/>
                <a:gd name="connsiteX68" fmla="*/ 2170227 w 4436113"/>
                <a:gd name="connsiteY68" fmla="*/ 3361625 h 3498714"/>
                <a:gd name="connsiteX69" fmla="*/ 2170227 w 4436113"/>
                <a:gd name="connsiteY69" fmla="*/ 3124562 h 3498714"/>
                <a:gd name="connsiteX70" fmla="*/ 2052754 w 4436113"/>
                <a:gd name="connsiteY70" fmla="*/ 3124562 h 3498714"/>
                <a:gd name="connsiteX71" fmla="*/ 1941629 w 4436113"/>
                <a:gd name="connsiteY71" fmla="*/ 3013437 h 3498714"/>
                <a:gd name="connsiteX72" fmla="*/ 2052754 w 4436113"/>
                <a:gd name="connsiteY72" fmla="*/ 2902312 h 3498714"/>
                <a:gd name="connsiteX73" fmla="*/ 682782 w 4436113"/>
                <a:gd name="connsiteY73" fmla="*/ 0 h 3498714"/>
                <a:gd name="connsiteX0" fmla="*/ 2251033 w 4235039"/>
                <a:gd name="connsiteY0" fmla="*/ 2089512 h 3498714"/>
                <a:gd name="connsiteX1" fmla="*/ 2070058 w 4235039"/>
                <a:gd name="connsiteY1" fmla="*/ 2270487 h 3498714"/>
                <a:gd name="connsiteX2" fmla="*/ 2251033 w 4235039"/>
                <a:gd name="connsiteY2" fmla="*/ 2451462 h 3498714"/>
                <a:gd name="connsiteX3" fmla="*/ 2432008 w 4235039"/>
                <a:gd name="connsiteY3" fmla="*/ 2270487 h 3498714"/>
                <a:gd name="connsiteX4" fmla="*/ 2251033 w 4235039"/>
                <a:gd name="connsiteY4" fmla="*/ 2089512 h 3498714"/>
                <a:gd name="connsiteX5" fmla="*/ 2842751 w 4235039"/>
                <a:gd name="connsiteY5" fmla="*/ 1749356 h 3498714"/>
                <a:gd name="connsiteX6" fmla="*/ 2392797 w 4235039"/>
                <a:gd name="connsiteY6" fmla="*/ 1878907 h 3498714"/>
                <a:gd name="connsiteX7" fmla="*/ 2478781 w 4235039"/>
                <a:gd name="connsiteY7" fmla="*/ 1920808 h 3498714"/>
                <a:gd name="connsiteX8" fmla="*/ 2842751 w 4235039"/>
                <a:gd name="connsiteY8" fmla="*/ 1749356 h 3498714"/>
                <a:gd name="connsiteX9" fmla="*/ 2534724 w 4235039"/>
                <a:gd name="connsiteY9" fmla="*/ 982297 h 3498714"/>
                <a:gd name="connsiteX10" fmla="*/ 1970999 w 4235039"/>
                <a:gd name="connsiteY10" fmla="*/ 2826112 h 3498714"/>
                <a:gd name="connsiteX11" fmla="*/ 1850348 w 4235039"/>
                <a:gd name="connsiteY11" fmla="*/ 2705462 h 3498714"/>
                <a:gd name="connsiteX12" fmla="*/ 1956769 w 4235039"/>
                <a:gd name="connsiteY12" fmla="*/ 2587684 h 3498714"/>
                <a:gd name="connsiteX13" fmla="*/ 1823360 w 4235039"/>
                <a:gd name="connsiteY13" fmla="*/ 2279217 h 3498714"/>
                <a:gd name="connsiteX14" fmla="*/ 2217440 w 4235039"/>
                <a:gd name="connsiteY14" fmla="*/ 1856216 h 3498714"/>
                <a:gd name="connsiteX15" fmla="*/ 2534724 w 4235039"/>
                <a:gd name="connsiteY15" fmla="*/ 982297 h 3498714"/>
                <a:gd name="connsiteX16" fmla="*/ 358791 w 4235039"/>
                <a:gd name="connsiteY16" fmla="*/ 644545 h 3498714"/>
                <a:gd name="connsiteX17" fmla="*/ 1006774 w 4235039"/>
                <a:gd name="connsiteY17" fmla="*/ 644545 h 3498714"/>
                <a:gd name="connsiteX18" fmla="*/ 1542636 w 4235039"/>
                <a:gd name="connsiteY18" fmla="*/ 1193969 h 3498714"/>
                <a:gd name="connsiteX19" fmla="*/ 1929878 w 4235039"/>
                <a:gd name="connsiteY19" fmla="*/ 1193970 h 3498714"/>
                <a:gd name="connsiteX20" fmla="*/ 2070059 w 4235039"/>
                <a:gd name="connsiteY20" fmla="*/ 1334152 h 3498714"/>
                <a:gd name="connsiteX21" fmla="*/ 1929878 w 4235039"/>
                <a:gd name="connsiteY21" fmla="*/ 1474333 h 3498714"/>
                <a:gd name="connsiteX22" fmla="*/ 1520943 w 4235039"/>
                <a:gd name="connsiteY22" fmla="*/ 1470388 h 3498714"/>
                <a:gd name="connsiteX23" fmla="*/ 1332825 w 4235039"/>
                <a:gd name="connsiteY23" fmla="*/ 1367201 h 3498714"/>
                <a:gd name="connsiteX24" fmla="*/ 1106501 w 4235039"/>
                <a:gd name="connsiteY24" fmla="*/ 1098289 h 3498714"/>
                <a:gd name="connsiteX25" fmla="*/ 1101049 w 4235039"/>
                <a:gd name="connsiteY25" fmla="*/ 1092836 h 3498714"/>
                <a:gd name="connsiteX26" fmla="*/ 1046523 w 4235039"/>
                <a:gd name="connsiteY26" fmla="*/ 1092836 h 3498714"/>
                <a:gd name="connsiteX27" fmla="*/ 1041071 w 4235039"/>
                <a:gd name="connsiteY27" fmla="*/ 1098289 h 3498714"/>
                <a:gd name="connsiteX28" fmla="*/ 1042136 w 4235039"/>
                <a:gd name="connsiteY28" fmla="*/ 1419754 h 3498714"/>
                <a:gd name="connsiteX29" fmla="*/ 1042136 w 4235039"/>
                <a:gd name="connsiteY29" fmla="*/ 3337652 h 3498714"/>
                <a:gd name="connsiteX30" fmla="*/ 881075 w 4235039"/>
                <a:gd name="connsiteY30" fmla="*/ 3498714 h 3498714"/>
                <a:gd name="connsiteX31" fmla="*/ 720012 w 4235039"/>
                <a:gd name="connsiteY31" fmla="*/ 3337652 h 3498714"/>
                <a:gd name="connsiteX32" fmla="*/ 720012 w 4235039"/>
                <a:gd name="connsiteY32" fmla="*/ 2125717 h 3498714"/>
                <a:gd name="connsiteX33" fmla="*/ 718947 w 4235039"/>
                <a:gd name="connsiteY33" fmla="*/ 2033194 h 3498714"/>
                <a:gd name="connsiteX34" fmla="*/ 714162 w 4235039"/>
                <a:gd name="connsiteY34" fmla="*/ 2028410 h 3498714"/>
                <a:gd name="connsiteX35" fmla="*/ 654759 w 4235039"/>
                <a:gd name="connsiteY35" fmla="*/ 2028410 h 3498714"/>
                <a:gd name="connsiteX36" fmla="*/ 649974 w 4235039"/>
                <a:gd name="connsiteY36" fmla="*/ 2033194 h 3498714"/>
                <a:gd name="connsiteX37" fmla="*/ 649974 w 4235039"/>
                <a:gd name="connsiteY37" fmla="*/ 2125717 h 3498714"/>
                <a:gd name="connsiteX38" fmla="*/ 649574 w 4235039"/>
                <a:gd name="connsiteY38" fmla="*/ 3337652 h 3498714"/>
                <a:gd name="connsiteX39" fmla="*/ 488511 w 4235039"/>
                <a:gd name="connsiteY39" fmla="*/ 3498714 h 3498714"/>
                <a:gd name="connsiteX40" fmla="*/ 327450 w 4235039"/>
                <a:gd name="connsiteY40" fmla="*/ 3337652 h 3498714"/>
                <a:gd name="connsiteX41" fmla="*/ 327450 w 4235039"/>
                <a:gd name="connsiteY41" fmla="*/ 1458216 h 3498714"/>
                <a:gd name="connsiteX42" fmla="*/ 322427 w 4235039"/>
                <a:gd name="connsiteY42" fmla="*/ 1098205 h 3498714"/>
                <a:gd name="connsiteX43" fmla="*/ 317058 w 4235039"/>
                <a:gd name="connsiteY43" fmla="*/ 1092836 h 3498714"/>
                <a:gd name="connsiteX44" fmla="*/ 263371 w 4235039"/>
                <a:gd name="connsiteY44" fmla="*/ 1092836 h 3498714"/>
                <a:gd name="connsiteX45" fmla="*/ 258001 w 4235039"/>
                <a:gd name="connsiteY45" fmla="*/ 1098205 h 3498714"/>
                <a:gd name="connsiteX46" fmla="*/ 258001 w 4235039"/>
                <a:gd name="connsiteY46" fmla="*/ 1444446 h 3498714"/>
                <a:gd name="connsiteX47" fmla="*/ 257700 w 4235039"/>
                <a:gd name="connsiteY47" fmla="*/ 1444370 h 3498714"/>
                <a:gd name="connsiteX48" fmla="*/ 257700 w 4235039"/>
                <a:gd name="connsiteY48" fmla="*/ 1912573 h 3498714"/>
                <a:gd name="connsiteX49" fmla="*/ 128850 w 4235039"/>
                <a:gd name="connsiteY49" fmla="*/ 2041423 h 3498714"/>
                <a:gd name="connsiteX50" fmla="*/ 0 w 4235039"/>
                <a:gd name="connsiteY50" fmla="*/ 1912573 h 3498714"/>
                <a:gd name="connsiteX51" fmla="*/ 0 w 4235039"/>
                <a:gd name="connsiteY51" fmla="*/ 1101802 h 3498714"/>
                <a:gd name="connsiteX52" fmla="*/ 0 w 4235039"/>
                <a:gd name="connsiteY52" fmla="*/ 1003338 h 3498714"/>
                <a:gd name="connsiteX53" fmla="*/ 0 w 4235039"/>
                <a:gd name="connsiteY53" fmla="*/ 982486 h 3498714"/>
                <a:gd name="connsiteX54" fmla="*/ 12733 w 4235039"/>
                <a:gd name="connsiteY54" fmla="*/ 894663 h 3498714"/>
                <a:gd name="connsiteX55" fmla="*/ 20539 w 4235039"/>
                <a:gd name="connsiteY55" fmla="*/ 868773 h 3498714"/>
                <a:gd name="connsiteX56" fmla="*/ 358791 w 4235039"/>
                <a:gd name="connsiteY56" fmla="*/ 644545 h 3498714"/>
                <a:gd name="connsiteX57" fmla="*/ 682782 w 4235039"/>
                <a:gd name="connsiteY57" fmla="*/ 0 h 3498714"/>
                <a:gd name="connsiteX58" fmla="*/ 966919 w 4235039"/>
                <a:gd name="connsiteY58" fmla="*/ 284138 h 3498714"/>
                <a:gd name="connsiteX59" fmla="*/ 682782 w 4235039"/>
                <a:gd name="connsiteY59" fmla="*/ 568275 h 3498714"/>
                <a:gd name="connsiteX60" fmla="*/ 398645 w 4235039"/>
                <a:gd name="connsiteY60" fmla="*/ 284138 h 3498714"/>
                <a:gd name="connsiteX61" fmla="*/ 682782 w 4235039"/>
                <a:gd name="connsiteY61" fmla="*/ 0 h 3498714"/>
                <a:gd name="connsiteX62" fmla="*/ 4235039 w 4235039"/>
                <a:gd name="connsiteY62" fmla="*/ 3470637 h 3498714"/>
                <a:gd name="connsiteX63" fmla="*/ 2589325 w 4235039"/>
                <a:gd name="connsiteY63" fmla="*/ 3124562 h 3498714"/>
                <a:gd name="connsiteX64" fmla="*/ 2589325 w 4235039"/>
                <a:gd name="connsiteY64" fmla="*/ 3361625 h 3498714"/>
                <a:gd name="connsiteX65" fmla="*/ 2480313 w 4235039"/>
                <a:gd name="connsiteY65" fmla="*/ 3470637 h 3498714"/>
                <a:gd name="connsiteX66" fmla="*/ 2279239 w 4235039"/>
                <a:gd name="connsiteY66" fmla="*/ 3470637 h 3498714"/>
                <a:gd name="connsiteX67" fmla="*/ 2170227 w 4235039"/>
                <a:gd name="connsiteY67" fmla="*/ 3361625 h 3498714"/>
                <a:gd name="connsiteX68" fmla="*/ 2170227 w 4235039"/>
                <a:gd name="connsiteY68" fmla="*/ 3124562 h 3498714"/>
                <a:gd name="connsiteX69" fmla="*/ 2052754 w 4235039"/>
                <a:gd name="connsiteY69" fmla="*/ 3124562 h 3498714"/>
                <a:gd name="connsiteX70" fmla="*/ 1941629 w 4235039"/>
                <a:gd name="connsiteY70" fmla="*/ 3013437 h 3498714"/>
                <a:gd name="connsiteX71" fmla="*/ 2052754 w 4235039"/>
                <a:gd name="connsiteY71" fmla="*/ 2902312 h 3498714"/>
                <a:gd name="connsiteX72" fmla="*/ 682782 w 4235039"/>
                <a:gd name="connsiteY72" fmla="*/ 0 h 3498714"/>
                <a:gd name="connsiteX0" fmla="*/ 2251033 w 2842751"/>
                <a:gd name="connsiteY0" fmla="*/ 2089512 h 3498714"/>
                <a:gd name="connsiteX1" fmla="*/ 2070058 w 2842751"/>
                <a:gd name="connsiteY1" fmla="*/ 2270487 h 3498714"/>
                <a:gd name="connsiteX2" fmla="*/ 2251033 w 2842751"/>
                <a:gd name="connsiteY2" fmla="*/ 2451462 h 3498714"/>
                <a:gd name="connsiteX3" fmla="*/ 2432008 w 2842751"/>
                <a:gd name="connsiteY3" fmla="*/ 2270487 h 3498714"/>
                <a:gd name="connsiteX4" fmla="*/ 2251033 w 2842751"/>
                <a:gd name="connsiteY4" fmla="*/ 2089512 h 3498714"/>
                <a:gd name="connsiteX5" fmla="*/ 2842751 w 2842751"/>
                <a:gd name="connsiteY5" fmla="*/ 1749356 h 3498714"/>
                <a:gd name="connsiteX6" fmla="*/ 2392797 w 2842751"/>
                <a:gd name="connsiteY6" fmla="*/ 1878907 h 3498714"/>
                <a:gd name="connsiteX7" fmla="*/ 2478781 w 2842751"/>
                <a:gd name="connsiteY7" fmla="*/ 1920808 h 3498714"/>
                <a:gd name="connsiteX8" fmla="*/ 2842751 w 2842751"/>
                <a:gd name="connsiteY8" fmla="*/ 1749356 h 3498714"/>
                <a:gd name="connsiteX9" fmla="*/ 2534724 w 2842751"/>
                <a:gd name="connsiteY9" fmla="*/ 982297 h 3498714"/>
                <a:gd name="connsiteX10" fmla="*/ 1970999 w 2842751"/>
                <a:gd name="connsiteY10" fmla="*/ 2826112 h 3498714"/>
                <a:gd name="connsiteX11" fmla="*/ 1850348 w 2842751"/>
                <a:gd name="connsiteY11" fmla="*/ 2705462 h 3498714"/>
                <a:gd name="connsiteX12" fmla="*/ 1956769 w 2842751"/>
                <a:gd name="connsiteY12" fmla="*/ 2587684 h 3498714"/>
                <a:gd name="connsiteX13" fmla="*/ 1823360 w 2842751"/>
                <a:gd name="connsiteY13" fmla="*/ 2279217 h 3498714"/>
                <a:gd name="connsiteX14" fmla="*/ 2217440 w 2842751"/>
                <a:gd name="connsiteY14" fmla="*/ 1856216 h 3498714"/>
                <a:gd name="connsiteX15" fmla="*/ 2534724 w 2842751"/>
                <a:gd name="connsiteY15" fmla="*/ 982297 h 3498714"/>
                <a:gd name="connsiteX16" fmla="*/ 358791 w 2842751"/>
                <a:gd name="connsiteY16" fmla="*/ 644545 h 3498714"/>
                <a:gd name="connsiteX17" fmla="*/ 1006774 w 2842751"/>
                <a:gd name="connsiteY17" fmla="*/ 644545 h 3498714"/>
                <a:gd name="connsiteX18" fmla="*/ 1542636 w 2842751"/>
                <a:gd name="connsiteY18" fmla="*/ 1193969 h 3498714"/>
                <a:gd name="connsiteX19" fmla="*/ 1929878 w 2842751"/>
                <a:gd name="connsiteY19" fmla="*/ 1193970 h 3498714"/>
                <a:gd name="connsiteX20" fmla="*/ 2070059 w 2842751"/>
                <a:gd name="connsiteY20" fmla="*/ 1334152 h 3498714"/>
                <a:gd name="connsiteX21" fmla="*/ 1929878 w 2842751"/>
                <a:gd name="connsiteY21" fmla="*/ 1474333 h 3498714"/>
                <a:gd name="connsiteX22" fmla="*/ 1520943 w 2842751"/>
                <a:gd name="connsiteY22" fmla="*/ 1470388 h 3498714"/>
                <a:gd name="connsiteX23" fmla="*/ 1332825 w 2842751"/>
                <a:gd name="connsiteY23" fmla="*/ 1367201 h 3498714"/>
                <a:gd name="connsiteX24" fmla="*/ 1106501 w 2842751"/>
                <a:gd name="connsiteY24" fmla="*/ 1098289 h 3498714"/>
                <a:gd name="connsiteX25" fmla="*/ 1101049 w 2842751"/>
                <a:gd name="connsiteY25" fmla="*/ 1092836 h 3498714"/>
                <a:gd name="connsiteX26" fmla="*/ 1046523 w 2842751"/>
                <a:gd name="connsiteY26" fmla="*/ 1092836 h 3498714"/>
                <a:gd name="connsiteX27" fmla="*/ 1041071 w 2842751"/>
                <a:gd name="connsiteY27" fmla="*/ 1098289 h 3498714"/>
                <a:gd name="connsiteX28" fmla="*/ 1042136 w 2842751"/>
                <a:gd name="connsiteY28" fmla="*/ 1419754 h 3498714"/>
                <a:gd name="connsiteX29" fmla="*/ 1042136 w 2842751"/>
                <a:gd name="connsiteY29" fmla="*/ 3337652 h 3498714"/>
                <a:gd name="connsiteX30" fmla="*/ 881075 w 2842751"/>
                <a:gd name="connsiteY30" fmla="*/ 3498714 h 3498714"/>
                <a:gd name="connsiteX31" fmla="*/ 720012 w 2842751"/>
                <a:gd name="connsiteY31" fmla="*/ 3337652 h 3498714"/>
                <a:gd name="connsiteX32" fmla="*/ 720012 w 2842751"/>
                <a:gd name="connsiteY32" fmla="*/ 2125717 h 3498714"/>
                <a:gd name="connsiteX33" fmla="*/ 718947 w 2842751"/>
                <a:gd name="connsiteY33" fmla="*/ 2033194 h 3498714"/>
                <a:gd name="connsiteX34" fmla="*/ 714162 w 2842751"/>
                <a:gd name="connsiteY34" fmla="*/ 2028410 h 3498714"/>
                <a:gd name="connsiteX35" fmla="*/ 654759 w 2842751"/>
                <a:gd name="connsiteY35" fmla="*/ 2028410 h 3498714"/>
                <a:gd name="connsiteX36" fmla="*/ 649974 w 2842751"/>
                <a:gd name="connsiteY36" fmla="*/ 2033194 h 3498714"/>
                <a:gd name="connsiteX37" fmla="*/ 649974 w 2842751"/>
                <a:gd name="connsiteY37" fmla="*/ 2125717 h 3498714"/>
                <a:gd name="connsiteX38" fmla="*/ 649574 w 2842751"/>
                <a:gd name="connsiteY38" fmla="*/ 3337652 h 3498714"/>
                <a:gd name="connsiteX39" fmla="*/ 488511 w 2842751"/>
                <a:gd name="connsiteY39" fmla="*/ 3498714 h 3498714"/>
                <a:gd name="connsiteX40" fmla="*/ 327450 w 2842751"/>
                <a:gd name="connsiteY40" fmla="*/ 3337652 h 3498714"/>
                <a:gd name="connsiteX41" fmla="*/ 327450 w 2842751"/>
                <a:gd name="connsiteY41" fmla="*/ 1458216 h 3498714"/>
                <a:gd name="connsiteX42" fmla="*/ 322427 w 2842751"/>
                <a:gd name="connsiteY42" fmla="*/ 1098205 h 3498714"/>
                <a:gd name="connsiteX43" fmla="*/ 317058 w 2842751"/>
                <a:gd name="connsiteY43" fmla="*/ 1092836 h 3498714"/>
                <a:gd name="connsiteX44" fmla="*/ 263371 w 2842751"/>
                <a:gd name="connsiteY44" fmla="*/ 1092836 h 3498714"/>
                <a:gd name="connsiteX45" fmla="*/ 258001 w 2842751"/>
                <a:gd name="connsiteY45" fmla="*/ 1098205 h 3498714"/>
                <a:gd name="connsiteX46" fmla="*/ 258001 w 2842751"/>
                <a:gd name="connsiteY46" fmla="*/ 1444446 h 3498714"/>
                <a:gd name="connsiteX47" fmla="*/ 257700 w 2842751"/>
                <a:gd name="connsiteY47" fmla="*/ 1444370 h 3498714"/>
                <a:gd name="connsiteX48" fmla="*/ 257700 w 2842751"/>
                <a:gd name="connsiteY48" fmla="*/ 1912573 h 3498714"/>
                <a:gd name="connsiteX49" fmla="*/ 128850 w 2842751"/>
                <a:gd name="connsiteY49" fmla="*/ 2041423 h 3498714"/>
                <a:gd name="connsiteX50" fmla="*/ 0 w 2842751"/>
                <a:gd name="connsiteY50" fmla="*/ 1912573 h 3498714"/>
                <a:gd name="connsiteX51" fmla="*/ 0 w 2842751"/>
                <a:gd name="connsiteY51" fmla="*/ 1101802 h 3498714"/>
                <a:gd name="connsiteX52" fmla="*/ 0 w 2842751"/>
                <a:gd name="connsiteY52" fmla="*/ 1003338 h 3498714"/>
                <a:gd name="connsiteX53" fmla="*/ 0 w 2842751"/>
                <a:gd name="connsiteY53" fmla="*/ 982486 h 3498714"/>
                <a:gd name="connsiteX54" fmla="*/ 12733 w 2842751"/>
                <a:gd name="connsiteY54" fmla="*/ 894663 h 3498714"/>
                <a:gd name="connsiteX55" fmla="*/ 20539 w 2842751"/>
                <a:gd name="connsiteY55" fmla="*/ 868773 h 3498714"/>
                <a:gd name="connsiteX56" fmla="*/ 358791 w 2842751"/>
                <a:gd name="connsiteY56" fmla="*/ 644545 h 3498714"/>
                <a:gd name="connsiteX57" fmla="*/ 682782 w 2842751"/>
                <a:gd name="connsiteY57" fmla="*/ 0 h 3498714"/>
                <a:gd name="connsiteX58" fmla="*/ 966919 w 2842751"/>
                <a:gd name="connsiteY58" fmla="*/ 284138 h 3498714"/>
                <a:gd name="connsiteX59" fmla="*/ 682782 w 2842751"/>
                <a:gd name="connsiteY59" fmla="*/ 568275 h 3498714"/>
                <a:gd name="connsiteX60" fmla="*/ 398645 w 2842751"/>
                <a:gd name="connsiteY60" fmla="*/ 284138 h 3498714"/>
                <a:gd name="connsiteX61" fmla="*/ 682782 w 2842751"/>
                <a:gd name="connsiteY61" fmla="*/ 0 h 3498714"/>
                <a:gd name="connsiteX62" fmla="*/ 2589325 w 2842751"/>
                <a:gd name="connsiteY62" fmla="*/ 3124562 h 3498714"/>
                <a:gd name="connsiteX63" fmla="*/ 2589325 w 2842751"/>
                <a:gd name="connsiteY63" fmla="*/ 3361625 h 3498714"/>
                <a:gd name="connsiteX64" fmla="*/ 2480313 w 2842751"/>
                <a:gd name="connsiteY64" fmla="*/ 3470637 h 3498714"/>
                <a:gd name="connsiteX65" fmla="*/ 2279239 w 2842751"/>
                <a:gd name="connsiteY65" fmla="*/ 3470637 h 3498714"/>
                <a:gd name="connsiteX66" fmla="*/ 2170227 w 2842751"/>
                <a:gd name="connsiteY66" fmla="*/ 3361625 h 3498714"/>
                <a:gd name="connsiteX67" fmla="*/ 2170227 w 2842751"/>
                <a:gd name="connsiteY67" fmla="*/ 3124562 h 3498714"/>
                <a:gd name="connsiteX68" fmla="*/ 2052754 w 2842751"/>
                <a:gd name="connsiteY68" fmla="*/ 3124562 h 3498714"/>
                <a:gd name="connsiteX69" fmla="*/ 1941629 w 2842751"/>
                <a:gd name="connsiteY69" fmla="*/ 3013437 h 3498714"/>
                <a:gd name="connsiteX70" fmla="*/ 2052754 w 2842751"/>
                <a:gd name="connsiteY70" fmla="*/ 2902312 h 3498714"/>
                <a:gd name="connsiteX71" fmla="*/ 682782 w 2842751"/>
                <a:gd name="connsiteY71" fmla="*/ 0 h 3498714"/>
                <a:gd name="connsiteX0" fmla="*/ 2251033 w 2842751"/>
                <a:gd name="connsiteY0" fmla="*/ 2089512 h 3498714"/>
                <a:gd name="connsiteX1" fmla="*/ 2070058 w 2842751"/>
                <a:gd name="connsiteY1" fmla="*/ 2270487 h 3498714"/>
                <a:gd name="connsiteX2" fmla="*/ 2432008 w 2842751"/>
                <a:gd name="connsiteY2" fmla="*/ 2270487 h 3498714"/>
                <a:gd name="connsiteX3" fmla="*/ 2251033 w 2842751"/>
                <a:gd name="connsiteY3" fmla="*/ 2089512 h 3498714"/>
                <a:gd name="connsiteX4" fmla="*/ 2842751 w 2842751"/>
                <a:gd name="connsiteY4" fmla="*/ 1749356 h 3498714"/>
                <a:gd name="connsiteX5" fmla="*/ 2392797 w 2842751"/>
                <a:gd name="connsiteY5" fmla="*/ 1878907 h 3498714"/>
                <a:gd name="connsiteX6" fmla="*/ 2478781 w 2842751"/>
                <a:gd name="connsiteY6" fmla="*/ 1920808 h 3498714"/>
                <a:gd name="connsiteX7" fmla="*/ 2842751 w 2842751"/>
                <a:gd name="connsiteY7" fmla="*/ 1749356 h 3498714"/>
                <a:gd name="connsiteX8" fmla="*/ 2534724 w 2842751"/>
                <a:gd name="connsiteY8" fmla="*/ 982297 h 3498714"/>
                <a:gd name="connsiteX9" fmla="*/ 1970999 w 2842751"/>
                <a:gd name="connsiteY9" fmla="*/ 2826112 h 3498714"/>
                <a:gd name="connsiteX10" fmla="*/ 1850348 w 2842751"/>
                <a:gd name="connsiteY10" fmla="*/ 2705462 h 3498714"/>
                <a:gd name="connsiteX11" fmla="*/ 1956769 w 2842751"/>
                <a:gd name="connsiteY11" fmla="*/ 2587684 h 3498714"/>
                <a:gd name="connsiteX12" fmla="*/ 1823360 w 2842751"/>
                <a:gd name="connsiteY12" fmla="*/ 2279217 h 3498714"/>
                <a:gd name="connsiteX13" fmla="*/ 2217440 w 2842751"/>
                <a:gd name="connsiteY13" fmla="*/ 1856216 h 3498714"/>
                <a:gd name="connsiteX14" fmla="*/ 2534724 w 2842751"/>
                <a:gd name="connsiteY14" fmla="*/ 982297 h 3498714"/>
                <a:gd name="connsiteX15" fmla="*/ 358791 w 2842751"/>
                <a:gd name="connsiteY15" fmla="*/ 644545 h 3498714"/>
                <a:gd name="connsiteX16" fmla="*/ 1006774 w 2842751"/>
                <a:gd name="connsiteY16" fmla="*/ 644545 h 3498714"/>
                <a:gd name="connsiteX17" fmla="*/ 1542636 w 2842751"/>
                <a:gd name="connsiteY17" fmla="*/ 1193969 h 3498714"/>
                <a:gd name="connsiteX18" fmla="*/ 1929878 w 2842751"/>
                <a:gd name="connsiteY18" fmla="*/ 1193970 h 3498714"/>
                <a:gd name="connsiteX19" fmla="*/ 2070059 w 2842751"/>
                <a:gd name="connsiteY19" fmla="*/ 1334152 h 3498714"/>
                <a:gd name="connsiteX20" fmla="*/ 1929878 w 2842751"/>
                <a:gd name="connsiteY20" fmla="*/ 1474333 h 3498714"/>
                <a:gd name="connsiteX21" fmla="*/ 1520943 w 2842751"/>
                <a:gd name="connsiteY21" fmla="*/ 1470388 h 3498714"/>
                <a:gd name="connsiteX22" fmla="*/ 1332825 w 2842751"/>
                <a:gd name="connsiteY22" fmla="*/ 1367201 h 3498714"/>
                <a:gd name="connsiteX23" fmla="*/ 1106501 w 2842751"/>
                <a:gd name="connsiteY23" fmla="*/ 1098289 h 3498714"/>
                <a:gd name="connsiteX24" fmla="*/ 1101049 w 2842751"/>
                <a:gd name="connsiteY24" fmla="*/ 1092836 h 3498714"/>
                <a:gd name="connsiteX25" fmla="*/ 1046523 w 2842751"/>
                <a:gd name="connsiteY25" fmla="*/ 1092836 h 3498714"/>
                <a:gd name="connsiteX26" fmla="*/ 1041071 w 2842751"/>
                <a:gd name="connsiteY26" fmla="*/ 1098289 h 3498714"/>
                <a:gd name="connsiteX27" fmla="*/ 1042136 w 2842751"/>
                <a:gd name="connsiteY27" fmla="*/ 1419754 h 3498714"/>
                <a:gd name="connsiteX28" fmla="*/ 1042136 w 2842751"/>
                <a:gd name="connsiteY28" fmla="*/ 3337652 h 3498714"/>
                <a:gd name="connsiteX29" fmla="*/ 881075 w 2842751"/>
                <a:gd name="connsiteY29" fmla="*/ 3498714 h 3498714"/>
                <a:gd name="connsiteX30" fmla="*/ 720012 w 2842751"/>
                <a:gd name="connsiteY30" fmla="*/ 3337652 h 3498714"/>
                <a:gd name="connsiteX31" fmla="*/ 720012 w 2842751"/>
                <a:gd name="connsiteY31" fmla="*/ 2125717 h 3498714"/>
                <a:gd name="connsiteX32" fmla="*/ 718947 w 2842751"/>
                <a:gd name="connsiteY32" fmla="*/ 2033194 h 3498714"/>
                <a:gd name="connsiteX33" fmla="*/ 714162 w 2842751"/>
                <a:gd name="connsiteY33" fmla="*/ 2028410 h 3498714"/>
                <a:gd name="connsiteX34" fmla="*/ 654759 w 2842751"/>
                <a:gd name="connsiteY34" fmla="*/ 2028410 h 3498714"/>
                <a:gd name="connsiteX35" fmla="*/ 649974 w 2842751"/>
                <a:gd name="connsiteY35" fmla="*/ 2033194 h 3498714"/>
                <a:gd name="connsiteX36" fmla="*/ 649974 w 2842751"/>
                <a:gd name="connsiteY36" fmla="*/ 2125717 h 3498714"/>
                <a:gd name="connsiteX37" fmla="*/ 649574 w 2842751"/>
                <a:gd name="connsiteY37" fmla="*/ 3337652 h 3498714"/>
                <a:gd name="connsiteX38" fmla="*/ 488511 w 2842751"/>
                <a:gd name="connsiteY38" fmla="*/ 3498714 h 3498714"/>
                <a:gd name="connsiteX39" fmla="*/ 327450 w 2842751"/>
                <a:gd name="connsiteY39" fmla="*/ 3337652 h 3498714"/>
                <a:gd name="connsiteX40" fmla="*/ 327450 w 2842751"/>
                <a:gd name="connsiteY40" fmla="*/ 1458216 h 3498714"/>
                <a:gd name="connsiteX41" fmla="*/ 322427 w 2842751"/>
                <a:gd name="connsiteY41" fmla="*/ 1098205 h 3498714"/>
                <a:gd name="connsiteX42" fmla="*/ 317058 w 2842751"/>
                <a:gd name="connsiteY42" fmla="*/ 1092836 h 3498714"/>
                <a:gd name="connsiteX43" fmla="*/ 263371 w 2842751"/>
                <a:gd name="connsiteY43" fmla="*/ 1092836 h 3498714"/>
                <a:gd name="connsiteX44" fmla="*/ 258001 w 2842751"/>
                <a:gd name="connsiteY44" fmla="*/ 1098205 h 3498714"/>
                <a:gd name="connsiteX45" fmla="*/ 258001 w 2842751"/>
                <a:gd name="connsiteY45" fmla="*/ 1444446 h 3498714"/>
                <a:gd name="connsiteX46" fmla="*/ 257700 w 2842751"/>
                <a:gd name="connsiteY46" fmla="*/ 1444370 h 3498714"/>
                <a:gd name="connsiteX47" fmla="*/ 257700 w 2842751"/>
                <a:gd name="connsiteY47" fmla="*/ 1912573 h 3498714"/>
                <a:gd name="connsiteX48" fmla="*/ 128850 w 2842751"/>
                <a:gd name="connsiteY48" fmla="*/ 2041423 h 3498714"/>
                <a:gd name="connsiteX49" fmla="*/ 0 w 2842751"/>
                <a:gd name="connsiteY49" fmla="*/ 1912573 h 3498714"/>
                <a:gd name="connsiteX50" fmla="*/ 0 w 2842751"/>
                <a:gd name="connsiteY50" fmla="*/ 1101802 h 3498714"/>
                <a:gd name="connsiteX51" fmla="*/ 0 w 2842751"/>
                <a:gd name="connsiteY51" fmla="*/ 1003338 h 3498714"/>
                <a:gd name="connsiteX52" fmla="*/ 0 w 2842751"/>
                <a:gd name="connsiteY52" fmla="*/ 982486 h 3498714"/>
                <a:gd name="connsiteX53" fmla="*/ 12733 w 2842751"/>
                <a:gd name="connsiteY53" fmla="*/ 894663 h 3498714"/>
                <a:gd name="connsiteX54" fmla="*/ 20539 w 2842751"/>
                <a:gd name="connsiteY54" fmla="*/ 868773 h 3498714"/>
                <a:gd name="connsiteX55" fmla="*/ 358791 w 2842751"/>
                <a:gd name="connsiteY55" fmla="*/ 644545 h 3498714"/>
                <a:gd name="connsiteX56" fmla="*/ 682782 w 2842751"/>
                <a:gd name="connsiteY56" fmla="*/ 0 h 3498714"/>
                <a:gd name="connsiteX57" fmla="*/ 966919 w 2842751"/>
                <a:gd name="connsiteY57" fmla="*/ 284138 h 3498714"/>
                <a:gd name="connsiteX58" fmla="*/ 682782 w 2842751"/>
                <a:gd name="connsiteY58" fmla="*/ 568275 h 3498714"/>
                <a:gd name="connsiteX59" fmla="*/ 398645 w 2842751"/>
                <a:gd name="connsiteY59" fmla="*/ 284138 h 3498714"/>
                <a:gd name="connsiteX60" fmla="*/ 682782 w 2842751"/>
                <a:gd name="connsiteY60" fmla="*/ 0 h 3498714"/>
                <a:gd name="connsiteX61" fmla="*/ 2589325 w 2842751"/>
                <a:gd name="connsiteY61" fmla="*/ 3124562 h 3498714"/>
                <a:gd name="connsiteX62" fmla="*/ 2589325 w 2842751"/>
                <a:gd name="connsiteY62" fmla="*/ 3361625 h 3498714"/>
                <a:gd name="connsiteX63" fmla="*/ 2480313 w 2842751"/>
                <a:gd name="connsiteY63" fmla="*/ 3470637 h 3498714"/>
                <a:gd name="connsiteX64" fmla="*/ 2279239 w 2842751"/>
                <a:gd name="connsiteY64" fmla="*/ 3470637 h 3498714"/>
                <a:gd name="connsiteX65" fmla="*/ 2170227 w 2842751"/>
                <a:gd name="connsiteY65" fmla="*/ 3361625 h 3498714"/>
                <a:gd name="connsiteX66" fmla="*/ 2170227 w 2842751"/>
                <a:gd name="connsiteY66" fmla="*/ 3124562 h 3498714"/>
                <a:gd name="connsiteX67" fmla="*/ 2052754 w 2842751"/>
                <a:gd name="connsiteY67" fmla="*/ 3124562 h 3498714"/>
                <a:gd name="connsiteX68" fmla="*/ 1941629 w 2842751"/>
                <a:gd name="connsiteY68" fmla="*/ 3013437 h 3498714"/>
                <a:gd name="connsiteX69" fmla="*/ 2052754 w 2842751"/>
                <a:gd name="connsiteY69" fmla="*/ 2902312 h 3498714"/>
                <a:gd name="connsiteX70" fmla="*/ 682782 w 2842751"/>
                <a:gd name="connsiteY70" fmla="*/ 0 h 3498714"/>
                <a:gd name="connsiteX0" fmla="*/ 2251033 w 2842751"/>
                <a:gd name="connsiteY0" fmla="*/ 2089512 h 3498714"/>
                <a:gd name="connsiteX1" fmla="*/ 2070058 w 2842751"/>
                <a:gd name="connsiteY1" fmla="*/ 2270487 h 3498714"/>
                <a:gd name="connsiteX2" fmla="*/ 2251033 w 2842751"/>
                <a:gd name="connsiteY2" fmla="*/ 2089512 h 3498714"/>
                <a:gd name="connsiteX3" fmla="*/ 2842751 w 2842751"/>
                <a:gd name="connsiteY3" fmla="*/ 1749356 h 3498714"/>
                <a:gd name="connsiteX4" fmla="*/ 2392797 w 2842751"/>
                <a:gd name="connsiteY4" fmla="*/ 1878907 h 3498714"/>
                <a:gd name="connsiteX5" fmla="*/ 2478781 w 2842751"/>
                <a:gd name="connsiteY5" fmla="*/ 1920808 h 3498714"/>
                <a:gd name="connsiteX6" fmla="*/ 2842751 w 2842751"/>
                <a:gd name="connsiteY6" fmla="*/ 1749356 h 3498714"/>
                <a:gd name="connsiteX7" fmla="*/ 2534724 w 2842751"/>
                <a:gd name="connsiteY7" fmla="*/ 982297 h 3498714"/>
                <a:gd name="connsiteX8" fmla="*/ 1970999 w 2842751"/>
                <a:gd name="connsiteY8" fmla="*/ 2826112 h 3498714"/>
                <a:gd name="connsiteX9" fmla="*/ 1850348 w 2842751"/>
                <a:gd name="connsiteY9" fmla="*/ 2705462 h 3498714"/>
                <a:gd name="connsiteX10" fmla="*/ 1956769 w 2842751"/>
                <a:gd name="connsiteY10" fmla="*/ 2587684 h 3498714"/>
                <a:gd name="connsiteX11" fmla="*/ 1823360 w 2842751"/>
                <a:gd name="connsiteY11" fmla="*/ 2279217 h 3498714"/>
                <a:gd name="connsiteX12" fmla="*/ 2217440 w 2842751"/>
                <a:gd name="connsiteY12" fmla="*/ 1856216 h 3498714"/>
                <a:gd name="connsiteX13" fmla="*/ 2534724 w 2842751"/>
                <a:gd name="connsiteY13" fmla="*/ 982297 h 3498714"/>
                <a:gd name="connsiteX14" fmla="*/ 358791 w 2842751"/>
                <a:gd name="connsiteY14" fmla="*/ 644545 h 3498714"/>
                <a:gd name="connsiteX15" fmla="*/ 1006774 w 2842751"/>
                <a:gd name="connsiteY15" fmla="*/ 644545 h 3498714"/>
                <a:gd name="connsiteX16" fmla="*/ 1542636 w 2842751"/>
                <a:gd name="connsiteY16" fmla="*/ 1193969 h 3498714"/>
                <a:gd name="connsiteX17" fmla="*/ 1929878 w 2842751"/>
                <a:gd name="connsiteY17" fmla="*/ 1193970 h 3498714"/>
                <a:gd name="connsiteX18" fmla="*/ 2070059 w 2842751"/>
                <a:gd name="connsiteY18" fmla="*/ 1334152 h 3498714"/>
                <a:gd name="connsiteX19" fmla="*/ 1929878 w 2842751"/>
                <a:gd name="connsiteY19" fmla="*/ 1474333 h 3498714"/>
                <a:gd name="connsiteX20" fmla="*/ 1520943 w 2842751"/>
                <a:gd name="connsiteY20" fmla="*/ 1470388 h 3498714"/>
                <a:gd name="connsiteX21" fmla="*/ 1332825 w 2842751"/>
                <a:gd name="connsiteY21" fmla="*/ 1367201 h 3498714"/>
                <a:gd name="connsiteX22" fmla="*/ 1106501 w 2842751"/>
                <a:gd name="connsiteY22" fmla="*/ 1098289 h 3498714"/>
                <a:gd name="connsiteX23" fmla="*/ 1101049 w 2842751"/>
                <a:gd name="connsiteY23" fmla="*/ 1092836 h 3498714"/>
                <a:gd name="connsiteX24" fmla="*/ 1046523 w 2842751"/>
                <a:gd name="connsiteY24" fmla="*/ 1092836 h 3498714"/>
                <a:gd name="connsiteX25" fmla="*/ 1041071 w 2842751"/>
                <a:gd name="connsiteY25" fmla="*/ 1098289 h 3498714"/>
                <a:gd name="connsiteX26" fmla="*/ 1042136 w 2842751"/>
                <a:gd name="connsiteY26" fmla="*/ 1419754 h 3498714"/>
                <a:gd name="connsiteX27" fmla="*/ 1042136 w 2842751"/>
                <a:gd name="connsiteY27" fmla="*/ 3337652 h 3498714"/>
                <a:gd name="connsiteX28" fmla="*/ 881075 w 2842751"/>
                <a:gd name="connsiteY28" fmla="*/ 3498714 h 3498714"/>
                <a:gd name="connsiteX29" fmla="*/ 720012 w 2842751"/>
                <a:gd name="connsiteY29" fmla="*/ 3337652 h 3498714"/>
                <a:gd name="connsiteX30" fmla="*/ 720012 w 2842751"/>
                <a:gd name="connsiteY30" fmla="*/ 2125717 h 3498714"/>
                <a:gd name="connsiteX31" fmla="*/ 718947 w 2842751"/>
                <a:gd name="connsiteY31" fmla="*/ 2033194 h 3498714"/>
                <a:gd name="connsiteX32" fmla="*/ 714162 w 2842751"/>
                <a:gd name="connsiteY32" fmla="*/ 2028410 h 3498714"/>
                <a:gd name="connsiteX33" fmla="*/ 654759 w 2842751"/>
                <a:gd name="connsiteY33" fmla="*/ 2028410 h 3498714"/>
                <a:gd name="connsiteX34" fmla="*/ 649974 w 2842751"/>
                <a:gd name="connsiteY34" fmla="*/ 2033194 h 3498714"/>
                <a:gd name="connsiteX35" fmla="*/ 649974 w 2842751"/>
                <a:gd name="connsiteY35" fmla="*/ 2125717 h 3498714"/>
                <a:gd name="connsiteX36" fmla="*/ 649574 w 2842751"/>
                <a:gd name="connsiteY36" fmla="*/ 3337652 h 3498714"/>
                <a:gd name="connsiteX37" fmla="*/ 488511 w 2842751"/>
                <a:gd name="connsiteY37" fmla="*/ 3498714 h 3498714"/>
                <a:gd name="connsiteX38" fmla="*/ 327450 w 2842751"/>
                <a:gd name="connsiteY38" fmla="*/ 3337652 h 3498714"/>
                <a:gd name="connsiteX39" fmla="*/ 327450 w 2842751"/>
                <a:gd name="connsiteY39" fmla="*/ 1458216 h 3498714"/>
                <a:gd name="connsiteX40" fmla="*/ 322427 w 2842751"/>
                <a:gd name="connsiteY40" fmla="*/ 1098205 h 3498714"/>
                <a:gd name="connsiteX41" fmla="*/ 317058 w 2842751"/>
                <a:gd name="connsiteY41" fmla="*/ 1092836 h 3498714"/>
                <a:gd name="connsiteX42" fmla="*/ 263371 w 2842751"/>
                <a:gd name="connsiteY42" fmla="*/ 1092836 h 3498714"/>
                <a:gd name="connsiteX43" fmla="*/ 258001 w 2842751"/>
                <a:gd name="connsiteY43" fmla="*/ 1098205 h 3498714"/>
                <a:gd name="connsiteX44" fmla="*/ 258001 w 2842751"/>
                <a:gd name="connsiteY44" fmla="*/ 1444446 h 3498714"/>
                <a:gd name="connsiteX45" fmla="*/ 257700 w 2842751"/>
                <a:gd name="connsiteY45" fmla="*/ 1444370 h 3498714"/>
                <a:gd name="connsiteX46" fmla="*/ 257700 w 2842751"/>
                <a:gd name="connsiteY46" fmla="*/ 1912573 h 3498714"/>
                <a:gd name="connsiteX47" fmla="*/ 128850 w 2842751"/>
                <a:gd name="connsiteY47" fmla="*/ 2041423 h 3498714"/>
                <a:gd name="connsiteX48" fmla="*/ 0 w 2842751"/>
                <a:gd name="connsiteY48" fmla="*/ 1912573 h 3498714"/>
                <a:gd name="connsiteX49" fmla="*/ 0 w 2842751"/>
                <a:gd name="connsiteY49" fmla="*/ 1101802 h 3498714"/>
                <a:gd name="connsiteX50" fmla="*/ 0 w 2842751"/>
                <a:gd name="connsiteY50" fmla="*/ 1003338 h 3498714"/>
                <a:gd name="connsiteX51" fmla="*/ 0 w 2842751"/>
                <a:gd name="connsiteY51" fmla="*/ 982486 h 3498714"/>
                <a:gd name="connsiteX52" fmla="*/ 12733 w 2842751"/>
                <a:gd name="connsiteY52" fmla="*/ 894663 h 3498714"/>
                <a:gd name="connsiteX53" fmla="*/ 20539 w 2842751"/>
                <a:gd name="connsiteY53" fmla="*/ 868773 h 3498714"/>
                <a:gd name="connsiteX54" fmla="*/ 358791 w 2842751"/>
                <a:gd name="connsiteY54" fmla="*/ 644545 h 3498714"/>
                <a:gd name="connsiteX55" fmla="*/ 682782 w 2842751"/>
                <a:gd name="connsiteY55" fmla="*/ 0 h 3498714"/>
                <a:gd name="connsiteX56" fmla="*/ 966919 w 2842751"/>
                <a:gd name="connsiteY56" fmla="*/ 284138 h 3498714"/>
                <a:gd name="connsiteX57" fmla="*/ 682782 w 2842751"/>
                <a:gd name="connsiteY57" fmla="*/ 568275 h 3498714"/>
                <a:gd name="connsiteX58" fmla="*/ 398645 w 2842751"/>
                <a:gd name="connsiteY58" fmla="*/ 284138 h 3498714"/>
                <a:gd name="connsiteX59" fmla="*/ 682782 w 2842751"/>
                <a:gd name="connsiteY59" fmla="*/ 0 h 3498714"/>
                <a:gd name="connsiteX60" fmla="*/ 2589325 w 2842751"/>
                <a:gd name="connsiteY60" fmla="*/ 3124562 h 3498714"/>
                <a:gd name="connsiteX61" fmla="*/ 2589325 w 2842751"/>
                <a:gd name="connsiteY61" fmla="*/ 3361625 h 3498714"/>
                <a:gd name="connsiteX62" fmla="*/ 2480313 w 2842751"/>
                <a:gd name="connsiteY62" fmla="*/ 3470637 h 3498714"/>
                <a:gd name="connsiteX63" fmla="*/ 2279239 w 2842751"/>
                <a:gd name="connsiteY63" fmla="*/ 3470637 h 3498714"/>
                <a:gd name="connsiteX64" fmla="*/ 2170227 w 2842751"/>
                <a:gd name="connsiteY64" fmla="*/ 3361625 h 3498714"/>
                <a:gd name="connsiteX65" fmla="*/ 2170227 w 2842751"/>
                <a:gd name="connsiteY65" fmla="*/ 3124562 h 3498714"/>
                <a:gd name="connsiteX66" fmla="*/ 2052754 w 2842751"/>
                <a:gd name="connsiteY66" fmla="*/ 3124562 h 3498714"/>
                <a:gd name="connsiteX67" fmla="*/ 1941629 w 2842751"/>
                <a:gd name="connsiteY67" fmla="*/ 3013437 h 3498714"/>
                <a:gd name="connsiteX68" fmla="*/ 2052754 w 2842751"/>
                <a:gd name="connsiteY68" fmla="*/ 2902312 h 3498714"/>
                <a:gd name="connsiteX69" fmla="*/ 682782 w 2842751"/>
                <a:gd name="connsiteY69" fmla="*/ 0 h 3498714"/>
                <a:gd name="connsiteX0" fmla="*/ 2251033 w 2842751"/>
                <a:gd name="connsiteY0" fmla="*/ 2089512 h 3498714"/>
                <a:gd name="connsiteX1" fmla="*/ 2070058 w 2842751"/>
                <a:gd name="connsiteY1" fmla="*/ 2270487 h 3498714"/>
                <a:gd name="connsiteX2" fmla="*/ 2251033 w 2842751"/>
                <a:gd name="connsiteY2" fmla="*/ 2089512 h 3498714"/>
                <a:gd name="connsiteX3" fmla="*/ 2842751 w 2842751"/>
                <a:gd name="connsiteY3" fmla="*/ 1749356 h 3498714"/>
                <a:gd name="connsiteX4" fmla="*/ 2392797 w 2842751"/>
                <a:gd name="connsiteY4" fmla="*/ 1878907 h 3498714"/>
                <a:gd name="connsiteX5" fmla="*/ 2478781 w 2842751"/>
                <a:gd name="connsiteY5" fmla="*/ 1920808 h 3498714"/>
                <a:gd name="connsiteX6" fmla="*/ 2842751 w 2842751"/>
                <a:gd name="connsiteY6" fmla="*/ 1749356 h 3498714"/>
                <a:gd name="connsiteX7" fmla="*/ 2534724 w 2842751"/>
                <a:gd name="connsiteY7" fmla="*/ 982297 h 3498714"/>
                <a:gd name="connsiteX8" fmla="*/ 1850348 w 2842751"/>
                <a:gd name="connsiteY8" fmla="*/ 2705462 h 3498714"/>
                <a:gd name="connsiteX9" fmla="*/ 1956769 w 2842751"/>
                <a:gd name="connsiteY9" fmla="*/ 2587684 h 3498714"/>
                <a:gd name="connsiteX10" fmla="*/ 1823360 w 2842751"/>
                <a:gd name="connsiteY10" fmla="*/ 2279217 h 3498714"/>
                <a:gd name="connsiteX11" fmla="*/ 2217440 w 2842751"/>
                <a:gd name="connsiteY11" fmla="*/ 1856216 h 3498714"/>
                <a:gd name="connsiteX12" fmla="*/ 2534724 w 2842751"/>
                <a:gd name="connsiteY12" fmla="*/ 982297 h 3498714"/>
                <a:gd name="connsiteX13" fmla="*/ 358791 w 2842751"/>
                <a:gd name="connsiteY13" fmla="*/ 644545 h 3498714"/>
                <a:gd name="connsiteX14" fmla="*/ 1006774 w 2842751"/>
                <a:gd name="connsiteY14" fmla="*/ 644545 h 3498714"/>
                <a:gd name="connsiteX15" fmla="*/ 1542636 w 2842751"/>
                <a:gd name="connsiteY15" fmla="*/ 1193969 h 3498714"/>
                <a:gd name="connsiteX16" fmla="*/ 1929878 w 2842751"/>
                <a:gd name="connsiteY16" fmla="*/ 1193970 h 3498714"/>
                <a:gd name="connsiteX17" fmla="*/ 2070059 w 2842751"/>
                <a:gd name="connsiteY17" fmla="*/ 1334152 h 3498714"/>
                <a:gd name="connsiteX18" fmla="*/ 1929878 w 2842751"/>
                <a:gd name="connsiteY18" fmla="*/ 1474333 h 3498714"/>
                <a:gd name="connsiteX19" fmla="*/ 1520943 w 2842751"/>
                <a:gd name="connsiteY19" fmla="*/ 1470388 h 3498714"/>
                <a:gd name="connsiteX20" fmla="*/ 1332825 w 2842751"/>
                <a:gd name="connsiteY20" fmla="*/ 1367201 h 3498714"/>
                <a:gd name="connsiteX21" fmla="*/ 1106501 w 2842751"/>
                <a:gd name="connsiteY21" fmla="*/ 1098289 h 3498714"/>
                <a:gd name="connsiteX22" fmla="*/ 1101049 w 2842751"/>
                <a:gd name="connsiteY22" fmla="*/ 1092836 h 3498714"/>
                <a:gd name="connsiteX23" fmla="*/ 1046523 w 2842751"/>
                <a:gd name="connsiteY23" fmla="*/ 1092836 h 3498714"/>
                <a:gd name="connsiteX24" fmla="*/ 1041071 w 2842751"/>
                <a:gd name="connsiteY24" fmla="*/ 1098289 h 3498714"/>
                <a:gd name="connsiteX25" fmla="*/ 1042136 w 2842751"/>
                <a:gd name="connsiteY25" fmla="*/ 1419754 h 3498714"/>
                <a:gd name="connsiteX26" fmla="*/ 1042136 w 2842751"/>
                <a:gd name="connsiteY26" fmla="*/ 3337652 h 3498714"/>
                <a:gd name="connsiteX27" fmla="*/ 881075 w 2842751"/>
                <a:gd name="connsiteY27" fmla="*/ 3498714 h 3498714"/>
                <a:gd name="connsiteX28" fmla="*/ 720012 w 2842751"/>
                <a:gd name="connsiteY28" fmla="*/ 3337652 h 3498714"/>
                <a:gd name="connsiteX29" fmla="*/ 720012 w 2842751"/>
                <a:gd name="connsiteY29" fmla="*/ 2125717 h 3498714"/>
                <a:gd name="connsiteX30" fmla="*/ 718947 w 2842751"/>
                <a:gd name="connsiteY30" fmla="*/ 2033194 h 3498714"/>
                <a:gd name="connsiteX31" fmla="*/ 714162 w 2842751"/>
                <a:gd name="connsiteY31" fmla="*/ 2028410 h 3498714"/>
                <a:gd name="connsiteX32" fmla="*/ 654759 w 2842751"/>
                <a:gd name="connsiteY32" fmla="*/ 2028410 h 3498714"/>
                <a:gd name="connsiteX33" fmla="*/ 649974 w 2842751"/>
                <a:gd name="connsiteY33" fmla="*/ 2033194 h 3498714"/>
                <a:gd name="connsiteX34" fmla="*/ 649974 w 2842751"/>
                <a:gd name="connsiteY34" fmla="*/ 2125717 h 3498714"/>
                <a:gd name="connsiteX35" fmla="*/ 649574 w 2842751"/>
                <a:gd name="connsiteY35" fmla="*/ 3337652 h 3498714"/>
                <a:gd name="connsiteX36" fmla="*/ 488511 w 2842751"/>
                <a:gd name="connsiteY36" fmla="*/ 3498714 h 3498714"/>
                <a:gd name="connsiteX37" fmla="*/ 327450 w 2842751"/>
                <a:gd name="connsiteY37" fmla="*/ 3337652 h 3498714"/>
                <a:gd name="connsiteX38" fmla="*/ 327450 w 2842751"/>
                <a:gd name="connsiteY38" fmla="*/ 1458216 h 3498714"/>
                <a:gd name="connsiteX39" fmla="*/ 322427 w 2842751"/>
                <a:gd name="connsiteY39" fmla="*/ 1098205 h 3498714"/>
                <a:gd name="connsiteX40" fmla="*/ 317058 w 2842751"/>
                <a:gd name="connsiteY40" fmla="*/ 1092836 h 3498714"/>
                <a:gd name="connsiteX41" fmla="*/ 263371 w 2842751"/>
                <a:gd name="connsiteY41" fmla="*/ 1092836 h 3498714"/>
                <a:gd name="connsiteX42" fmla="*/ 258001 w 2842751"/>
                <a:gd name="connsiteY42" fmla="*/ 1098205 h 3498714"/>
                <a:gd name="connsiteX43" fmla="*/ 258001 w 2842751"/>
                <a:gd name="connsiteY43" fmla="*/ 1444446 h 3498714"/>
                <a:gd name="connsiteX44" fmla="*/ 257700 w 2842751"/>
                <a:gd name="connsiteY44" fmla="*/ 1444370 h 3498714"/>
                <a:gd name="connsiteX45" fmla="*/ 257700 w 2842751"/>
                <a:gd name="connsiteY45" fmla="*/ 1912573 h 3498714"/>
                <a:gd name="connsiteX46" fmla="*/ 128850 w 2842751"/>
                <a:gd name="connsiteY46" fmla="*/ 2041423 h 3498714"/>
                <a:gd name="connsiteX47" fmla="*/ 0 w 2842751"/>
                <a:gd name="connsiteY47" fmla="*/ 1912573 h 3498714"/>
                <a:gd name="connsiteX48" fmla="*/ 0 w 2842751"/>
                <a:gd name="connsiteY48" fmla="*/ 1101802 h 3498714"/>
                <a:gd name="connsiteX49" fmla="*/ 0 w 2842751"/>
                <a:gd name="connsiteY49" fmla="*/ 1003338 h 3498714"/>
                <a:gd name="connsiteX50" fmla="*/ 0 w 2842751"/>
                <a:gd name="connsiteY50" fmla="*/ 982486 h 3498714"/>
                <a:gd name="connsiteX51" fmla="*/ 12733 w 2842751"/>
                <a:gd name="connsiteY51" fmla="*/ 894663 h 3498714"/>
                <a:gd name="connsiteX52" fmla="*/ 20539 w 2842751"/>
                <a:gd name="connsiteY52" fmla="*/ 868773 h 3498714"/>
                <a:gd name="connsiteX53" fmla="*/ 358791 w 2842751"/>
                <a:gd name="connsiteY53" fmla="*/ 644545 h 3498714"/>
                <a:gd name="connsiteX54" fmla="*/ 682782 w 2842751"/>
                <a:gd name="connsiteY54" fmla="*/ 0 h 3498714"/>
                <a:gd name="connsiteX55" fmla="*/ 966919 w 2842751"/>
                <a:gd name="connsiteY55" fmla="*/ 284138 h 3498714"/>
                <a:gd name="connsiteX56" fmla="*/ 682782 w 2842751"/>
                <a:gd name="connsiteY56" fmla="*/ 568275 h 3498714"/>
                <a:gd name="connsiteX57" fmla="*/ 398645 w 2842751"/>
                <a:gd name="connsiteY57" fmla="*/ 284138 h 3498714"/>
                <a:gd name="connsiteX58" fmla="*/ 682782 w 2842751"/>
                <a:gd name="connsiteY58" fmla="*/ 0 h 3498714"/>
                <a:gd name="connsiteX59" fmla="*/ 2589325 w 2842751"/>
                <a:gd name="connsiteY59" fmla="*/ 3124562 h 3498714"/>
                <a:gd name="connsiteX60" fmla="*/ 2589325 w 2842751"/>
                <a:gd name="connsiteY60" fmla="*/ 3361625 h 3498714"/>
                <a:gd name="connsiteX61" fmla="*/ 2480313 w 2842751"/>
                <a:gd name="connsiteY61" fmla="*/ 3470637 h 3498714"/>
                <a:gd name="connsiteX62" fmla="*/ 2279239 w 2842751"/>
                <a:gd name="connsiteY62" fmla="*/ 3470637 h 3498714"/>
                <a:gd name="connsiteX63" fmla="*/ 2170227 w 2842751"/>
                <a:gd name="connsiteY63" fmla="*/ 3361625 h 3498714"/>
                <a:gd name="connsiteX64" fmla="*/ 2170227 w 2842751"/>
                <a:gd name="connsiteY64" fmla="*/ 3124562 h 3498714"/>
                <a:gd name="connsiteX65" fmla="*/ 2052754 w 2842751"/>
                <a:gd name="connsiteY65" fmla="*/ 3124562 h 3498714"/>
                <a:gd name="connsiteX66" fmla="*/ 1941629 w 2842751"/>
                <a:gd name="connsiteY66" fmla="*/ 3013437 h 3498714"/>
                <a:gd name="connsiteX67" fmla="*/ 2052754 w 2842751"/>
                <a:gd name="connsiteY67" fmla="*/ 2902312 h 3498714"/>
                <a:gd name="connsiteX68" fmla="*/ 682782 w 2842751"/>
                <a:gd name="connsiteY68" fmla="*/ 0 h 3498714"/>
                <a:gd name="connsiteX0" fmla="*/ 2251033 w 2842751"/>
                <a:gd name="connsiteY0" fmla="*/ 2089512 h 3498714"/>
                <a:gd name="connsiteX1" fmla="*/ 2070058 w 2842751"/>
                <a:gd name="connsiteY1" fmla="*/ 2270487 h 3498714"/>
                <a:gd name="connsiteX2" fmla="*/ 2251033 w 2842751"/>
                <a:gd name="connsiteY2" fmla="*/ 2089512 h 3498714"/>
                <a:gd name="connsiteX3" fmla="*/ 2842751 w 2842751"/>
                <a:gd name="connsiteY3" fmla="*/ 1749356 h 3498714"/>
                <a:gd name="connsiteX4" fmla="*/ 2392797 w 2842751"/>
                <a:gd name="connsiteY4" fmla="*/ 1878907 h 3498714"/>
                <a:gd name="connsiteX5" fmla="*/ 2478781 w 2842751"/>
                <a:gd name="connsiteY5" fmla="*/ 1920808 h 3498714"/>
                <a:gd name="connsiteX6" fmla="*/ 2842751 w 2842751"/>
                <a:gd name="connsiteY6" fmla="*/ 1749356 h 3498714"/>
                <a:gd name="connsiteX7" fmla="*/ 2534724 w 2842751"/>
                <a:gd name="connsiteY7" fmla="*/ 982297 h 3498714"/>
                <a:gd name="connsiteX8" fmla="*/ 1956769 w 2842751"/>
                <a:gd name="connsiteY8" fmla="*/ 2587684 h 3498714"/>
                <a:gd name="connsiteX9" fmla="*/ 1823360 w 2842751"/>
                <a:gd name="connsiteY9" fmla="*/ 2279217 h 3498714"/>
                <a:gd name="connsiteX10" fmla="*/ 2217440 w 2842751"/>
                <a:gd name="connsiteY10" fmla="*/ 1856216 h 3498714"/>
                <a:gd name="connsiteX11" fmla="*/ 2534724 w 2842751"/>
                <a:gd name="connsiteY11" fmla="*/ 982297 h 3498714"/>
                <a:gd name="connsiteX12" fmla="*/ 358791 w 2842751"/>
                <a:gd name="connsiteY12" fmla="*/ 644545 h 3498714"/>
                <a:gd name="connsiteX13" fmla="*/ 1006774 w 2842751"/>
                <a:gd name="connsiteY13" fmla="*/ 644545 h 3498714"/>
                <a:gd name="connsiteX14" fmla="*/ 1542636 w 2842751"/>
                <a:gd name="connsiteY14" fmla="*/ 1193969 h 3498714"/>
                <a:gd name="connsiteX15" fmla="*/ 1929878 w 2842751"/>
                <a:gd name="connsiteY15" fmla="*/ 1193970 h 3498714"/>
                <a:gd name="connsiteX16" fmla="*/ 2070059 w 2842751"/>
                <a:gd name="connsiteY16" fmla="*/ 1334152 h 3498714"/>
                <a:gd name="connsiteX17" fmla="*/ 1929878 w 2842751"/>
                <a:gd name="connsiteY17" fmla="*/ 1474333 h 3498714"/>
                <a:gd name="connsiteX18" fmla="*/ 1520943 w 2842751"/>
                <a:gd name="connsiteY18" fmla="*/ 1470388 h 3498714"/>
                <a:gd name="connsiteX19" fmla="*/ 1332825 w 2842751"/>
                <a:gd name="connsiteY19" fmla="*/ 1367201 h 3498714"/>
                <a:gd name="connsiteX20" fmla="*/ 1106501 w 2842751"/>
                <a:gd name="connsiteY20" fmla="*/ 1098289 h 3498714"/>
                <a:gd name="connsiteX21" fmla="*/ 1101049 w 2842751"/>
                <a:gd name="connsiteY21" fmla="*/ 1092836 h 3498714"/>
                <a:gd name="connsiteX22" fmla="*/ 1046523 w 2842751"/>
                <a:gd name="connsiteY22" fmla="*/ 1092836 h 3498714"/>
                <a:gd name="connsiteX23" fmla="*/ 1041071 w 2842751"/>
                <a:gd name="connsiteY23" fmla="*/ 1098289 h 3498714"/>
                <a:gd name="connsiteX24" fmla="*/ 1042136 w 2842751"/>
                <a:gd name="connsiteY24" fmla="*/ 1419754 h 3498714"/>
                <a:gd name="connsiteX25" fmla="*/ 1042136 w 2842751"/>
                <a:gd name="connsiteY25" fmla="*/ 3337652 h 3498714"/>
                <a:gd name="connsiteX26" fmla="*/ 881075 w 2842751"/>
                <a:gd name="connsiteY26" fmla="*/ 3498714 h 3498714"/>
                <a:gd name="connsiteX27" fmla="*/ 720012 w 2842751"/>
                <a:gd name="connsiteY27" fmla="*/ 3337652 h 3498714"/>
                <a:gd name="connsiteX28" fmla="*/ 720012 w 2842751"/>
                <a:gd name="connsiteY28" fmla="*/ 2125717 h 3498714"/>
                <a:gd name="connsiteX29" fmla="*/ 718947 w 2842751"/>
                <a:gd name="connsiteY29" fmla="*/ 2033194 h 3498714"/>
                <a:gd name="connsiteX30" fmla="*/ 714162 w 2842751"/>
                <a:gd name="connsiteY30" fmla="*/ 2028410 h 3498714"/>
                <a:gd name="connsiteX31" fmla="*/ 654759 w 2842751"/>
                <a:gd name="connsiteY31" fmla="*/ 2028410 h 3498714"/>
                <a:gd name="connsiteX32" fmla="*/ 649974 w 2842751"/>
                <a:gd name="connsiteY32" fmla="*/ 2033194 h 3498714"/>
                <a:gd name="connsiteX33" fmla="*/ 649974 w 2842751"/>
                <a:gd name="connsiteY33" fmla="*/ 2125717 h 3498714"/>
                <a:gd name="connsiteX34" fmla="*/ 649574 w 2842751"/>
                <a:gd name="connsiteY34" fmla="*/ 3337652 h 3498714"/>
                <a:gd name="connsiteX35" fmla="*/ 488511 w 2842751"/>
                <a:gd name="connsiteY35" fmla="*/ 3498714 h 3498714"/>
                <a:gd name="connsiteX36" fmla="*/ 327450 w 2842751"/>
                <a:gd name="connsiteY36" fmla="*/ 3337652 h 3498714"/>
                <a:gd name="connsiteX37" fmla="*/ 327450 w 2842751"/>
                <a:gd name="connsiteY37" fmla="*/ 1458216 h 3498714"/>
                <a:gd name="connsiteX38" fmla="*/ 322427 w 2842751"/>
                <a:gd name="connsiteY38" fmla="*/ 1098205 h 3498714"/>
                <a:gd name="connsiteX39" fmla="*/ 317058 w 2842751"/>
                <a:gd name="connsiteY39" fmla="*/ 1092836 h 3498714"/>
                <a:gd name="connsiteX40" fmla="*/ 263371 w 2842751"/>
                <a:gd name="connsiteY40" fmla="*/ 1092836 h 3498714"/>
                <a:gd name="connsiteX41" fmla="*/ 258001 w 2842751"/>
                <a:gd name="connsiteY41" fmla="*/ 1098205 h 3498714"/>
                <a:gd name="connsiteX42" fmla="*/ 258001 w 2842751"/>
                <a:gd name="connsiteY42" fmla="*/ 1444446 h 3498714"/>
                <a:gd name="connsiteX43" fmla="*/ 257700 w 2842751"/>
                <a:gd name="connsiteY43" fmla="*/ 1444370 h 3498714"/>
                <a:gd name="connsiteX44" fmla="*/ 257700 w 2842751"/>
                <a:gd name="connsiteY44" fmla="*/ 1912573 h 3498714"/>
                <a:gd name="connsiteX45" fmla="*/ 128850 w 2842751"/>
                <a:gd name="connsiteY45" fmla="*/ 2041423 h 3498714"/>
                <a:gd name="connsiteX46" fmla="*/ 0 w 2842751"/>
                <a:gd name="connsiteY46" fmla="*/ 1912573 h 3498714"/>
                <a:gd name="connsiteX47" fmla="*/ 0 w 2842751"/>
                <a:gd name="connsiteY47" fmla="*/ 1101802 h 3498714"/>
                <a:gd name="connsiteX48" fmla="*/ 0 w 2842751"/>
                <a:gd name="connsiteY48" fmla="*/ 1003338 h 3498714"/>
                <a:gd name="connsiteX49" fmla="*/ 0 w 2842751"/>
                <a:gd name="connsiteY49" fmla="*/ 982486 h 3498714"/>
                <a:gd name="connsiteX50" fmla="*/ 12733 w 2842751"/>
                <a:gd name="connsiteY50" fmla="*/ 894663 h 3498714"/>
                <a:gd name="connsiteX51" fmla="*/ 20539 w 2842751"/>
                <a:gd name="connsiteY51" fmla="*/ 868773 h 3498714"/>
                <a:gd name="connsiteX52" fmla="*/ 358791 w 2842751"/>
                <a:gd name="connsiteY52" fmla="*/ 644545 h 3498714"/>
                <a:gd name="connsiteX53" fmla="*/ 682782 w 2842751"/>
                <a:gd name="connsiteY53" fmla="*/ 0 h 3498714"/>
                <a:gd name="connsiteX54" fmla="*/ 966919 w 2842751"/>
                <a:gd name="connsiteY54" fmla="*/ 284138 h 3498714"/>
                <a:gd name="connsiteX55" fmla="*/ 682782 w 2842751"/>
                <a:gd name="connsiteY55" fmla="*/ 568275 h 3498714"/>
                <a:gd name="connsiteX56" fmla="*/ 398645 w 2842751"/>
                <a:gd name="connsiteY56" fmla="*/ 284138 h 3498714"/>
                <a:gd name="connsiteX57" fmla="*/ 682782 w 2842751"/>
                <a:gd name="connsiteY57" fmla="*/ 0 h 3498714"/>
                <a:gd name="connsiteX58" fmla="*/ 2589325 w 2842751"/>
                <a:gd name="connsiteY58" fmla="*/ 3124562 h 3498714"/>
                <a:gd name="connsiteX59" fmla="*/ 2589325 w 2842751"/>
                <a:gd name="connsiteY59" fmla="*/ 3361625 h 3498714"/>
                <a:gd name="connsiteX60" fmla="*/ 2480313 w 2842751"/>
                <a:gd name="connsiteY60" fmla="*/ 3470637 h 3498714"/>
                <a:gd name="connsiteX61" fmla="*/ 2279239 w 2842751"/>
                <a:gd name="connsiteY61" fmla="*/ 3470637 h 3498714"/>
                <a:gd name="connsiteX62" fmla="*/ 2170227 w 2842751"/>
                <a:gd name="connsiteY62" fmla="*/ 3361625 h 3498714"/>
                <a:gd name="connsiteX63" fmla="*/ 2170227 w 2842751"/>
                <a:gd name="connsiteY63" fmla="*/ 3124562 h 3498714"/>
                <a:gd name="connsiteX64" fmla="*/ 2052754 w 2842751"/>
                <a:gd name="connsiteY64" fmla="*/ 3124562 h 3498714"/>
                <a:gd name="connsiteX65" fmla="*/ 1941629 w 2842751"/>
                <a:gd name="connsiteY65" fmla="*/ 3013437 h 3498714"/>
                <a:gd name="connsiteX66" fmla="*/ 2052754 w 2842751"/>
                <a:gd name="connsiteY66" fmla="*/ 2902312 h 3498714"/>
                <a:gd name="connsiteX67" fmla="*/ 682782 w 2842751"/>
                <a:gd name="connsiteY67" fmla="*/ 0 h 3498714"/>
                <a:gd name="connsiteX0" fmla="*/ 2251033 w 2842751"/>
                <a:gd name="connsiteY0" fmla="*/ 2089512 h 3498714"/>
                <a:gd name="connsiteX1" fmla="*/ 2070058 w 2842751"/>
                <a:gd name="connsiteY1" fmla="*/ 2270487 h 3498714"/>
                <a:gd name="connsiteX2" fmla="*/ 2251033 w 2842751"/>
                <a:gd name="connsiteY2" fmla="*/ 2089512 h 3498714"/>
                <a:gd name="connsiteX3" fmla="*/ 2842751 w 2842751"/>
                <a:gd name="connsiteY3" fmla="*/ 1749356 h 3498714"/>
                <a:gd name="connsiteX4" fmla="*/ 2392797 w 2842751"/>
                <a:gd name="connsiteY4" fmla="*/ 1878907 h 3498714"/>
                <a:gd name="connsiteX5" fmla="*/ 2478781 w 2842751"/>
                <a:gd name="connsiteY5" fmla="*/ 1920808 h 3498714"/>
                <a:gd name="connsiteX6" fmla="*/ 2842751 w 2842751"/>
                <a:gd name="connsiteY6" fmla="*/ 1749356 h 3498714"/>
                <a:gd name="connsiteX7" fmla="*/ 2534724 w 2842751"/>
                <a:gd name="connsiteY7" fmla="*/ 982297 h 3498714"/>
                <a:gd name="connsiteX8" fmla="*/ 1823360 w 2842751"/>
                <a:gd name="connsiteY8" fmla="*/ 2279217 h 3498714"/>
                <a:gd name="connsiteX9" fmla="*/ 2217440 w 2842751"/>
                <a:gd name="connsiteY9" fmla="*/ 1856216 h 3498714"/>
                <a:gd name="connsiteX10" fmla="*/ 2534724 w 2842751"/>
                <a:gd name="connsiteY10" fmla="*/ 982297 h 3498714"/>
                <a:gd name="connsiteX11" fmla="*/ 358791 w 2842751"/>
                <a:gd name="connsiteY11" fmla="*/ 644545 h 3498714"/>
                <a:gd name="connsiteX12" fmla="*/ 1006774 w 2842751"/>
                <a:gd name="connsiteY12" fmla="*/ 644545 h 3498714"/>
                <a:gd name="connsiteX13" fmla="*/ 1542636 w 2842751"/>
                <a:gd name="connsiteY13" fmla="*/ 1193969 h 3498714"/>
                <a:gd name="connsiteX14" fmla="*/ 1929878 w 2842751"/>
                <a:gd name="connsiteY14" fmla="*/ 1193970 h 3498714"/>
                <a:gd name="connsiteX15" fmla="*/ 2070059 w 2842751"/>
                <a:gd name="connsiteY15" fmla="*/ 1334152 h 3498714"/>
                <a:gd name="connsiteX16" fmla="*/ 1929878 w 2842751"/>
                <a:gd name="connsiteY16" fmla="*/ 1474333 h 3498714"/>
                <a:gd name="connsiteX17" fmla="*/ 1520943 w 2842751"/>
                <a:gd name="connsiteY17" fmla="*/ 1470388 h 3498714"/>
                <a:gd name="connsiteX18" fmla="*/ 1332825 w 2842751"/>
                <a:gd name="connsiteY18" fmla="*/ 1367201 h 3498714"/>
                <a:gd name="connsiteX19" fmla="*/ 1106501 w 2842751"/>
                <a:gd name="connsiteY19" fmla="*/ 1098289 h 3498714"/>
                <a:gd name="connsiteX20" fmla="*/ 1101049 w 2842751"/>
                <a:gd name="connsiteY20" fmla="*/ 1092836 h 3498714"/>
                <a:gd name="connsiteX21" fmla="*/ 1046523 w 2842751"/>
                <a:gd name="connsiteY21" fmla="*/ 1092836 h 3498714"/>
                <a:gd name="connsiteX22" fmla="*/ 1041071 w 2842751"/>
                <a:gd name="connsiteY22" fmla="*/ 1098289 h 3498714"/>
                <a:gd name="connsiteX23" fmla="*/ 1042136 w 2842751"/>
                <a:gd name="connsiteY23" fmla="*/ 1419754 h 3498714"/>
                <a:gd name="connsiteX24" fmla="*/ 1042136 w 2842751"/>
                <a:gd name="connsiteY24" fmla="*/ 3337652 h 3498714"/>
                <a:gd name="connsiteX25" fmla="*/ 881075 w 2842751"/>
                <a:gd name="connsiteY25" fmla="*/ 3498714 h 3498714"/>
                <a:gd name="connsiteX26" fmla="*/ 720012 w 2842751"/>
                <a:gd name="connsiteY26" fmla="*/ 3337652 h 3498714"/>
                <a:gd name="connsiteX27" fmla="*/ 720012 w 2842751"/>
                <a:gd name="connsiteY27" fmla="*/ 2125717 h 3498714"/>
                <a:gd name="connsiteX28" fmla="*/ 718947 w 2842751"/>
                <a:gd name="connsiteY28" fmla="*/ 2033194 h 3498714"/>
                <a:gd name="connsiteX29" fmla="*/ 714162 w 2842751"/>
                <a:gd name="connsiteY29" fmla="*/ 2028410 h 3498714"/>
                <a:gd name="connsiteX30" fmla="*/ 654759 w 2842751"/>
                <a:gd name="connsiteY30" fmla="*/ 2028410 h 3498714"/>
                <a:gd name="connsiteX31" fmla="*/ 649974 w 2842751"/>
                <a:gd name="connsiteY31" fmla="*/ 2033194 h 3498714"/>
                <a:gd name="connsiteX32" fmla="*/ 649974 w 2842751"/>
                <a:gd name="connsiteY32" fmla="*/ 2125717 h 3498714"/>
                <a:gd name="connsiteX33" fmla="*/ 649574 w 2842751"/>
                <a:gd name="connsiteY33" fmla="*/ 3337652 h 3498714"/>
                <a:gd name="connsiteX34" fmla="*/ 488511 w 2842751"/>
                <a:gd name="connsiteY34" fmla="*/ 3498714 h 3498714"/>
                <a:gd name="connsiteX35" fmla="*/ 327450 w 2842751"/>
                <a:gd name="connsiteY35" fmla="*/ 3337652 h 3498714"/>
                <a:gd name="connsiteX36" fmla="*/ 327450 w 2842751"/>
                <a:gd name="connsiteY36" fmla="*/ 1458216 h 3498714"/>
                <a:gd name="connsiteX37" fmla="*/ 322427 w 2842751"/>
                <a:gd name="connsiteY37" fmla="*/ 1098205 h 3498714"/>
                <a:gd name="connsiteX38" fmla="*/ 317058 w 2842751"/>
                <a:gd name="connsiteY38" fmla="*/ 1092836 h 3498714"/>
                <a:gd name="connsiteX39" fmla="*/ 263371 w 2842751"/>
                <a:gd name="connsiteY39" fmla="*/ 1092836 h 3498714"/>
                <a:gd name="connsiteX40" fmla="*/ 258001 w 2842751"/>
                <a:gd name="connsiteY40" fmla="*/ 1098205 h 3498714"/>
                <a:gd name="connsiteX41" fmla="*/ 258001 w 2842751"/>
                <a:gd name="connsiteY41" fmla="*/ 1444446 h 3498714"/>
                <a:gd name="connsiteX42" fmla="*/ 257700 w 2842751"/>
                <a:gd name="connsiteY42" fmla="*/ 1444370 h 3498714"/>
                <a:gd name="connsiteX43" fmla="*/ 257700 w 2842751"/>
                <a:gd name="connsiteY43" fmla="*/ 1912573 h 3498714"/>
                <a:gd name="connsiteX44" fmla="*/ 128850 w 2842751"/>
                <a:gd name="connsiteY44" fmla="*/ 2041423 h 3498714"/>
                <a:gd name="connsiteX45" fmla="*/ 0 w 2842751"/>
                <a:gd name="connsiteY45" fmla="*/ 1912573 h 3498714"/>
                <a:gd name="connsiteX46" fmla="*/ 0 w 2842751"/>
                <a:gd name="connsiteY46" fmla="*/ 1101802 h 3498714"/>
                <a:gd name="connsiteX47" fmla="*/ 0 w 2842751"/>
                <a:gd name="connsiteY47" fmla="*/ 1003338 h 3498714"/>
                <a:gd name="connsiteX48" fmla="*/ 0 w 2842751"/>
                <a:gd name="connsiteY48" fmla="*/ 982486 h 3498714"/>
                <a:gd name="connsiteX49" fmla="*/ 12733 w 2842751"/>
                <a:gd name="connsiteY49" fmla="*/ 894663 h 3498714"/>
                <a:gd name="connsiteX50" fmla="*/ 20539 w 2842751"/>
                <a:gd name="connsiteY50" fmla="*/ 868773 h 3498714"/>
                <a:gd name="connsiteX51" fmla="*/ 358791 w 2842751"/>
                <a:gd name="connsiteY51" fmla="*/ 644545 h 3498714"/>
                <a:gd name="connsiteX52" fmla="*/ 682782 w 2842751"/>
                <a:gd name="connsiteY52" fmla="*/ 0 h 3498714"/>
                <a:gd name="connsiteX53" fmla="*/ 966919 w 2842751"/>
                <a:gd name="connsiteY53" fmla="*/ 284138 h 3498714"/>
                <a:gd name="connsiteX54" fmla="*/ 682782 w 2842751"/>
                <a:gd name="connsiteY54" fmla="*/ 568275 h 3498714"/>
                <a:gd name="connsiteX55" fmla="*/ 398645 w 2842751"/>
                <a:gd name="connsiteY55" fmla="*/ 284138 h 3498714"/>
                <a:gd name="connsiteX56" fmla="*/ 682782 w 2842751"/>
                <a:gd name="connsiteY56" fmla="*/ 0 h 3498714"/>
                <a:gd name="connsiteX57" fmla="*/ 2589325 w 2842751"/>
                <a:gd name="connsiteY57" fmla="*/ 3124562 h 3498714"/>
                <a:gd name="connsiteX58" fmla="*/ 2589325 w 2842751"/>
                <a:gd name="connsiteY58" fmla="*/ 3361625 h 3498714"/>
                <a:gd name="connsiteX59" fmla="*/ 2480313 w 2842751"/>
                <a:gd name="connsiteY59" fmla="*/ 3470637 h 3498714"/>
                <a:gd name="connsiteX60" fmla="*/ 2279239 w 2842751"/>
                <a:gd name="connsiteY60" fmla="*/ 3470637 h 3498714"/>
                <a:gd name="connsiteX61" fmla="*/ 2170227 w 2842751"/>
                <a:gd name="connsiteY61" fmla="*/ 3361625 h 3498714"/>
                <a:gd name="connsiteX62" fmla="*/ 2170227 w 2842751"/>
                <a:gd name="connsiteY62" fmla="*/ 3124562 h 3498714"/>
                <a:gd name="connsiteX63" fmla="*/ 2052754 w 2842751"/>
                <a:gd name="connsiteY63" fmla="*/ 3124562 h 3498714"/>
                <a:gd name="connsiteX64" fmla="*/ 1941629 w 2842751"/>
                <a:gd name="connsiteY64" fmla="*/ 3013437 h 3498714"/>
                <a:gd name="connsiteX65" fmla="*/ 2052754 w 2842751"/>
                <a:gd name="connsiteY65" fmla="*/ 2902312 h 3498714"/>
                <a:gd name="connsiteX66" fmla="*/ 682782 w 2842751"/>
                <a:gd name="connsiteY66" fmla="*/ 0 h 3498714"/>
                <a:gd name="connsiteX0" fmla="*/ 2251033 w 2842751"/>
                <a:gd name="connsiteY0" fmla="*/ 2089512 h 3498714"/>
                <a:gd name="connsiteX1" fmla="*/ 2070058 w 2842751"/>
                <a:gd name="connsiteY1" fmla="*/ 2270487 h 3498714"/>
                <a:gd name="connsiteX2" fmla="*/ 2251033 w 2842751"/>
                <a:gd name="connsiteY2" fmla="*/ 2089512 h 3498714"/>
                <a:gd name="connsiteX3" fmla="*/ 2842751 w 2842751"/>
                <a:gd name="connsiteY3" fmla="*/ 1749356 h 3498714"/>
                <a:gd name="connsiteX4" fmla="*/ 2392797 w 2842751"/>
                <a:gd name="connsiteY4" fmla="*/ 1878907 h 3498714"/>
                <a:gd name="connsiteX5" fmla="*/ 2478781 w 2842751"/>
                <a:gd name="connsiteY5" fmla="*/ 1920808 h 3498714"/>
                <a:gd name="connsiteX6" fmla="*/ 2842751 w 2842751"/>
                <a:gd name="connsiteY6" fmla="*/ 1749356 h 3498714"/>
                <a:gd name="connsiteX7" fmla="*/ 2534724 w 2842751"/>
                <a:gd name="connsiteY7" fmla="*/ 982297 h 3498714"/>
                <a:gd name="connsiteX8" fmla="*/ 2217440 w 2842751"/>
                <a:gd name="connsiteY8" fmla="*/ 1856216 h 3498714"/>
                <a:gd name="connsiteX9" fmla="*/ 2534724 w 2842751"/>
                <a:gd name="connsiteY9" fmla="*/ 982297 h 3498714"/>
                <a:gd name="connsiteX10" fmla="*/ 358791 w 2842751"/>
                <a:gd name="connsiteY10" fmla="*/ 644545 h 3498714"/>
                <a:gd name="connsiteX11" fmla="*/ 1006774 w 2842751"/>
                <a:gd name="connsiteY11" fmla="*/ 644545 h 3498714"/>
                <a:gd name="connsiteX12" fmla="*/ 1542636 w 2842751"/>
                <a:gd name="connsiteY12" fmla="*/ 1193969 h 3498714"/>
                <a:gd name="connsiteX13" fmla="*/ 1929878 w 2842751"/>
                <a:gd name="connsiteY13" fmla="*/ 1193970 h 3498714"/>
                <a:gd name="connsiteX14" fmla="*/ 2070059 w 2842751"/>
                <a:gd name="connsiteY14" fmla="*/ 1334152 h 3498714"/>
                <a:gd name="connsiteX15" fmla="*/ 1929878 w 2842751"/>
                <a:gd name="connsiteY15" fmla="*/ 1474333 h 3498714"/>
                <a:gd name="connsiteX16" fmla="*/ 1520943 w 2842751"/>
                <a:gd name="connsiteY16" fmla="*/ 1470388 h 3498714"/>
                <a:gd name="connsiteX17" fmla="*/ 1332825 w 2842751"/>
                <a:gd name="connsiteY17" fmla="*/ 1367201 h 3498714"/>
                <a:gd name="connsiteX18" fmla="*/ 1106501 w 2842751"/>
                <a:gd name="connsiteY18" fmla="*/ 1098289 h 3498714"/>
                <a:gd name="connsiteX19" fmla="*/ 1101049 w 2842751"/>
                <a:gd name="connsiteY19" fmla="*/ 1092836 h 3498714"/>
                <a:gd name="connsiteX20" fmla="*/ 1046523 w 2842751"/>
                <a:gd name="connsiteY20" fmla="*/ 1092836 h 3498714"/>
                <a:gd name="connsiteX21" fmla="*/ 1041071 w 2842751"/>
                <a:gd name="connsiteY21" fmla="*/ 1098289 h 3498714"/>
                <a:gd name="connsiteX22" fmla="*/ 1042136 w 2842751"/>
                <a:gd name="connsiteY22" fmla="*/ 1419754 h 3498714"/>
                <a:gd name="connsiteX23" fmla="*/ 1042136 w 2842751"/>
                <a:gd name="connsiteY23" fmla="*/ 3337652 h 3498714"/>
                <a:gd name="connsiteX24" fmla="*/ 881075 w 2842751"/>
                <a:gd name="connsiteY24" fmla="*/ 3498714 h 3498714"/>
                <a:gd name="connsiteX25" fmla="*/ 720012 w 2842751"/>
                <a:gd name="connsiteY25" fmla="*/ 3337652 h 3498714"/>
                <a:gd name="connsiteX26" fmla="*/ 720012 w 2842751"/>
                <a:gd name="connsiteY26" fmla="*/ 2125717 h 3498714"/>
                <a:gd name="connsiteX27" fmla="*/ 718947 w 2842751"/>
                <a:gd name="connsiteY27" fmla="*/ 2033194 h 3498714"/>
                <a:gd name="connsiteX28" fmla="*/ 714162 w 2842751"/>
                <a:gd name="connsiteY28" fmla="*/ 2028410 h 3498714"/>
                <a:gd name="connsiteX29" fmla="*/ 654759 w 2842751"/>
                <a:gd name="connsiteY29" fmla="*/ 2028410 h 3498714"/>
                <a:gd name="connsiteX30" fmla="*/ 649974 w 2842751"/>
                <a:gd name="connsiteY30" fmla="*/ 2033194 h 3498714"/>
                <a:gd name="connsiteX31" fmla="*/ 649974 w 2842751"/>
                <a:gd name="connsiteY31" fmla="*/ 2125717 h 3498714"/>
                <a:gd name="connsiteX32" fmla="*/ 649574 w 2842751"/>
                <a:gd name="connsiteY32" fmla="*/ 3337652 h 3498714"/>
                <a:gd name="connsiteX33" fmla="*/ 488511 w 2842751"/>
                <a:gd name="connsiteY33" fmla="*/ 3498714 h 3498714"/>
                <a:gd name="connsiteX34" fmla="*/ 327450 w 2842751"/>
                <a:gd name="connsiteY34" fmla="*/ 3337652 h 3498714"/>
                <a:gd name="connsiteX35" fmla="*/ 327450 w 2842751"/>
                <a:gd name="connsiteY35" fmla="*/ 1458216 h 3498714"/>
                <a:gd name="connsiteX36" fmla="*/ 322427 w 2842751"/>
                <a:gd name="connsiteY36" fmla="*/ 1098205 h 3498714"/>
                <a:gd name="connsiteX37" fmla="*/ 317058 w 2842751"/>
                <a:gd name="connsiteY37" fmla="*/ 1092836 h 3498714"/>
                <a:gd name="connsiteX38" fmla="*/ 263371 w 2842751"/>
                <a:gd name="connsiteY38" fmla="*/ 1092836 h 3498714"/>
                <a:gd name="connsiteX39" fmla="*/ 258001 w 2842751"/>
                <a:gd name="connsiteY39" fmla="*/ 1098205 h 3498714"/>
                <a:gd name="connsiteX40" fmla="*/ 258001 w 2842751"/>
                <a:gd name="connsiteY40" fmla="*/ 1444446 h 3498714"/>
                <a:gd name="connsiteX41" fmla="*/ 257700 w 2842751"/>
                <a:gd name="connsiteY41" fmla="*/ 1444370 h 3498714"/>
                <a:gd name="connsiteX42" fmla="*/ 257700 w 2842751"/>
                <a:gd name="connsiteY42" fmla="*/ 1912573 h 3498714"/>
                <a:gd name="connsiteX43" fmla="*/ 128850 w 2842751"/>
                <a:gd name="connsiteY43" fmla="*/ 2041423 h 3498714"/>
                <a:gd name="connsiteX44" fmla="*/ 0 w 2842751"/>
                <a:gd name="connsiteY44" fmla="*/ 1912573 h 3498714"/>
                <a:gd name="connsiteX45" fmla="*/ 0 w 2842751"/>
                <a:gd name="connsiteY45" fmla="*/ 1101802 h 3498714"/>
                <a:gd name="connsiteX46" fmla="*/ 0 w 2842751"/>
                <a:gd name="connsiteY46" fmla="*/ 1003338 h 3498714"/>
                <a:gd name="connsiteX47" fmla="*/ 0 w 2842751"/>
                <a:gd name="connsiteY47" fmla="*/ 982486 h 3498714"/>
                <a:gd name="connsiteX48" fmla="*/ 12733 w 2842751"/>
                <a:gd name="connsiteY48" fmla="*/ 894663 h 3498714"/>
                <a:gd name="connsiteX49" fmla="*/ 20539 w 2842751"/>
                <a:gd name="connsiteY49" fmla="*/ 868773 h 3498714"/>
                <a:gd name="connsiteX50" fmla="*/ 358791 w 2842751"/>
                <a:gd name="connsiteY50" fmla="*/ 644545 h 3498714"/>
                <a:gd name="connsiteX51" fmla="*/ 682782 w 2842751"/>
                <a:gd name="connsiteY51" fmla="*/ 0 h 3498714"/>
                <a:gd name="connsiteX52" fmla="*/ 966919 w 2842751"/>
                <a:gd name="connsiteY52" fmla="*/ 284138 h 3498714"/>
                <a:gd name="connsiteX53" fmla="*/ 682782 w 2842751"/>
                <a:gd name="connsiteY53" fmla="*/ 568275 h 3498714"/>
                <a:gd name="connsiteX54" fmla="*/ 398645 w 2842751"/>
                <a:gd name="connsiteY54" fmla="*/ 284138 h 3498714"/>
                <a:gd name="connsiteX55" fmla="*/ 682782 w 2842751"/>
                <a:gd name="connsiteY55" fmla="*/ 0 h 3498714"/>
                <a:gd name="connsiteX56" fmla="*/ 2589325 w 2842751"/>
                <a:gd name="connsiteY56" fmla="*/ 3124562 h 3498714"/>
                <a:gd name="connsiteX57" fmla="*/ 2589325 w 2842751"/>
                <a:gd name="connsiteY57" fmla="*/ 3361625 h 3498714"/>
                <a:gd name="connsiteX58" fmla="*/ 2480313 w 2842751"/>
                <a:gd name="connsiteY58" fmla="*/ 3470637 h 3498714"/>
                <a:gd name="connsiteX59" fmla="*/ 2279239 w 2842751"/>
                <a:gd name="connsiteY59" fmla="*/ 3470637 h 3498714"/>
                <a:gd name="connsiteX60" fmla="*/ 2170227 w 2842751"/>
                <a:gd name="connsiteY60" fmla="*/ 3361625 h 3498714"/>
                <a:gd name="connsiteX61" fmla="*/ 2170227 w 2842751"/>
                <a:gd name="connsiteY61" fmla="*/ 3124562 h 3498714"/>
                <a:gd name="connsiteX62" fmla="*/ 2052754 w 2842751"/>
                <a:gd name="connsiteY62" fmla="*/ 3124562 h 3498714"/>
                <a:gd name="connsiteX63" fmla="*/ 1941629 w 2842751"/>
                <a:gd name="connsiteY63" fmla="*/ 3013437 h 3498714"/>
                <a:gd name="connsiteX64" fmla="*/ 2052754 w 2842751"/>
                <a:gd name="connsiteY64" fmla="*/ 2902312 h 3498714"/>
                <a:gd name="connsiteX65" fmla="*/ 682782 w 2842751"/>
                <a:gd name="connsiteY65" fmla="*/ 0 h 3498714"/>
                <a:gd name="connsiteX0" fmla="*/ 2842751 w 2842751"/>
                <a:gd name="connsiteY0" fmla="*/ 1749356 h 3498714"/>
                <a:gd name="connsiteX1" fmla="*/ 2392797 w 2842751"/>
                <a:gd name="connsiteY1" fmla="*/ 1878907 h 3498714"/>
                <a:gd name="connsiteX2" fmla="*/ 2478781 w 2842751"/>
                <a:gd name="connsiteY2" fmla="*/ 1920808 h 3498714"/>
                <a:gd name="connsiteX3" fmla="*/ 2842751 w 2842751"/>
                <a:gd name="connsiteY3" fmla="*/ 1749356 h 3498714"/>
                <a:gd name="connsiteX4" fmla="*/ 2534724 w 2842751"/>
                <a:gd name="connsiteY4" fmla="*/ 982297 h 3498714"/>
                <a:gd name="connsiteX5" fmla="*/ 2217440 w 2842751"/>
                <a:gd name="connsiteY5" fmla="*/ 1856216 h 3498714"/>
                <a:gd name="connsiteX6" fmla="*/ 2534724 w 2842751"/>
                <a:gd name="connsiteY6" fmla="*/ 982297 h 3498714"/>
                <a:gd name="connsiteX7" fmla="*/ 358791 w 2842751"/>
                <a:gd name="connsiteY7" fmla="*/ 644545 h 3498714"/>
                <a:gd name="connsiteX8" fmla="*/ 1006774 w 2842751"/>
                <a:gd name="connsiteY8" fmla="*/ 644545 h 3498714"/>
                <a:gd name="connsiteX9" fmla="*/ 1542636 w 2842751"/>
                <a:gd name="connsiteY9" fmla="*/ 1193969 h 3498714"/>
                <a:gd name="connsiteX10" fmla="*/ 1929878 w 2842751"/>
                <a:gd name="connsiteY10" fmla="*/ 1193970 h 3498714"/>
                <a:gd name="connsiteX11" fmla="*/ 2070059 w 2842751"/>
                <a:gd name="connsiteY11" fmla="*/ 1334152 h 3498714"/>
                <a:gd name="connsiteX12" fmla="*/ 1929878 w 2842751"/>
                <a:gd name="connsiteY12" fmla="*/ 1474333 h 3498714"/>
                <a:gd name="connsiteX13" fmla="*/ 1520943 w 2842751"/>
                <a:gd name="connsiteY13" fmla="*/ 1470388 h 3498714"/>
                <a:gd name="connsiteX14" fmla="*/ 1332825 w 2842751"/>
                <a:gd name="connsiteY14" fmla="*/ 1367201 h 3498714"/>
                <a:gd name="connsiteX15" fmla="*/ 1106501 w 2842751"/>
                <a:gd name="connsiteY15" fmla="*/ 1098289 h 3498714"/>
                <a:gd name="connsiteX16" fmla="*/ 1101049 w 2842751"/>
                <a:gd name="connsiteY16" fmla="*/ 1092836 h 3498714"/>
                <a:gd name="connsiteX17" fmla="*/ 1046523 w 2842751"/>
                <a:gd name="connsiteY17" fmla="*/ 1092836 h 3498714"/>
                <a:gd name="connsiteX18" fmla="*/ 1041071 w 2842751"/>
                <a:gd name="connsiteY18" fmla="*/ 1098289 h 3498714"/>
                <a:gd name="connsiteX19" fmla="*/ 1042136 w 2842751"/>
                <a:gd name="connsiteY19" fmla="*/ 1419754 h 3498714"/>
                <a:gd name="connsiteX20" fmla="*/ 1042136 w 2842751"/>
                <a:gd name="connsiteY20" fmla="*/ 3337652 h 3498714"/>
                <a:gd name="connsiteX21" fmla="*/ 881075 w 2842751"/>
                <a:gd name="connsiteY21" fmla="*/ 3498714 h 3498714"/>
                <a:gd name="connsiteX22" fmla="*/ 720012 w 2842751"/>
                <a:gd name="connsiteY22" fmla="*/ 3337652 h 3498714"/>
                <a:gd name="connsiteX23" fmla="*/ 720012 w 2842751"/>
                <a:gd name="connsiteY23" fmla="*/ 2125717 h 3498714"/>
                <a:gd name="connsiteX24" fmla="*/ 718947 w 2842751"/>
                <a:gd name="connsiteY24" fmla="*/ 2033194 h 3498714"/>
                <a:gd name="connsiteX25" fmla="*/ 714162 w 2842751"/>
                <a:gd name="connsiteY25" fmla="*/ 2028410 h 3498714"/>
                <a:gd name="connsiteX26" fmla="*/ 654759 w 2842751"/>
                <a:gd name="connsiteY26" fmla="*/ 2028410 h 3498714"/>
                <a:gd name="connsiteX27" fmla="*/ 649974 w 2842751"/>
                <a:gd name="connsiteY27" fmla="*/ 2033194 h 3498714"/>
                <a:gd name="connsiteX28" fmla="*/ 649974 w 2842751"/>
                <a:gd name="connsiteY28" fmla="*/ 2125717 h 3498714"/>
                <a:gd name="connsiteX29" fmla="*/ 649574 w 2842751"/>
                <a:gd name="connsiteY29" fmla="*/ 3337652 h 3498714"/>
                <a:gd name="connsiteX30" fmla="*/ 488511 w 2842751"/>
                <a:gd name="connsiteY30" fmla="*/ 3498714 h 3498714"/>
                <a:gd name="connsiteX31" fmla="*/ 327450 w 2842751"/>
                <a:gd name="connsiteY31" fmla="*/ 3337652 h 3498714"/>
                <a:gd name="connsiteX32" fmla="*/ 327450 w 2842751"/>
                <a:gd name="connsiteY32" fmla="*/ 1458216 h 3498714"/>
                <a:gd name="connsiteX33" fmla="*/ 322427 w 2842751"/>
                <a:gd name="connsiteY33" fmla="*/ 1098205 h 3498714"/>
                <a:gd name="connsiteX34" fmla="*/ 317058 w 2842751"/>
                <a:gd name="connsiteY34" fmla="*/ 1092836 h 3498714"/>
                <a:gd name="connsiteX35" fmla="*/ 263371 w 2842751"/>
                <a:gd name="connsiteY35" fmla="*/ 1092836 h 3498714"/>
                <a:gd name="connsiteX36" fmla="*/ 258001 w 2842751"/>
                <a:gd name="connsiteY36" fmla="*/ 1098205 h 3498714"/>
                <a:gd name="connsiteX37" fmla="*/ 258001 w 2842751"/>
                <a:gd name="connsiteY37" fmla="*/ 1444446 h 3498714"/>
                <a:gd name="connsiteX38" fmla="*/ 257700 w 2842751"/>
                <a:gd name="connsiteY38" fmla="*/ 1444370 h 3498714"/>
                <a:gd name="connsiteX39" fmla="*/ 257700 w 2842751"/>
                <a:gd name="connsiteY39" fmla="*/ 1912573 h 3498714"/>
                <a:gd name="connsiteX40" fmla="*/ 128850 w 2842751"/>
                <a:gd name="connsiteY40" fmla="*/ 2041423 h 3498714"/>
                <a:gd name="connsiteX41" fmla="*/ 0 w 2842751"/>
                <a:gd name="connsiteY41" fmla="*/ 1912573 h 3498714"/>
                <a:gd name="connsiteX42" fmla="*/ 0 w 2842751"/>
                <a:gd name="connsiteY42" fmla="*/ 1101802 h 3498714"/>
                <a:gd name="connsiteX43" fmla="*/ 0 w 2842751"/>
                <a:gd name="connsiteY43" fmla="*/ 1003338 h 3498714"/>
                <a:gd name="connsiteX44" fmla="*/ 0 w 2842751"/>
                <a:gd name="connsiteY44" fmla="*/ 982486 h 3498714"/>
                <a:gd name="connsiteX45" fmla="*/ 12733 w 2842751"/>
                <a:gd name="connsiteY45" fmla="*/ 894663 h 3498714"/>
                <a:gd name="connsiteX46" fmla="*/ 20539 w 2842751"/>
                <a:gd name="connsiteY46" fmla="*/ 868773 h 3498714"/>
                <a:gd name="connsiteX47" fmla="*/ 358791 w 2842751"/>
                <a:gd name="connsiteY47" fmla="*/ 644545 h 3498714"/>
                <a:gd name="connsiteX48" fmla="*/ 682782 w 2842751"/>
                <a:gd name="connsiteY48" fmla="*/ 0 h 3498714"/>
                <a:gd name="connsiteX49" fmla="*/ 966919 w 2842751"/>
                <a:gd name="connsiteY49" fmla="*/ 284138 h 3498714"/>
                <a:gd name="connsiteX50" fmla="*/ 682782 w 2842751"/>
                <a:gd name="connsiteY50" fmla="*/ 568275 h 3498714"/>
                <a:gd name="connsiteX51" fmla="*/ 398645 w 2842751"/>
                <a:gd name="connsiteY51" fmla="*/ 284138 h 3498714"/>
                <a:gd name="connsiteX52" fmla="*/ 682782 w 2842751"/>
                <a:gd name="connsiteY52" fmla="*/ 0 h 3498714"/>
                <a:gd name="connsiteX53" fmla="*/ 2589325 w 2842751"/>
                <a:gd name="connsiteY53" fmla="*/ 3124562 h 3498714"/>
                <a:gd name="connsiteX54" fmla="*/ 2589325 w 2842751"/>
                <a:gd name="connsiteY54" fmla="*/ 3361625 h 3498714"/>
                <a:gd name="connsiteX55" fmla="*/ 2480313 w 2842751"/>
                <a:gd name="connsiteY55" fmla="*/ 3470637 h 3498714"/>
                <a:gd name="connsiteX56" fmla="*/ 2279239 w 2842751"/>
                <a:gd name="connsiteY56" fmla="*/ 3470637 h 3498714"/>
                <a:gd name="connsiteX57" fmla="*/ 2170227 w 2842751"/>
                <a:gd name="connsiteY57" fmla="*/ 3361625 h 3498714"/>
                <a:gd name="connsiteX58" fmla="*/ 2170227 w 2842751"/>
                <a:gd name="connsiteY58" fmla="*/ 3124562 h 3498714"/>
                <a:gd name="connsiteX59" fmla="*/ 2052754 w 2842751"/>
                <a:gd name="connsiteY59" fmla="*/ 3124562 h 3498714"/>
                <a:gd name="connsiteX60" fmla="*/ 1941629 w 2842751"/>
                <a:gd name="connsiteY60" fmla="*/ 3013437 h 3498714"/>
                <a:gd name="connsiteX61" fmla="*/ 2052754 w 2842751"/>
                <a:gd name="connsiteY61" fmla="*/ 2902312 h 3498714"/>
                <a:gd name="connsiteX62" fmla="*/ 682782 w 2842751"/>
                <a:gd name="connsiteY62" fmla="*/ 0 h 3498714"/>
                <a:gd name="connsiteX0" fmla="*/ 2842751 w 2842751"/>
                <a:gd name="connsiteY0" fmla="*/ 1749356 h 3498714"/>
                <a:gd name="connsiteX1" fmla="*/ 2392797 w 2842751"/>
                <a:gd name="connsiteY1" fmla="*/ 1878907 h 3498714"/>
                <a:gd name="connsiteX2" fmla="*/ 2478781 w 2842751"/>
                <a:gd name="connsiteY2" fmla="*/ 1920808 h 3498714"/>
                <a:gd name="connsiteX3" fmla="*/ 2842751 w 2842751"/>
                <a:gd name="connsiteY3" fmla="*/ 1749356 h 3498714"/>
                <a:gd name="connsiteX4" fmla="*/ 358791 w 2842751"/>
                <a:gd name="connsiteY4" fmla="*/ 644545 h 3498714"/>
                <a:gd name="connsiteX5" fmla="*/ 1006774 w 2842751"/>
                <a:gd name="connsiteY5" fmla="*/ 644545 h 3498714"/>
                <a:gd name="connsiteX6" fmla="*/ 1542636 w 2842751"/>
                <a:gd name="connsiteY6" fmla="*/ 1193969 h 3498714"/>
                <a:gd name="connsiteX7" fmla="*/ 1929878 w 2842751"/>
                <a:gd name="connsiteY7" fmla="*/ 1193970 h 3498714"/>
                <a:gd name="connsiteX8" fmla="*/ 2070059 w 2842751"/>
                <a:gd name="connsiteY8" fmla="*/ 1334152 h 3498714"/>
                <a:gd name="connsiteX9" fmla="*/ 1929878 w 2842751"/>
                <a:gd name="connsiteY9" fmla="*/ 1474333 h 3498714"/>
                <a:gd name="connsiteX10" fmla="*/ 1520943 w 2842751"/>
                <a:gd name="connsiteY10" fmla="*/ 1470388 h 3498714"/>
                <a:gd name="connsiteX11" fmla="*/ 1332825 w 2842751"/>
                <a:gd name="connsiteY11" fmla="*/ 1367201 h 3498714"/>
                <a:gd name="connsiteX12" fmla="*/ 1106501 w 2842751"/>
                <a:gd name="connsiteY12" fmla="*/ 1098289 h 3498714"/>
                <a:gd name="connsiteX13" fmla="*/ 1101049 w 2842751"/>
                <a:gd name="connsiteY13" fmla="*/ 1092836 h 3498714"/>
                <a:gd name="connsiteX14" fmla="*/ 1046523 w 2842751"/>
                <a:gd name="connsiteY14" fmla="*/ 1092836 h 3498714"/>
                <a:gd name="connsiteX15" fmla="*/ 1041071 w 2842751"/>
                <a:gd name="connsiteY15" fmla="*/ 1098289 h 3498714"/>
                <a:gd name="connsiteX16" fmla="*/ 1042136 w 2842751"/>
                <a:gd name="connsiteY16" fmla="*/ 1419754 h 3498714"/>
                <a:gd name="connsiteX17" fmla="*/ 1042136 w 2842751"/>
                <a:gd name="connsiteY17" fmla="*/ 3337652 h 3498714"/>
                <a:gd name="connsiteX18" fmla="*/ 881075 w 2842751"/>
                <a:gd name="connsiteY18" fmla="*/ 3498714 h 3498714"/>
                <a:gd name="connsiteX19" fmla="*/ 720012 w 2842751"/>
                <a:gd name="connsiteY19" fmla="*/ 3337652 h 3498714"/>
                <a:gd name="connsiteX20" fmla="*/ 720012 w 2842751"/>
                <a:gd name="connsiteY20" fmla="*/ 2125717 h 3498714"/>
                <a:gd name="connsiteX21" fmla="*/ 718947 w 2842751"/>
                <a:gd name="connsiteY21" fmla="*/ 2033194 h 3498714"/>
                <a:gd name="connsiteX22" fmla="*/ 714162 w 2842751"/>
                <a:gd name="connsiteY22" fmla="*/ 2028410 h 3498714"/>
                <a:gd name="connsiteX23" fmla="*/ 654759 w 2842751"/>
                <a:gd name="connsiteY23" fmla="*/ 2028410 h 3498714"/>
                <a:gd name="connsiteX24" fmla="*/ 649974 w 2842751"/>
                <a:gd name="connsiteY24" fmla="*/ 2033194 h 3498714"/>
                <a:gd name="connsiteX25" fmla="*/ 649974 w 2842751"/>
                <a:gd name="connsiteY25" fmla="*/ 2125717 h 3498714"/>
                <a:gd name="connsiteX26" fmla="*/ 649574 w 2842751"/>
                <a:gd name="connsiteY26" fmla="*/ 3337652 h 3498714"/>
                <a:gd name="connsiteX27" fmla="*/ 488511 w 2842751"/>
                <a:gd name="connsiteY27" fmla="*/ 3498714 h 3498714"/>
                <a:gd name="connsiteX28" fmla="*/ 327450 w 2842751"/>
                <a:gd name="connsiteY28" fmla="*/ 3337652 h 3498714"/>
                <a:gd name="connsiteX29" fmla="*/ 327450 w 2842751"/>
                <a:gd name="connsiteY29" fmla="*/ 1458216 h 3498714"/>
                <a:gd name="connsiteX30" fmla="*/ 322427 w 2842751"/>
                <a:gd name="connsiteY30" fmla="*/ 1098205 h 3498714"/>
                <a:gd name="connsiteX31" fmla="*/ 317058 w 2842751"/>
                <a:gd name="connsiteY31" fmla="*/ 1092836 h 3498714"/>
                <a:gd name="connsiteX32" fmla="*/ 263371 w 2842751"/>
                <a:gd name="connsiteY32" fmla="*/ 1092836 h 3498714"/>
                <a:gd name="connsiteX33" fmla="*/ 258001 w 2842751"/>
                <a:gd name="connsiteY33" fmla="*/ 1098205 h 3498714"/>
                <a:gd name="connsiteX34" fmla="*/ 258001 w 2842751"/>
                <a:gd name="connsiteY34" fmla="*/ 1444446 h 3498714"/>
                <a:gd name="connsiteX35" fmla="*/ 257700 w 2842751"/>
                <a:gd name="connsiteY35" fmla="*/ 1444370 h 3498714"/>
                <a:gd name="connsiteX36" fmla="*/ 257700 w 2842751"/>
                <a:gd name="connsiteY36" fmla="*/ 1912573 h 3498714"/>
                <a:gd name="connsiteX37" fmla="*/ 128850 w 2842751"/>
                <a:gd name="connsiteY37" fmla="*/ 2041423 h 3498714"/>
                <a:gd name="connsiteX38" fmla="*/ 0 w 2842751"/>
                <a:gd name="connsiteY38" fmla="*/ 1912573 h 3498714"/>
                <a:gd name="connsiteX39" fmla="*/ 0 w 2842751"/>
                <a:gd name="connsiteY39" fmla="*/ 1101802 h 3498714"/>
                <a:gd name="connsiteX40" fmla="*/ 0 w 2842751"/>
                <a:gd name="connsiteY40" fmla="*/ 1003338 h 3498714"/>
                <a:gd name="connsiteX41" fmla="*/ 0 w 2842751"/>
                <a:gd name="connsiteY41" fmla="*/ 982486 h 3498714"/>
                <a:gd name="connsiteX42" fmla="*/ 12733 w 2842751"/>
                <a:gd name="connsiteY42" fmla="*/ 894663 h 3498714"/>
                <a:gd name="connsiteX43" fmla="*/ 20539 w 2842751"/>
                <a:gd name="connsiteY43" fmla="*/ 868773 h 3498714"/>
                <a:gd name="connsiteX44" fmla="*/ 358791 w 2842751"/>
                <a:gd name="connsiteY44" fmla="*/ 644545 h 3498714"/>
                <a:gd name="connsiteX45" fmla="*/ 682782 w 2842751"/>
                <a:gd name="connsiteY45" fmla="*/ 0 h 3498714"/>
                <a:gd name="connsiteX46" fmla="*/ 966919 w 2842751"/>
                <a:gd name="connsiteY46" fmla="*/ 284138 h 3498714"/>
                <a:gd name="connsiteX47" fmla="*/ 682782 w 2842751"/>
                <a:gd name="connsiteY47" fmla="*/ 568275 h 3498714"/>
                <a:gd name="connsiteX48" fmla="*/ 398645 w 2842751"/>
                <a:gd name="connsiteY48" fmla="*/ 284138 h 3498714"/>
                <a:gd name="connsiteX49" fmla="*/ 682782 w 2842751"/>
                <a:gd name="connsiteY49" fmla="*/ 0 h 3498714"/>
                <a:gd name="connsiteX50" fmla="*/ 2589325 w 2842751"/>
                <a:gd name="connsiteY50" fmla="*/ 3124562 h 3498714"/>
                <a:gd name="connsiteX51" fmla="*/ 2589325 w 2842751"/>
                <a:gd name="connsiteY51" fmla="*/ 3361625 h 3498714"/>
                <a:gd name="connsiteX52" fmla="*/ 2480313 w 2842751"/>
                <a:gd name="connsiteY52" fmla="*/ 3470637 h 3498714"/>
                <a:gd name="connsiteX53" fmla="*/ 2279239 w 2842751"/>
                <a:gd name="connsiteY53" fmla="*/ 3470637 h 3498714"/>
                <a:gd name="connsiteX54" fmla="*/ 2170227 w 2842751"/>
                <a:gd name="connsiteY54" fmla="*/ 3361625 h 3498714"/>
                <a:gd name="connsiteX55" fmla="*/ 2170227 w 2842751"/>
                <a:gd name="connsiteY55" fmla="*/ 3124562 h 3498714"/>
                <a:gd name="connsiteX56" fmla="*/ 2052754 w 2842751"/>
                <a:gd name="connsiteY56" fmla="*/ 3124562 h 3498714"/>
                <a:gd name="connsiteX57" fmla="*/ 1941629 w 2842751"/>
                <a:gd name="connsiteY57" fmla="*/ 3013437 h 3498714"/>
                <a:gd name="connsiteX58" fmla="*/ 2052754 w 2842751"/>
                <a:gd name="connsiteY58" fmla="*/ 2902312 h 3498714"/>
                <a:gd name="connsiteX59" fmla="*/ 682782 w 2842751"/>
                <a:gd name="connsiteY59" fmla="*/ 0 h 3498714"/>
                <a:gd name="connsiteX0" fmla="*/ 2478781 w 2589325"/>
                <a:gd name="connsiteY0" fmla="*/ 1920808 h 3498714"/>
                <a:gd name="connsiteX1" fmla="*/ 2392797 w 2589325"/>
                <a:gd name="connsiteY1" fmla="*/ 1878907 h 3498714"/>
                <a:gd name="connsiteX2" fmla="*/ 2478781 w 2589325"/>
                <a:gd name="connsiteY2" fmla="*/ 1920808 h 3498714"/>
                <a:gd name="connsiteX3" fmla="*/ 358791 w 2589325"/>
                <a:gd name="connsiteY3" fmla="*/ 644545 h 3498714"/>
                <a:gd name="connsiteX4" fmla="*/ 1006774 w 2589325"/>
                <a:gd name="connsiteY4" fmla="*/ 644545 h 3498714"/>
                <a:gd name="connsiteX5" fmla="*/ 1542636 w 2589325"/>
                <a:gd name="connsiteY5" fmla="*/ 1193969 h 3498714"/>
                <a:gd name="connsiteX6" fmla="*/ 1929878 w 2589325"/>
                <a:gd name="connsiteY6" fmla="*/ 1193970 h 3498714"/>
                <a:gd name="connsiteX7" fmla="*/ 2070059 w 2589325"/>
                <a:gd name="connsiteY7" fmla="*/ 1334152 h 3498714"/>
                <a:gd name="connsiteX8" fmla="*/ 1929878 w 2589325"/>
                <a:gd name="connsiteY8" fmla="*/ 1474333 h 3498714"/>
                <a:gd name="connsiteX9" fmla="*/ 1520943 w 2589325"/>
                <a:gd name="connsiteY9" fmla="*/ 1470388 h 3498714"/>
                <a:gd name="connsiteX10" fmla="*/ 1332825 w 2589325"/>
                <a:gd name="connsiteY10" fmla="*/ 1367201 h 3498714"/>
                <a:gd name="connsiteX11" fmla="*/ 1106501 w 2589325"/>
                <a:gd name="connsiteY11" fmla="*/ 1098289 h 3498714"/>
                <a:gd name="connsiteX12" fmla="*/ 1101049 w 2589325"/>
                <a:gd name="connsiteY12" fmla="*/ 1092836 h 3498714"/>
                <a:gd name="connsiteX13" fmla="*/ 1046523 w 2589325"/>
                <a:gd name="connsiteY13" fmla="*/ 1092836 h 3498714"/>
                <a:gd name="connsiteX14" fmla="*/ 1041071 w 2589325"/>
                <a:gd name="connsiteY14" fmla="*/ 1098289 h 3498714"/>
                <a:gd name="connsiteX15" fmla="*/ 1042136 w 2589325"/>
                <a:gd name="connsiteY15" fmla="*/ 1419754 h 3498714"/>
                <a:gd name="connsiteX16" fmla="*/ 1042136 w 2589325"/>
                <a:gd name="connsiteY16" fmla="*/ 3337652 h 3498714"/>
                <a:gd name="connsiteX17" fmla="*/ 881075 w 2589325"/>
                <a:gd name="connsiteY17" fmla="*/ 3498714 h 3498714"/>
                <a:gd name="connsiteX18" fmla="*/ 720012 w 2589325"/>
                <a:gd name="connsiteY18" fmla="*/ 3337652 h 3498714"/>
                <a:gd name="connsiteX19" fmla="*/ 720012 w 2589325"/>
                <a:gd name="connsiteY19" fmla="*/ 2125717 h 3498714"/>
                <a:gd name="connsiteX20" fmla="*/ 718947 w 2589325"/>
                <a:gd name="connsiteY20" fmla="*/ 2033194 h 3498714"/>
                <a:gd name="connsiteX21" fmla="*/ 714162 w 2589325"/>
                <a:gd name="connsiteY21" fmla="*/ 2028410 h 3498714"/>
                <a:gd name="connsiteX22" fmla="*/ 654759 w 2589325"/>
                <a:gd name="connsiteY22" fmla="*/ 2028410 h 3498714"/>
                <a:gd name="connsiteX23" fmla="*/ 649974 w 2589325"/>
                <a:gd name="connsiteY23" fmla="*/ 2033194 h 3498714"/>
                <a:gd name="connsiteX24" fmla="*/ 649974 w 2589325"/>
                <a:gd name="connsiteY24" fmla="*/ 2125717 h 3498714"/>
                <a:gd name="connsiteX25" fmla="*/ 649574 w 2589325"/>
                <a:gd name="connsiteY25" fmla="*/ 3337652 h 3498714"/>
                <a:gd name="connsiteX26" fmla="*/ 488511 w 2589325"/>
                <a:gd name="connsiteY26" fmla="*/ 3498714 h 3498714"/>
                <a:gd name="connsiteX27" fmla="*/ 327450 w 2589325"/>
                <a:gd name="connsiteY27" fmla="*/ 3337652 h 3498714"/>
                <a:gd name="connsiteX28" fmla="*/ 327450 w 2589325"/>
                <a:gd name="connsiteY28" fmla="*/ 1458216 h 3498714"/>
                <a:gd name="connsiteX29" fmla="*/ 322427 w 2589325"/>
                <a:gd name="connsiteY29" fmla="*/ 1098205 h 3498714"/>
                <a:gd name="connsiteX30" fmla="*/ 317058 w 2589325"/>
                <a:gd name="connsiteY30" fmla="*/ 1092836 h 3498714"/>
                <a:gd name="connsiteX31" fmla="*/ 263371 w 2589325"/>
                <a:gd name="connsiteY31" fmla="*/ 1092836 h 3498714"/>
                <a:gd name="connsiteX32" fmla="*/ 258001 w 2589325"/>
                <a:gd name="connsiteY32" fmla="*/ 1098205 h 3498714"/>
                <a:gd name="connsiteX33" fmla="*/ 258001 w 2589325"/>
                <a:gd name="connsiteY33" fmla="*/ 1444446 h 3498714"/>
                <a:gd name="connsiteX34" fmla="*/ 257700 w 2589325"/>
                <a:gd name="connsiteY34" fmla="*/ 1444370 h 3498714"/>
                <a:gd name="connsiteX35" fmla="*/ 257700 w 2589325"/>
                <a:gd name="connsiteY35" fmla="*/ 1912573 h 3498714"/>
                <a:gd name="connsiteX36" fmla="*/ 128850 w 2589325"/>
                <a:gd name="connsiteY36" fmla="*/ 2041423 h 3498714"/>
                <a:gd name="connsiteX37" fmla="*/ 0 w 2589325"/>
                <a:gd name="connsiteY37" fmla="*/ 1912573 h 3498714"/>
                <a:gd name="connsiteX38" fmla="*/ 0 w 2589325"/>
                <a:gd name="connsiteY38" fmla="*/ 1101802 h 3498714"/>
                <a:gd name="connsiteX39" fmla="*/ 0 w 2589325"/>
                <a:gd name="connsiteY39" fmla="*/ 1003338 h 3498714"/>
                <a:gd name="connsiteX40" fmla="*/ 0 w 2589325"/>
                <a:gd name="connsiteY40" fmla="*/ 982486 h 3498714"/>
                <a:gd name="connsiteX41" fmla="*/ 12733 w 2589325"/>
                <a:gd name="connsiteY41" fmla="*/ 894663 h 3498714"/>
                <a:gd name="connsiteX42" fmla="*/ 20539 w 2589325"/>
                <a:gd name="connsiteY42" fmla="*/ 868773 h 3498714"/>
                <a:gd name="connsiteX43" fmla="*/ 358791 w 2589325"/>
                <a:gd name="connsiteY43" fmla="*/ 644545 h 3498714"/>
                <a:gd name="connsiteX44" fmla="*/ 682782 w 2589325"/>
                <a:gd name="connsiteY44" fmla="*/ 0 h 3498714"/>
                <a:gd name="connsiteX45" fmla="*/ 966919 w 2589325"/>
                <a:gd name="connsiteY45" fmla="*/ 284138 h 3498714"/>
                <a:gd name="connsiteX46" fmla="*/ 682782 w 2589325"/>
                <a:gd name="connsiteY46" fmla="*/ 568275 h 3498714"/>
                <a:gd name="connsiteX47" fmla="*/ 398645 w 2589325"/>
                <a:gd name="connsiteY47" fmla="*/ 284138 h 3498714"/>
                <a:gd name="connsiteX48" fmla="*/ 682782 w 2589325"/>
                <a:gd name="connsiteY48" fmla="*/ 0 h 3498714"/>
                <a:gd name="connsiteX49" fmla="*/ 2589325 w 2589325"/>
                <a:gd name="connsiteY49" fmla="*/ 3124562 h 3498714"/>
                <a:gd name="connsiteX50" fmla="*/ 2589325 w 2589325"/>
                <a:gd name="connsiteY50" fmla="*/ 3361625 h 3498714"/>
                <a:gd name="connsiteX51" fmla="*/ 2480313 w 2589325"/>
                <a:gd name="connsiteY51" fmla="*/ 3470637 h 3498714"/>
                <a:gd name="connsiteX52" fmla="*/ 2279239 w 2589325"/>
                <a:gd name="connsiteY52" fmla="*/ 3470637 h 3498714"/>
                <a:gd name="connsiteX53" fmla="*/ 2170227 w 2589325"/>
                <a:gd name="connsiteY53" fmla="*/ 3361625 h 3498714"/>
                <a:gd name="connsiteX54" fmla="*/ 2170227 w 2589325"/>
                <a:gd name="connsiteY54" fmla="*/ 3124562 h 3498714"/>
                <a:gd name="connsiteX55" fmla="*/ 2052754 w 2589325"/>
                <a:gd name="connsiteY55" fmla="*/ 3124562 h 3498714"/>
                <a:gd name="connsiteX56" fmla="*/ 1941629 w 2589325"/>
                <a:gd name="connsiteY56" fmla="*/ 3013437 h 3498714"/>
                <a:gd name="connsiteX57" fmla="*/ 2052754 w 2589325"/>
                <a:gd name="connsiteY57" fmla="*/ 2902312 h 3498714"/>
                <a:gd name="connsiteX58" fmla="*/ 682782 w 2589325"/>
                <a:gd name="connsiteY58" fmla="*/ 0 h 3498714"/>
                <a:gd name="connsiteX0" fmla="*/ 358791 w 2589325"/>
                <a:gd name="connsiteY0" fmla="*/ 644545 h 3498714"/>
                <a:gd name="connsiteX1" fmla="*/ 1006774 w 2589325"/>
                <a:gd name="connsiteY1" fmla="*/ 644545 h 3498714"/>
                <a:gd name="connsiteX2" fmla="*/ 1542636 w 2589325"/>
                <a:gd name="connsiteY2" fmla="*/ 1193969 h 3498714"/>
                <a:gd name="connsiteX3" fmla="*/ 1929878 w 2589325"/>
                <a:gd name="connsiteY3" fmla="*/ 1193970 h 3498714"/>
                <a:gd name="connsiteX4" fmla="*/ 2070059 w 2589325"/>
                <a:gd name="connsiteY4" fmla="*/ 1334152 h 3498714"/>
                <a:gd name="connsiteX5" fmla="*/ 1929878 w 2589325"/>
                <a:gd name="connsiteY5" fmla="*/ 1474333 h 3498714"/>
                <a:gd name="connsiteX6" fmla="*/ 1520943 w 2589325"/>
                <a:gd name="connsiteY6" fmla="*/ 1470388 h 3498714"/>
                <a:gd name="connsiteX7" fmla="*/ 1332825 w 2589325"/>
                <a:gd name="connsiteY7" fmla="*/ 1367201 h 3498714"/>
                <a:gd name="connsiteX8" fmla="*/ 1106501 w 2589325"/>
                <a:gd name="connsiteY8" fmla="*/ 1098289 h 3498714"/>
                <a:gd name="connsiteX9" fmla="*/ 1101049 w 2589325"/>
                <a:gd name="connsiteY9" fmla="*/ 1092836 h 3498714"/>
                <a:gd name="connsiteX10" fmla="*/ 1046523 w 2589325"/>
                <a:gd name="connsiteY10" fmla="*/ 1092836 h 3498714"/>
                <a:gd name="connsiteX11" fmla="*/ 1041071 w 2589325"/>
                <a:gd name="connsiteY11" fmla="*/ 1098289 h 3498714"/>
                <a:gd name="connsiteX12" fmla="*/ 1042136 w 2589325"/>
                <a:gd name="connsiteY12" fmla="*/ 1419754 h 3498714"/>
                <a:gd name="connsiteX13" fmla="*/ 1042136 w 2589325"/>
                <a:gd name="connsiteY13" fmla="*/ 3337652 h 3498714"/>
                <a:gd name="connsiteX14" fmla="*/ 881075 w 2589325"/>
                <a:gd name="connsiteY14" fmla="*/ 3498714 h 3498714"/>
                <a:gd name="connsiteX15" fmla="*/ 720012 w 2589325"/>
                <a:gd name="connsiteY15" fmla="*/ 3337652 h 3498714"/>
                <a:gd name="connsiteX16" fmla="*/ 720012 w 2589325"/>
                <a:gd name="connsiteY16" fmla="*/ 2125717 h 3498714"/>
                <a:gd name="connsiteX17" fmla="*/ 718947 w 2589325"/>
                <a:gd name="connsiteY17" fmla="*/ 2033194 h 3498714"/>
                <a:gd name="connsiteX18" fmla="*/ 714162 w 2589325"/>
                <a:gd name="connsiteY18" fmla="*/ 2028410 h 3498714"/>
                <a:gd name="connsiteX19" fmla="*/ 654759 w 2589325"/>
                <a:gd name="connsiteY19" fmla="*/ 2028410 h 3498714"/>
                <a:gd name="connsiteX20" fmla="*/ 649974 w 2589325"/>
                <a:gd name="connsiteY20" fmla="*/ 2033194 h 3498714"/>
                <a:gd name="connsiteX21" fmla="*/ 649974 w 2589325"/>
                <a:gd name="connsiteY21" fmla="*/ 2125717 h 3498714"/>
                <a:gd name="connsiteX22" fmla="*/ 649574 w 2589325"/>
                <a:gd name="connsiteY22" fmla="*/ 3337652 h 3498714"/>
                <a:gd name="connsiteX23" fmla="*/ 488511 w 2589325"/>
                <a:gd name="connsiteY23" fmla="*/ 3498714 h 3498714"/>
                <a:gd name="connsiteX24" fmla="*/ 327450 w 2589325"/>
                <a:gd name="connsiteY24" fmla="*/ 3337652 h 3498714"/>
                <a:gd name="connsiteX25" fmla="*/ 327450 w 2589325"/>
                <a:gd name="connsiteY25" fmla="*/ 1458216 h 3498714"/>
                <a:gd name="connsiteX26" fmla="*/ 322427 w 2589325"/>
                <a:gd name="connsiteY26" fmla="*/ 1098205 h 3498714"/>
                <a:gd name="connsiteX27" fmla="*/ 317058 w 2589325"/>
                <a:gd name="connsiteY27" fmla="*/ 1092836 h 3498714"/>
                <a:gd name="connsiteX28" fmla="*/ 263371 w 2589325"/>
                <a:gd name="connsiteY28" fmla="*/ 1092836 h 3498714"/>
                <a:gd name="connsiteX29" fmla="*/ 258001 w 2589325"/>
                <a:gd name="connsiteY29" fmla="*/ 1098205 h 3498714"/>
                <a:gd name="connsiteX30" fmla="*/ 258001 w 2589325"/>
                <a:gd name="connsiteY30" fmla="*/ 1444446 h 3498714"/>
                <a:gd name="connsiteX31" fmla="*/ 257700 w 2589325"/>
                <a:gd name="connsiteY31" fmla="*/ 1444370 h 3498714"/>
                <a:gd name="connsiteX32" fmla="*/ 257700 w 2589325"/>
                <a:gd name="connsiteY32" fmla="*/ 1912573 h 3498714"/>
                <a:gd name="connsiteX33" fmla="*/ 128850 w 2589325"/>
                <a:gd name="connsiteY33" fmla="*/ 2041423 h 3498714"/>
                <a:gd name="connsiteX34" fmla="*/ 0 w 2589325"/>
                <a:gd name="connsiteY34" fmla="*/ 1912573 h 3498714"/>
                <a:gd name="connsiteX35" fmla="*/ 0 w 2589325"/>
                <a:gd name="connsiteY35" fmla="*/ 1101802 h 3498714"/>
                <a:gd name="connsiteX36" fmla="*/ 0 w 2589325"/>
                <a:gd name="connsiteY36" fmla="*/ 1003338 h 3498714"/>
                <a:gd name="connsiteX37" fmla="*/ 0 w 2589325"/>
                <a:gd name="connsiteY37" fmla="*/ 982486 h 3498714"/>
                <a:gd name="connsiteX38" fmla="*/ 12733 w 2589325"/>
                <a:gd name="connsiteY38" fmla="*/ 894663 h 3498714"/>
                <a:gd name="connsiteX39" fmla="*/ 20539 w 2589325"/>
                <a:gd name="connsiteY39" fmla="*/ 868773 h 3498714"/>
                <a:gd name="connsiteX40" fmla="*/ 358791 w 2589325"/>
                <a:gd name="connsiteY40" fmla="*/ 644545 h 3498714"/>
                <a:gd name="connsiteX41" fmla="*/ 682782 w 2589325"/>
                <a:gd name="connsiteY41" fmla="*/ 0 h 3498714"/>
                <a:gd name="connsiteX42" fmla="*/ 966919 w 2589325"/>
                <a:gd name="connsiteY42" fmla="*/ 284138 h 3498714"/>
                <a:gd name="connsiteX43" fmla="*/ 682782 w 2589325"/>
                <a:gd name="connsiteY43" fmla="*/ 568275 h 3498714"/>
                <a:gd name="connsiteX44" fmla="*/ 398645 w 2589325"/>
                <a:gd name="connsiteY44" fmla="*/ 284138 h 3498714"/>
                <a:gd name="connsiteX45" fmla="*/ 682782 w 2589325"/>
                <a:gd name="connsiteY45" fmla="*/ 0 h 3498714"/>
                <a:gd name="connsiteX46" fmla="*/ 2589325 w 2589325"/>
                <a:gd name="connsiteY46" fmla="*/ 3124562 h 3498714"/>
                <a:gd name="connsiteX47" fmla="*/ 2589325 w 2589325"/>
                <a:gd name="connsiteY47" fmla="*/ 3361625 h 3498714"/>
                <a:gd name="connsiteX48" fmla="*/ 2480313 w 2589325"/>
                <a:gd name="connsiteY48" fmla="*/ 3470637 h 3498714"/>
                <a:gd name="connsiteX49" fmla="*/ 2279239 w 2589325"/>
                <a:gd name="connsiteY49" fmla="*/ 3470637 h 3498714"/>
                <a:gd name="connsiteX50" fmla="*/ 2170227 w 2589325"/>
                <a:gd name="connsiteY50" fmla="*/ 3361625 h 3498714"/>
                <a:gd name="connsiteX51" fmla="*/ 2170227 w 2589325"/>
                <a:gd name="connsiteY51" fmla="*/ 3124562 h 3498714"/>
                <a:gd name="connsiteX52" fmla="*/ 2052754 w 2589325"/>
                <a:gd name="connsiteY52" fmla="*/ 3124562 h 3498714"/>
                <a:gd name="connsiteX53" fmla="*/ 1941629 w 2589325"/>
                <a:gd name="connsiteY53" fmla="*/ 3013437 h 3498714"/>
                <a:gd name="connsiteX54" fmla="*/ 2052754 w 2589325"/>
                <a:gd name="connsiteY54" fmla="*/ 2902312 h 3498714"/>
                <a:gd name="connsiteX55" fmla="*/ 682782 w 2589325"/>
                <a:gd name="connsiteY55" fmla="*/ 0 h 3498714"/>
                <a:gd name="connsiteX0" fmla="*/ 358791 w 2589325"/>
                <a:gd name="connsiteY0" fmla="*/ 644545 h 3498714"/>
                <a:gd name="connsiteX1" fmla="*/ 1006774 w 2589325"/>
                <a:gd name="connsiteY1" fmla="*/ 644545 h 3498714"/>
                <a:gd name="connsiteX2" fmla="*/ 1542636 w 2589325"/>
                <a:gd name="connsiteY2" fmla="*/ 1193969 h 3498714"/>
                <a:gd name="connsiteX3" fmla="*/ 1929878 w 2589325"/>
                <a:gd name="connsiteY3" fmla="*/ 1193970 h 3498714"/>
                <a:gd name="connsiteX4" fmla="*/ 2070059 w 2589325"/>
                <a:gd name="connsiteY4" fmla="*/ 1334152 h 3498714"/>
                <a:gd name="connsiteX5" fmla="*/ 1929878 w 2589325"/>
                <a:gd name="connsiteY5" fmla="*/ 1474333 h 3498714"/>
                <a:gd name="connsiteX6" fmla="*/ 1520943 w 2589325"/>
                <a:gd name="connsiteY6" fmla="*/ 1470388 h 3498714"/>
                <a:gd name="connsiteX7" fmla="*/ 1332825 w 2589325"/>
                <a:gd name="connsiteY7" fmla="*/ 1367201 h 3498714"/>
                <a:gd name="connsiteX8" fmla="*/ 1106501 w 2589325"/>
                <a:gd name="connsiteY8" fmla="*/ 1098289 h 3498714"/>
                <a:gd name="connsiteX9" fmla="*/ 1101049 w 2589325"/>
                <a:gd name="connsiteY9" fmla="*/ 1092836 h 3498714"/>
                <a:gd name="connsiteX10" fmla="*/ 1046523 w 2589325"/>
                <a:gd name="connsiteY10" fmla="*/ 1092836 h 3498714"/>
                <a:gd name="connsiteX11" fmla="*/ 1041071 w 2589325"/>
                <a:gd name="connsiteY11" fmla="*/ 1098289 h 3498714"/>
                <a:gd name="connsiteX12" fmla="*/ 1042136 w 2589325"/>
                <a:gd name="connsiteY12" fmla="*/ 1419754 h 3498714"/>
                <a:gd name="connsiteX13" fmla="*/ 1042136 w 2589325"/>
                <a:gd name="connsiteY13" fmla="*/ 3337652 h 3498714"/>
                <a:gd name="connsiteX14" fmla="*/ 881075 w 2589325"/>
                <a:gd name="connsiteY14" fmla="*/ 3498714 h 3498714"/>
                <a:gd name="connsiteX15" fmla="*/ 720012 w 2589325"/>
                <a:gd name="connsiteY15" fmla="*/ 3337652 h 3498714"/>
                <a:gd name="connsiteX16" fmla="*/ 720012 w 2589325"/>
                <a:gd name="connsiteY16" fmla="*/ 2125717 h 3498714"/>
                <a:gd name="connsiteX17" fmla="*/ 718947 w 2589325"/>
                <a:gd name="connsiteY17" fmla="*/ 2033194 h 3498714"/>
                <a:gd name="connsiteX18" fmla="*/ 714162 w 2589325"/>
                <a:gd name="connsiteY18" fmla="*/ 2028410 h 3498714"/>
                <a:gd name="connsiteX19" fmla="*/ 654759 w 2589325"/>
                <a:gd name="connsiteY19" fmla="*/ 2028410 h 3498714"/>
                <a:gd name="connsiteX20" fmla="*/ 649974 w 2589325"/>
                <a:gd name="connsiteY20" fmla="*/ 2033194 h 3498714"/>
                <a:gd name="connsiteX21" fmla="*/ 649974 w 2589325"/>
                <a:gd name="connsiteY21" fmla="*/ 2125717 h 3498714"/>
                <a:gd name="connsiteX22" fmla="*/ 649574 w 2589325"/>
                <a:gd name="connsiteY22" fmla="*/ 3337652 h 3498714"/>
                <a:gd name="connsiteX23" fmla="*/ 488511 w 2589325"/>
                <a:gd name="connsiteY23" fmla="*/ 3498714 h 3498714"/>
                <a:gd name="connsiteX24" fmla="*/ 327450 w 2589325"/>
                <a:gd name="connsiteY24" fmla="*/ 3337652 h 3498714"/>
                <a:gd name="connsiteX25" fmla="*/ 327450 w 2589325"/>
                <a:gd name="connsiteY25" fmla="*/ 1458216 h 3498714"/>
                <a:gd name="connsiteX26" fmla="*/ 322427 w 2589325"/>
                <a:gd name="connsiteY26" fmla="*/ 1098205 h 3498714"/>
                <a:gd name="connsiteX27" fmla="*/ 317058 w 2589325"/>
                <a:gd name="connsiteY27" fmla="*/ 1092836 h 3498714"/>
                <a:gd name="connsiteX28" fmla="*/ 263371 w 2589325"/>
                <a:gd name="connsiteY28" fmla="*/ 1092836 h 3498714"/>
                <a:gd name="connsiteX29" fmla="*/ 258001 w 2589325"/>
                <a:gd name="connsiteY29" fmla="*/ 1098205 h 3498714"/>
                <a:gd name="connsiteX30" fmla="*/ 258001 w 2589325"/>
                <a:gd name="connsiteY30" fmla="*/ 1444446 h 3498714"/>
                <a:gd name="connsiteX31" fmla="*/ 257700 w 2589325"/>
                <a:gd name="connsiteY31" fmla="*/ 1444370 h 3498714"/>
                <a:gd name="connsiteX32" fmla="*/ 257700 w 2589325"/>
                <a:gd name="connsiteY32" fmla="*/ 1912573 h 3498714"/>
                <a:gd name="connsiteX33" fmla="*/ 128850 w 2589325"/>
                <a:gd name="connsiteY33" fmla="*/ 2041423 h 3498714"/>
                <a:gd name="connsiteX34" fmla="*/ 0 w 2589325"/>
                <a:gd name="connsiteY34" fmla="*/ 1912573 h 3498714"/>
                <a:gd name="connsiteX35" fmla="*/ 0 w 2589325"/>
                <a:gd name="connsiteY35" fmla="*/ 1101802 h 3498714"/>
                <a:gd name="connsiteX36" fmla="*/ 0 w 2589325"/>
                <a:gd name="connsiteY36" fmla="*/ 1003338 h 3498714"/>
                <a:gd name="connsiteX37" fmla="*/ 0 w 2589325"/>
                <a:gd name="connsiteY37" fmla="*/ 982486 h 3498714"/>
                <a:gd name="connsiteX38" fmla="*/ 12733 w 2589325"/>
                <a:gd name="connsiteY38" fmla="*/ 894663 h 3498714"/>
                <a:gd name="connsiteX39" fmla="*/ 20539 w 2589325"/>
                <a:gd name="connsiteY39" fmla="*/ 868773 h 3498714"/>
                <a:gd name="connsiteX40" fmla="*/ 358791 w 2589325"/>
                <a:gd name="connsiteY40" fmla="*/ 644545 h 3498714"/>
                <a:gd name="connsiteX41" fmla="*/ 682782 w 2589325"/>
                <a:gd name="connsiteY41" fmla="*/ 0 h 3498714"/>
                <a:gd name="connsiteX42" fmla="*/ 966919 w 2589325"/>
                <a:gd name="connsiteY42" fmla="*/ 284138 h 3498714"/>
                <a:gd name="connsiteX43" fmla="*/ 682782 w 2589325"/>
                <a:gd name="connsiteY43" fmla="*/ 568275 h 3498714"/>
                <a:gd name="connsiteX44" fmla="*/ 398645 w 2589325"/>
                <a:gd name="connsiteY44" fmla="*/ 284138 h 3498714"/>
                <a:gd name="connsiteX45" fmla="*/ 682782 w 2589325"/>
                <a:gd name="connsiteY45" fmla="*/ 0 h 3498714"/>
                <a:gd name="connsiteX46" fmla="*/ 2589325 w 2589325"/>
                <a:gd name="connsiteY46" fmla="*/ 3361625 h 3498714"/>
                <a:gd name="connsiteX47" fmla="*/ 2480313 w 2589325"/>
                <a:gd name="connsiteY47" fmla="*/ 3470637 h 3498714"/>
                <a:gd name="connsiteX48" fmla="*/ 2279239 w 2589325"/>
                <a:gd name="connsiteY48" fmla="*/ 3470637 h 3498714"/>
                <a:gd name="connsiteX49" fmla="*/ 2170227 w 2589325"/>
                <a:gd name="connsiteY49" fmla="*/ 3361625 h 3498714"/>
                <a:gd name="connsiteX50" fmla="*/ 2170227 w 2589325"/>
                <a:gd name="connsiteY50" fmla="*/ 3124562 h 3498714"/>
                <a:gd name="connsiteX51" fmla="*/ 2052754 w 2589325"/>
                <a:gd name="connsiteY51" fmla="*/ 3124562 h 3498714"/>
                <a:gd name="connsiteX52" fmla="*/ 1941629 w 2589325"/>
                <a:gd name="connsiteY52" fmla="*/ 3013437 h 3498714"/>
                <a:gd name="connsiteX53" fmla="*/ 2052754 w 2589325"/>
                <a:gd name="connsiteY53" fmla="*/ 2902312 h 3498714"/>
                <a:gd name="connsiteX54" fmla="*/ 682782 w 2589325"/>
                <a:gd name="connsiteY54" fmla="*/ 0 h 3498714"/>
                <a:gd name="connsiteX0" fmla="*/ 358791 w 2480313"/>
                <a:gd name="connsiteY0" fmla="*/ 644545 h 3498714"/>
                <a:gd name="connsiteX1" fmla="*/ 1006774 w 2480313"/>
                <a:gd name="connsiteY1" fmla="*/ 644545 h 3498714"/>
                <a:gd name="connsiteX2" fmla="*/ 1542636 w 2480313"/>
                <a:gd name="connsiteY2" fmla="*/ 1193969 h 3498714"/>
                <a:gd name="connsiteX3" fmla="*/ 1929878 w 2480313"/>
                <a:gd name="connsiteY3" fmla="*/ 1193970 h 3498714"/>
                <a:gd name="connsiteX4" fmla="*/ 2070059 w 2480313"/>
                <a:gd name="connsiteY4" fmla="*/ 1334152 h 3498714"/>
                <a:gd name="connsiteX5" fmla="*/ 1929878 w 2480313"/>
                <a:gd name="connsiteY5" fmla="*/ 1474333 h 3498714"/>
                <a:gd name="connsiteX6" fmla="*/ 1520943 w 2480313"/>
                <a:gd name="connsiteY6" fmla="*/ 1470388 h 3498714"/>
                <a:gd name="connsiteX7" fmla="*/ 1332825 w 2480313"/>
                <a:gd name="connsiteY7" fmla="*/ 1367201 h 3498714"/>
                <a:gd name="connsiteX8" fmla="*/ 1106501 w 2480313"/>
                <a:gd name="connsiteY8" fmla="*/ 1098289 h 3498714"/>
                <a:gd name="connsiteX9" fmla="*/ 1101049 w 2480313"/>
                <a:gd name="connsiteY9" fmla="*/ 1092836 h 3498714"/>
                <a:gd name="connsiteX10" fmla="*/ 1046523 w 2480313"/>
                <a:gd name="connsiteY10" fmla="*/ 1092836 h 3498714"/>
                <a:gd name="connsiteX11" fmla="*/ 1041071 w 2480313"/>
                <a:gd name="connsiteY11" fmla="*/ 1098289 h 3498714"/>
                <a:gd name="connsiteX12" fmla="*/ 1042136 w 2480313"/>
                <a:gd name="connsiteY12" fmla="*/ 1419754 h 3498714"/>
                <a:gd name="connsiteX13" fmla="*/ 1042136 w 2480313"/>
                <a:gd name="connsiteY13" fmla="*/ 3337652 h 3498714"/>
                <a:gd name="connsiteX14" fmla="*/ 881075 w 2480313"/>
                <a:gd name="connsiteY14" fmla="*/ 3498714 h 3498714"/>
                <a:gd name="connsiteX15" fmla="*/ 720012 w 2480313"/>
                <a:gd name="connsiteY15" fmla="*/ 3337652 h 3498714"/>
                <a:gd name="connsiteX16" fmla="*/ 720012 w 2480313"/>
                <a:gd name="connsiteY16" fmla="*/ 2125717 h 3498714"/>
                <a:gd name="connsiteX17" fmla="*/ 718947 w 2480313"/>
                <a:gd name="connsiteY17" fmla="*/ 2033194 h 3498714"/>
                <a:gd name="connsiteX18" fmla="*/ 714162 w 2480313"/>
                <a:gd name="connsiteY18" fmla="*/ 2028410 h 3498714"/>
                <a:gd name="connsiteX19" fmla="*/ 654759 w 2480313"/>
                <a:gd name="connsiteY19" fmla="*/ 2028410 h 3498714"/>
                <a:gd name="connsiteX20" fmla="*/ 649974 w 2480313"/>
                <a:gd name="connsiteY20" fmla="*/ 2033194 h 3498714"/>
                <a:gd name="connsiteX21" fmla="*/ 649974 w 2480313"/>
                <a:gd name="connsiteY21" fmla="*/ 2125717 h 3498714"/>
                <a:gd name="connsiteX22" fmla="*/ 649574 w 2480313"/>
                <a:gd name="connsiteY22" fmla="*/ 3337652 h 3498714"/>
                <a:gd name="connsiteX23" fmla="*/ 488511 w 2480313"/>
                <a:gd name="connsiteY23" fmla="*/ 3498714 h 3498714"/>
                <a:gd name="connsiteX24" fmla="*/ 327450 w 2480313"/>
                <a:gd name="connsiteY24" fmla="*/ 3337652 h 3498714"/>
                <a:gd name="connsiteX25" fmla="*/ 327450 w 2480313"/>
                <a:gd name="connsiteY25" fmla="*/ 1458216 h 3498714"/>
                <a:gd name="connsiteX26" fmla="*/ 322427 w 2480313"/>
                <a:gd name="connsiteY26" fmla="*/ 1098205 h 3498714"/>
                <a:gd name="connsiteX27" fmla="*/ 317058 w 2480313"/>
                <a:gd name="connsiteY27" fmla="*/ 1092836 h 3498714"/>
                <a:gd name="connsiteX28" fmla="*/ 263371 w 2480313"/>
                <a:gd name="connsiteY28" fmla="*/ 1092836 h 3498714"/>
                <a:gd name="connsiteX29" fmla="*/ 258001 w 2480313"/>
                <a:gd name="connsiteY29" fmla="*/ 1098205 h 3498714"/>
                <a:gd name="connsiteX30" fmla="*/ 258001 w 2480313"/>
                <a:gd name="connsiteY30" fmla="*/ 1444446 h 3498714"/>
                <a:gd name="connsiteX31" fmla="*/ 257700 w 2480313"/>
                <a:gd name="connsiteY31" fmla="*/ 1444370 h 3498714"/>
                <a:gd name="connsiteX32" fmla="*/ 257700 w 2480313"/>
                <a:gd name="connsiteY32" fmla="*/ 1912573 h 3498714"/>
                <a:gd name="connsiteX33" fmla="*/ 128850 w 2480313"/>
                <a:gd name="connsiteY33" fmla="*/ 2041423 h 3498714"/>
                <a:gd name="connsiteX34" fmla="*/ 0 w 2480313"/>
                <a:gd name="connsiteY34" fmla="*/ 1912573 h 3498714"/>
                <a:gd name="connsiteX35" fmla="*/ 0 w 2480313"/>
                <a:gd name="connsiteY35" fmla="*/ 1101802 h 3498714"/>
                <a:gd name="connsiteX36" fmla="*/ 0 w 2480313"/>
                <a:gd name="connsiteY36" fmla="*/ 1003338 h 3498714"/>
                <a:gd name="connsiteX37" fmla="*/ 0 w 2480313"/>
                <a:gd name="connsiteY37" fmla="*/ 982486 h 3498714"/>
                <a:gd name="connsiteX38" fmla="*/ 12733 w 2480313"/>
                <a:gd name="connsiteY38" fmla="*/ 894663 h 3498714"/>
                <a:gd name="connsiteX39" fmla="*/ 20539 w 2480313"/>
                <a:gd name="connsiteY39" fmla="*/ 868773 h 3498714"/>
                <a:gd name="connsiteX40" fmla="*/ 358791 w 2480313"/>
                <a:gd name="connsiteY40" fmla="*/ 644545 h 3498714"/>
                <a:gd name="connsiteX41" fmla="*/ 682782 w 2480313"/>
                <a:gd name="connsiteY41" fmla="*/ 0 h 3498714"/>
                <a:gd name="connsiteX42" fmla="*/ 966919 w 2480313"/>
                <a:gd name="connsiteY42" fmla="*/ 284138 h 3498714"/>
                <a:gd name="connsiteX43" fmla="*/ 682782 w 2480313"/>
                <a:gd name="connsiteY43" fmla="*/ 568275 h 3498714"/>
                <a:gd name="connsiteX44" fmla="*/ 398645 w 2480313"/>
                <a:gd name="connsiteY44" fmla="*/ 284138 h 3498714"/>
                <a:gd name="connsiteX45" fmla="*/ 682782 w 2480313"/>
                <a:gd name="connsiteY45" fmla="*/ 0 h 3498714"/>
                <a:gd name="connsiteX46" fmla="*/ 2480313 w 2480313"/>
                <a:gd name="connsiteY46" fmla="*/ 3470637 h 3498714"/>
                <a:gd name="connsiteX47" fmla="*/ 2279239 w 2480313"/>
                <a:gd name="connsiteY47" fmla="*/ 3470637 h 3498714"/>
                <a:gd name="connsiteX48" fmla="*/ 2170227 w 2480313"/>
                <a:gd name="connsiteY48" fmla="*/ 3361625 h 3498714"/>
                <a:gd name="connsiteX49" fmla="*/ 2170227 w 2480313"/>
                <a:gd name="connsiteY49" fmla="*/ 3124562 h 3498714"/>
                <a:gd name="connsiteX50" fmla="*/ 2052754 w 2480313"/>
                <a:gd name="connsiteY50" fmla="*/ 3124562 h 3498714"/>
                <a:gd name="connsiteX51" fmla="*/ 1941629 w 2480313"/>
                <a:gd name="connsiteY51" fmla="*/ 3013437 h 3498714"/>
                <a:gd name="connsiteX52" fmla="*/ 2052754 w 2480313"/>
                <a:gd name="connsiteY52" fmla="*/ 2902312 h 3498714"/>
                <a:gd name="connsiteX53" fmla="*/ 682782 w 2480313"/>
                <a:gd name="connsiteY53" fmla="*/ 0 h 3498714"/>
                <a:gd name="connsiteX0" fmla="*/ 358791 w 2279239"/>
                <a:gd name="connsiteY0" fmla="*/ 644545 h 3498714"/>
                <a:gd name="connsiteX1" fmla="*/ 1006774 w 2279239"/>
                <a:gd name="connsiteY1" fmla="*/ 644545 h 3498714"/>
                <a:gd name="connsiteX2" fmla="*/ 1542636 w 2279239"/>
                <a:gd name="connsiteY2" fmla="*/ 1193969 h 3498714"/>
                <a:gd name="connsiteX3" fmla="*/ 1929878 w 2279239"/>
                <a:gd name="connsiteY3" fmla="*/ 1193970 h 3498714"/>
                <a:gd name="connsiteX4" fmla="*/ 2070059 w 2279239"/>
                <a:gd name="connsiteY4" fmla="*/ 1334152 h 3498714"/>
                <a:gd name="connsiteX5" fmla="*/ 1929878 w 2279239"/>
                <a:gd name="connsiteY5" fmla="*/ 1474333 h 3498714"/>
                <a:gd name="connsiteX6" fmla="*/ 1520943 w 2279239"/>
                <a:gd name="connsiteY6" fmla="*/ 1470388 h 3498714"/>
                <a:gd name="connsiteX7" fmla="*/ 1332825 w 2279239"/>
                <a:gd name="connsiteY7" fmla="*/ 1367201 h 3498714"/>
                <a:gd name="connsiteX8" fmla="*/ 1106501 w 2279239"/>
                <a:gd name="connsiteY8" fmla="*/ 1098289 h 3498714"/>
                <a:gd name="connsiteX9" fmla="*/ 1101049 w 2279239"/>
                <a:gd name="connsiteY9" fmla="*/ 1092836 h 3498714"/>
                <a:gd name="connsiteX10" fmla="*/ 1046523 w 2279239"/>
                <a:gd name="connsiteY10" fmla="*/ 1092836 h 3498714"/>
                <a:gd name="connsiteX11" fmla="*/ 1041071 w 2279239"/>
                <a:gd name="connsiteY11" fmla="*/ 1098289 h 3498714"/>
                <a:gd name="connsiteX12" fmla="*/ 1042136 w 2279239"/>
                <a:gd name="connsiteY12" fmla="*/ 1419754 h 3498714"/>
                <a:gd name="connsiteX13" fmla="*/ 1042136 w 2279239"/>
                <a:gd name="connsiteY13" fmla="*/ 3337652 h 3498714"/>
                <a:gd name="connsiteX14" fmla="*/ 881075 w 2279239"/>
                <a:gd name="connsiteY14" fmla="*/ 3498714 h 3498714"/>
                <a:gd name="connsiteX15" fmla="*/ 720012 w 2279239"/>
                <a:gd name="connsiteY15" fmla="*/ 3337652 h 3498714"/>
                <a:gd name="connsiteX16" fmla="*/ 720012 w 2279239"/>
                <a:gd name="connsiteY16" fmla="*/ 2125717 h 3498714"/>
                <a:gd name="connsiteX17" fmla="*/ 718947 w 2279239"/>
                <a:gd name="connsiteY17" fmla="*/ 2033194 h 3498714"/>
                <a:gd name="connsiteX18" fmla="*/ 714162 w 2279239"/>
                <a:gd name="connsiteY18" fmla="*/ 2028410 h 3498714"/>
                <a:gd name="connsiteX19" fmla="*/ 654759 w 2279239"/>
                <a:gd name="connsiteY19" fmla="*/ 2028410 h 3498714"/>
                <a:gd name="connsiteX20" fmla="*/ 649974 w 2279239"/>
                <a:gd name="connsiteY20" fmla="*/ 2033194 h 3498714"/>
                <a:gd name="connsiteX21" fmla="*/ 649974 w 2279239"/>
                <a:gd name="connsiteY21" fmla="*/ 2125717 h 3498714"/>
                <a:gd name="connsiteX22" fmla="*/ 649574 w 2279239"/>
                <a:gd name="connsiteY22" fmla="*/ 3337652 h 3498714"/>
                <a:gd name="connsiteX23" fmla="*/ 488511 w 2279239"/>
                <a:gd name="connsiteY23" fmla="*/ 3498714 h 3498714"/>
                <a:gd name="connsiteX24" fmla="*/ 327450 w 2279239"/>
                <a:gd name="connsiteY24" fmla="*/ 3337652 h 3498714"/>
                <a:gd name="connsiteX25" fmla="*/ 327450 w 2279239"/>
                <a:gd name="connsiteY25" fmla="*/ 1458216 h 3498714"/>
                <a:gd name="connsiteX26" fmla="*/ 322427 w 2279239"/>
                <a:gd name="connsiteY26" fmla="*/ 1098205 h 3498714"/>
                <a:gd name="connsiteX27" fmla="*/ 317058 w 2279239"/>
                <a:gd name="connsiteY27" fmla="*/ 1092836 h 3498714"/>
                <a:gd name="connsiteX28" fmla="*/ 263371 w 2279239"/>
                <a:gd name="connsiteY28" fmla="*/ 1092836 h 3498714"/>
                <a:gd name="connsiteX29" fmla="*/ 258001 w 2279239"/>
                <a:gd name="connsiteY29" fmla="*/ 1098205 h 3498714"/>
                <a:gd name="connsiteX30" fmla="*/ 258001 w 2279239"/>
                <a:gd name="connsiteY30" fmla="*/ 1444446 h 3498714"/>
                <a:gd name="connsiteX31" fmla="*/ 257700 w 2279239"/>
                <a:gd name="connsiteY31" fmla="*/ 1444370 h 3498714"/>
                <a:gd name="connsiteX32" fmla="*/ 257700 w 2279239"/>
                <a:gd name="connsiteY32" fmla="*/ 1912573 h 3498714"/>
                <a:gd name="connsiteX33" fmla="*/ 128850 w 2279239"/>
                <a:gd name="connsiteY33" fmla="*/ 2041423 h 3498714"/>
                <a:gd name="connsiteX34" fmla="*/ 0 w 2279239"/>
                <a:gd name="connsiteY34" fmla="*/ 1912573 h 3498714"/>
                <a:gd name="connsiteX35" fmla="*/ 0 w 2279239"/>
                <a:gd name="connsiteY35" fmla="*/ 1101802 h 3498714"/>
                <a:gd name="connsiteX36" fmla="*/ 0 w 2279239"/>
                <a:gd name="connsiteY36" fmla="*/ 1003338 h 3498714"/>
                <a:gd name="connsiteX37" fmla="*/ 0 w 2279239"/>
                <a:gd name="connsiteY37" fmla="*/ 982486 h 3498714"/>
                <a:gd name="connsiteX38" fmla="*/ 12733 w 2279239"/>
                <a:gd name="connsiteY38" fmla="*/ 894663 h 3498714"/>
                <a:gd name="connsiteX39" fmla="*/ 20539 w 2279239"/>
                <a:gd name="connsiteY39" fmla="*/ 868773 h 3498714"/>
                <a:gd name="connsiteX40" fmla="*/ 358791 w 2279239"/>
                <a:gd name="connsiteY40" fmla="*/ 644545 h 3498714"/>
                <a:gd name="connsiteX41" fmla="*/ 682782 w 2279239"/>
                <a:gd name="connsiteY41" fmla="*/ 0 h 3498714"/>
                <a:gd name="connsiteX42" fmla="*/ 966919 w 2279239"/>
                <a:gd name="connsiteY42" fmla="*/ 284138 h 3498714"/>
                <a:gd name="connsiteX43" fmla="*/ 682782 w 2279239"/>
                <a:gd name="connsiteY43" fmla="*/ 568275 h 3498714"/>
                <a:gd name="connsiteX44" fmla="*/ 398645 w 2279239"/>
                <a:gd name="connsiteY44" fmla="*/ 284138 h 3498714"/>
                <a:gd name="connsiteX45" fmla="*/ 682782 w 2279239"/>
                <a:gd name="connsiteY45" fmla="*/ 0 h 3498714"/>
                <a:gd name="connsiteX46" fmla="*/ 2279239 w 2279239"/>
                <a:gd name="connsiteY46" fmla="*/ 3470637 h 3498714"/>
                <a:gd name="connsiteX47" fmla="*/ 2170227 w 2279239"/>
                <a:gd name="connsiteY47" fmla="*/ 3361625 h 3498714"/>
                <a:gd name="connsiteX48" fmla="*/ 2170227 w 2279239"/>
                <a:gd name="connsiteY48" fmla="*/ 3124562 h 3498714"/>
                <a:gd name="connsiteX49" fmla="*/ 2052754 w 2279239"/>
                <a:gd name="connsiteY49" fmla="*/ 3124562 h 3498714"/>
                <a:gd name="connsiteX50" fmla="*/ 1941629 w 2279239"/>
                <a:gd name="connsiteY50" fmla="*/ 3013437 h 3498714"/>
                <a:gd name="connsiteX51" fmla="*/ 2052754 w 2279239"/>
                <a:gd name="connsiteY51" fmla="*/ 2902312 h 3498714"/>
                <a:gd name="connsiteX52" fmla="*/ 682782 w 2279239"/>
                <a:gd name="connsiteY52" fmla="*/ 0 h 3498714"/>
                <a:gd name="connsiteX0" fmla="*/ 358791 w 2170227"/>
                <a:gd name="connsiteY0" fmla="*/ 644545 h 3498714"/>
                <a:gd name="connsiteX1" fmla="*/ 1006774 w 2170227"/>
                <a:gd name="connsiteY1" fmla="*/ 644545 h 3498714"/>
                <a:gd name="connsiteX2" fmla="*/ 1542636 w 2170227"/>
                <a:gd name="connsiteY2" fmla="*/ 1193969 h 3498714"/>
                <a:gd name="connsiteX3" fmla="*/ 1929878 w 2170227"/>
                <a:gd name="connsiteY3" fmla="*/ 1193970 h 3498714"/>
                <a:gd name="connsiteX4" fmla="*/ 2070059 w 2170227"/>
                <a:gd name="connsiteY4" fmla="*/ 1334152 h 3498714"/>
                <a:gd name="connsiteX5" fmla="*/ 1929878 w 2170227"/>
                <a:gd name="connsiteY5" fmla="*/ 1474333 h 3498714"/>
                <a:gd name="connsiteX6" fmla="*/ 1520943 w 2170227"/>
                <a:gd name="connsiteY6" fmla="*/ 1470388 h 3498714"/>
                <a:gd name="connsiteX7" fmla="*/ 1332825 w 2170227"/>
                <a:gd name="connsiteY7" fmla="*/ 1367201 h 3498714"/>
                <a:gd name="connsiteX8" fmla="*/ 1106501 w 2170227"/>
                <a:gd name="connsiteY8" fmla="*/ 1098289 h 3498714"/>
                <a:gd name="connsiteX9" fmla="*/ 1101049 w 2170227"/>
                <a:gd name="connsiteY9" fmla="*/ 1092836 h 3498714"/>
                <a:gd name="connsiteX10" fmla="*/ 1046523 w 2170227"/>
                <a:gd name="connsiteY10" fmla="*/ 1092836 h 3498714"/>
                <a:gd name="connsiteX11" fmla="*/ 1041071 w 2170227"/>
                <a:gd name="connsiteY11" fmla="*/ 1098289 h 3498714"/>
                <a:gd name="connsiteX12" fmla="*/ 1042136 w 2170227"/>
                <a:gd name="connsiteY12" fmla="*/ 1419754 h 3498714"/>
                <a:gd name="connsiteX13" fmla="*/ 1042136 w 2170227"/>
                <a:gd name="connsiteY13" fmla="*/ 3337652 h 3498714"/>
                <a:gd name="connsiteX14" fmla="*/ 881075 w 2170227"/>
                <a:gd name="connsiteY14" fmla="*/ 3498714 h 3498714"/>
                <a:gd name="connsiteX15" fmla="*/ 720012 w 2170227"/>
                <a:gd name="connsiteY15" fmla="*/ 3337652 h 3498714"/>
                <a:gd name="connsiteX16" fmla="*/ 720012 w 2170227"/>
                <a:gd name="connsiteY16" fmla="*/ 2125717 h 3498714"/>
                <a:gd name="connsiteX17" fmla="*/ 718947 w 2170227"/>
                <a:gd name="connsiteY17" fmla="*/ 2033194 h 3498714"/>
                <a:gd name="connsiteX18" fmla="*/ 714162 w 2170227"/>
                <a:gd name="connsiteY18" fmla="*/ 2028410 h 3498714"/>
                <a:gd name="connsiteX19" fmla="*/ 654759 w 2170227"/>
                <a:gd name="connsiteY19" fmla="*/ 2028410 h 3498714"/>
                <a:gd name="connsiteX20" fmla="*/ 649974 w 2170227"/>
                <a:gd name="connsiteY20" fmla="*/ 2033194 h 3498714"/>
                <a:gd name="connsiteX21" fmla="*/ 649974 w 2170227"/>
                <a:gd name="connsiteY21" fmla="*/ 2125717 h 3498714"/>
                <a:gd name="connsiteX22" fmla="*/ 649574 w 2170227"/>
                <a:gd name="connsiteY22" fmla="*/ 3337652 h 3498714"/>
                <a:gd name="connsiteX23" fmla="*/ 488511 w 2170227"/>
                <a:gd name="connsiteY23" fmla="*/ 3498714 h 3498714"/>
                <a:gd name="connsiteX24" fmla="*/ 327450 w 2170227"/>
                <a:gd name="connsiteY24" fmla="*/ 3337652 h 3498714"/>
                <a:gd name="connsiteX25" fmla="*/ 327450 w 2170227"/>
                <a:gd name="connsiteY25" fmla="*/ 1458216 h 3498714"/>
                <a:gd name="connsiteX26" fmla="*/ 322427 w 2170227"/>
                <a:gd name="connsiteY26" fmla="*/ 1098205 h 3498714"/>
                <a:gd name="connsiteX27" fmla="*/ 317058 w 2170227"/>
                <a:gd name="connsiteY27" fmla="*/ 1092836 h 3498714"/>
                <a:gd name="connsiteX28" fmla="*/ 263371 w 2170227"/>
                <a:gd name="connsiteY28" fmla="*/ 1092836 h 3498714"/>
                <a:gd name="connsiteX29" fmla="*/ 258001 w 2170227"/>
                <a:gd name="connsiteY29" fmla="*/ 1098205 h 3498714"/>
                <a:gd name="connsiteX30" fmla="*/ 258001 w 2170227"/>
                <a:gd name="connsiteY30" fmla="*/ 1444446 h 3498714"/>
                <a:gd name="connsiteX31" fmla="*/ 257700 w 2170227"/>
                <a:gd name="connsiteY31" fmla="*/ 1444370 h 3498714"/>
                <a:gd name="connsiteX32" fmla="*/ 257700 w 2170227"/>
                <a:gd name="connsiteY32" fmla="*/ 1912573 h 3498714"/>
                <a:gd name="connsiteX33" fmla="*/ 128850 w 2170227"/>
                <a:gd name="connsiteY33" fmla="*/ 2041423 h 3498714"/>
                <a:gd name="connsiteX34" fmla="*/ 0 w 2170227"/>
                <a:gd name="connsiteY34" fmla="*/ 1912573 h 3498714"/>
                <a:gd name="connsiteX35" fmla="*/ 0 w 2170227"/>
                <a:gd name="connsiteY35" fmla="*/ 1101802 h 3498714"/>
                <a:gd name="connsiteX36" fmla="*/ 0 w 2170227"/>
                <a:gd name="connsiteY36" fmla="*/ 1003338 h 3498714"/>
                <a:gd name="connsiteX37" fmla="*/ 0 w 2170227"/>
                <a:gd name="connsiteY37" fmla="*/ 982486 h 3498714"/>
                <a:gd name="connsiteX38" fmla="*/ 12733 w 2170227"/>
                <a:gd name="connsiteY38" fmla="*/ 894663 h 3498714"/>
                <a:gd name="connsiteX39" fmla="*/ 20539 w 2170227"/>
                <a:gd name="connsiteY39" fmla="*/ 868773 h 3498714"/>
                <a:gd name="connsiteX40" fmla="*/ 358791 w 2170227"/>
                <a:gd name="connsiteY40" fmla="*/ 644545 h 3498714"/>
                <a:gd name="connsiteX41" fmla="*/ 682782 w 2170227"/>
                <a:gd name="connsiteY41" fmla="*/ 0 h 3498714"/>
                <a:gd name="connsiteX42" fmla="*/ 966919 w 2170227"/>
                <a:gd name="connsiteY42" fmla="*/ 284138 h 3498714"/>
                <a:gd name="connsiteX43" fmla="*/ 682782 w 2170227"/>
                <a:gd name="connsiteY43" fmla="*/ 568275 h 3498714"/>
                <a:gd name="connsiteX44" fmla="*/ 398645 w 2170227"/>
                <a:gd name="connsiteY44" fmla="*/ 284138 h 3498714"/>
                <a:gd name="connsiteX45" fmla="*/ 682782 w 2170227"/>
                <a:gd name="connsiteY45" fmla="*/ 0 h 3498714"/>
                <a:gd name="connsiteX46" fmla="*/ 2170227 w 2170227"/>
                <a:gd name="connsiteY46" fmla="*/ 3361625 h 3498714"/>
                <a:gd name="connsiteX47" fmla="*/ 2170227 w 2170227"/>
                <a:gd name="connsiteY47" fmla="*/ 3124562 h 3498714"/>
                <a:gd name="connsiteX48" fmla="*/ 2052754 w 2170227"/>
                <a:gd name="connsiteY48" fmla="*/ 3124562 h 3498714"/>
                <a:gd name="connsiteX49" fmla="*/ 1941629 w 2170227"/>
                <a:gd name="connsiteY49" fmla="*/ 3013437 h 3498714"/>
                <a:gd name="connsiteX50" fmla="*/ 2052754 w 2170227"/>
                <a:gd name="connsiteY50" fmla="*/ 2902312 h 3498714"/>
                <a:gd name="connsiteX51" fmla="*/ 682782 w 2170227"/>
                <a:gd name="connsiteY51" fmla="*/ 0 h 3498714"/>
                <a:gd name="connsiteX0" fmla="*/ 358791 w 2170227"/>
                <a:gd name="connsiteY0" fmla="*/ 644545 h 3498714"/>
                <a:gd name="connsiteX1" fmla="*/ 1006774 w 2170227"/>
                <a:gd name="connsiteY1" fmla="*/ 644545 h 3498714"/>
                <a:gd name="connsiteX2" fmla="*/ 1542636 w 2170227"/>
                <a:gd name="connsiteY2" fmla="*/ 1193969 h 3498714"/>
                <a:gd name="connsiteX3" fmla="*/ 1929878 w 2170227"/>
                <a:gd name="connsiteY3" fmla="*/ 1193970 h 3498714"/>
                <a:gd name="connsiteX4" fmla="*/ 2070059 w 2170227"/>
                <a:gd name="connsiteY4" fmla="*/ 1334152 h 3498714"/>
                <a:gd name="connsiteX5" fmla="*/ 1929878 w 2170227"/>
                <a:gd name="connsiteY5" fmla="*/ 1474333 h 3498714"/>
                <a:gd name="connsiteX6" fmla="*/ 1520943 w 2170227"/>
                <a:gd name="connsiteY6" fmla="*/ 1470388 h 3498714"/>
                <a:gd name="connsiteX7" fmla="*/ 1332825 w 2170227"/>
                <a:gd name="connsiteY7" fmla="*/ 1367201 h 3498714"/>
                <a:gd name="connsiteX8" fmla="*/ 1106501 w 2170227"/>
                <a:gd name="connsiteY8" fmla="*/ 1098289 h 3498714"/>
                <a:gd name="connsiteX9" fmla="*/ 1101049 w 2170227"/>
                <a:gd name="connsiteY9" fmla="*/ 1092836 h 3498714"/>
                <a:gd name="connsiteX10" fmla="*/ 1046523 w 2170227"/>
                <a:gd name="connsiteY10" fmla="*/ 1092836 h 3498714"/>
                <a:gd name="connsiteX11" fmla="*/ 1041071 w 2170227"/>
                <a:gd name="connsiteY11" fmla="*/ 1098289 h 3498714"/>
                <a:gd name="connsiteX12" fmla="*/ 1042136 w 2170227"/>
                <a:gd name="connsiteY12" fmla="*/ 1419754 h 3498714"/>
                <a:gd name="connsiteX13" fmla="*/ 1042136 w 2170227"/>
                <a:gd name="connsiteY13" fmla="*/ 3337652 h 3498714"/>
                <a:gd name="connsiteX14" fmla="*/ 881075 w 2170227"/>
                <a:gd name="connsiteY14" fmla="*/ 3498714 h 3498714"/>
                <a:gd name="connsiteX15" fmla="*/ 720012 w 2170227"/>
                <a:gd name="connsiteY15" fmla="*/ 3337652 h 3498714"/>
                <a:gd name="connsiteX16" fmla="*/ 720012 w 2170227"/>
                <a:gd name="connsiteY16" fmla="*/ 2125717 h 3498714"/>
                <a:gd name="connsiteX17" fmla="*/ 718947 w 2170227"/>
                <a:gd name="connsiteY17" fmla="*/ 2033194 h 3498714"/>
                <a:gd name="connsiteX18" fmla="*/ 714162 w 2170227"/>
                <a:gd name="connsiteY18" fmla="*/ 2028410 h 3498714"/>
                <a:gd name="connsiteX19" fmla="*/ 654759 w 2170227"/>
                <a:gd name="connsiteY19" fmla="*/ 2028410 h 3498714"/>
                <a:gd name="connsiteX20" fmla="*/ 649974 w 2170227"/>
                <a:gd name="connsiteY20" fmla="*/ 2033194 h 3498714"/>
                <a:gd name="connsiteX21" fmla="*/ 649974 w 2170227"/>
                <a:gd name="connsiteY21" fmla="*/ 2125717 h 3498714"/>
                <a:gd name="connsiteX22" fmla="*/ 649574 w 2170227"/>
                <a:gd name="connsiteY22" fmla="*/ 3337652 h 3498714"/>
                <a:gd name="connsiteX23" fmla="*/ 488511 w 2170227"/>
                <a:gd name="connsiteY23" fmla="*/ 3498714 h 3498714"/>
                <a:gd name="connsiteX24" fmla="*/ 327450 w 2170227"/>
                <a:gd name="connsiteY24" fmla="*/ 3337652 h 3498714"/>
                <a:gd name="connsiteX25" fmla="*/ 327450 w 2170227"/>
                <a:gd name="connsiteY25" fmla="*/ 1458216 h 3498714"/>
                <a:gd name="connsiteX26" fmla="*/ 322427 w 2170227"/>
                <a:gd name="connsiteY26" fmla="*/ 1098205 h 3498714"/>
                <a:gd name="connsiteX27" fmla="*/ 317058 w 2170227"/>
                <a:gd name="connsiteY27" fmla="*/ 1092836 h 3498714"/>
                <a:gd name="connsiteX28" fmla="*/ 263371 w 2170227"/>
                <a:gd name="connsiteY28" fmla="*/ 1092836 h 3498714"/>
                <a:gd name="connsiteX29" fmla="*/ 258001 w 2170227"/>
                <a:gd name="connsiteY29" fmla="*/ 1098205 h 3498714"/>
                <a:gd name="connsiteX30" fmla="*/ 258001 w 2170227"/>
                <a:gd name="connsiteY30" fmla="*/ 1444446 h 3498714"/>
                <a:gd name="connsiteX31" fmla="*/ 257700 w 2170227"/>
                <a:gd name="connsiteY31" fmla="*/ 1444370 h 3498714"/>
                <a:gd name="connsiteX32" fmla="*/ 257700 w 2170227"/>
                <a:gd name="connsiteY32" fmla="*/ 1912573 h 3498714"/>
                <a:gd name="connsiteX33" fmla="*/ 128850 w 2170227"/>
                <a:gd name="connsiteY33" fmla="*/ 2041423 h 3498714"/>
                <a:gd name="connsiteX34" fmla="*/ 0 w 2170227"/>
                <a:gd name="connsiteY34" fmla="*/ 1912573 h 3498714"/>
                <a:gd name="connsiteX35" fmla="*/ 0 w 2170227"/>
                <a:gd name="connsiteY35" fmla="*/ 1101802 h 3498714"/>
                <a:gd name="connsiteX36" fmla="*/ 0 w 2170227"/>
                <a:gd name="connsiteY36" fmla="*/ 1003338 h 3498714"/>
                <a:gd name="connsiteX37" fmla="*/ 0 w 2170227"/>
                <a:gd name="connsiteY37" fmla="*/ 982486 h 3498714"/>
                <a:gd name="connsiteX38" fmla="*/ 12733 w 2170227"/>
                <a:gd name="connsiteY38" fmla="*/ 894663 h 3498714"/>
                <a:gd name="connsiteX39" fmla="*/ 20539 w 2170227"/>
                <a:gd name="connsiteY39" fmla="*/ 868773 h 3498714"/>
                <a:gd name="connsiteX40" fmla="*/ 358791 w 2170227"/>
                <a:gd name="connsiteY40" fmla="*/ 644545 h 3498714"/>
                <a:gd name="connsiteX41" fmla="*/ 682782 w 2170227"/>
                <a:gd name="connsiteY41" fmla="*/ 0 h 3498714"/>
                <a:gd name="connsiteX42" fmla="*/ 966919 w 2170227"/>
                <a:gd name="connsiteY42" fmla="*/ 284138 h 3498714"/>
                <a:gd name="connsiteX43" fmla="*/ 682782 w 2170227"/>
                <a:gd name="connsiteY43" fmla="*/ 568275 h 3498714"/>
                <a:gd name="connsiteX44" fmla="*/ 398645 w 2170227"/>
                <a:gd name="connsiteY44" fmla="*/ 284138 h 3498714"/>
                <a:gd name="connsiteX45" fmla="*/ 682782 w 2170227"/>
                <a:gd name="connsiteY45" fmla="*/ 0 h 3498714"/>
                <a:gd name="connsiteX46" fmla="*/ 2170227 w 2170227"/>
                <a:gd name="connsiteY46" fmla="*/ 3124562 h 3498714"/>
                <a:gd name="connsiteX47" fmla="*/ 2052754 w 2170227"/>
                <a:gd name="connsiteY47" fmla="*/ 3124562 h 3498714"/>
                <a:gd name="connsiteX48" fmla="*/ 1941629 w 2170227"/>
                <a:gd name="connsiteY48" fmla="*/ 3013437 h 3498714"/>
                <a:gd name="connsiteX49" fmla="*/ 2052754 w 2170227"/>
                <a:gd name="connsiteY49" fmla="*/ 2902312 h 3498714"/>
                <a:gd name="connsiteX50" fmla="*/ 682782 w 2170227"/>
                <a:gd name="connsiteY50" fmla="*/ 0 h 3498714"/>
                <a:gd name="connsiteX0" fmla="*/ 358791 w 2170227"/>
                <a:gd name="connsiteY0" fmla="*/ 644545 h 3498714"/>
                <a:gd name="connsiteX1" fmla="*/ 1006774 w 2170227"/>
                <a:gd name="connsiteY1" fmla="*/ 644545 h 3498714"/>
                <a:gd name="connsiteX2" fmla="*/ 1542636 w 2170227"/>
                <a:gd name="connsiteY2" fmla="*/ 1193969 h 3498714"/>
                <a:gd name="connsiteX3" fmla="*/ 1929878 w 2170227"/>
                <a:gd name="connsiteY3" fmla="*/ 1193970 h 3498714"/>
                <a:gd name="connsiteX4" fmla="*/ 2070059 w 2170227"/>
                <a:gd name="connsiteY4" fmla="*/ 1334152 h 3498714"/>
                <a:gd name="connsiteX5" fmla="*/ 1929878 w 2170227"/>
                <a:gd name="connsiteY5" fmla="*/ 1474333 h 3498714"/>
                <a:gd name="connsiteX6" fmla="*/ 1520943 w 2170227"/>
                <a:gd name="connsiteY6" fmla="*/ 1470388 h 3498714"/>
                <a:gd name="connsiteX7" fmla="*/ 1332825 w 2170227"/>
                <a:gd name="connsiteY7" fmla="*/ 1367201 h 3498714"/>
                <a:gd name="connsiteX8" fmla="*/ 1106501 w 2170227"/>
                <a:gd name="connsiteY8" fmla="*/ 1098289 h 3498714"/>
                <a:gd name="connsiteX9" fmla="*/ 1101049 w 2170227"/>
                <a:gd name="connsiteY9" fmla="*/ 1092836 h 3498714"/>
                <a:gd name="connsiteX10" fmla="*/ 1046523 w 2170227"/>
                <a:gd name="connsiteY10" fmla="*/ 1092836 h 3498714"/>
                <a:gd name="connsiteX11" fmla="*/ 1041071 w 2170227"/>
                <a:gd name="connsiteY11" fmla="*/ 1098289 h 3498714"/>
                <a:gd name="connsiteX12" fmla="*/ 1042136 w 2170227"/>
                <a:gd name="connsiteY12" fmla="*/ 1419754 h 3498714"/>
                <a:gd name="connsiteX13" fmla="*/ 1042136 w 2170227"/>
                <a:gd name="connsiteY13" fmla="*/ 3337652 h 3498714"/>
                <a:gd name="connsiteX14" fmla="*/ 881075 w 2170227"/>
                <a:gd name="connsiteY14" fmla="*/ 3498714 h 3498714"/>
                <a:gd name="connsiteX15" fmla="*/ 720012 w 2170227"/>
                <a:gd name="connsiteY15" fmla="*/ 3337652 h 3498714"/>
                <a:gd name="connsiteX16" fmla="*/ 720012 w 2170227"/>
                <a:gd name="connsiteY16" fmla="*/ 2125717 h 3498714"/>
                <a:gd name="connsiteX17" fmla="*/ 718947 w 2170227"/>
                <a:gd name="connsiteY17" fmla="*/ 2033194 h 3498714"/>
                <a:gd name="connsiteX18" fmla="*/ 714162 w 2170227"/>
                <a:gd name="connsiteY18" fmla="*/ 2028410 h 3498714"/>
                <a:gd name="connsiteX19" fmla="*/ 654759 w 2170227"/>
                <a:gd name="connsiteY19" fmla="*/ 2028410 h 3498714"/>
                <a:gd name="connsiteX20" fmla="*/ 649974 w 2170227"/>
                <a:gd name="connsiteY20" fmla="*/ 2033194 h 3498714"/>
                <a:gd name="connsiteX21" fmla="*/ 649974 w 2170227"/>
                <a:gd name="connsiteY21" fmla="*/ 2125717 h 3498714"/>
                <a:gd name="connsiteX22" fmla="*/ 649574 w 2170227"/>
                <a:gd name="connsiteY22" fmla="*/ 3337652 h 3498714"/>
                <a:gd name="connsiteX23" fmla="*/ 488511 w 2170227"/>
                <a:gd name="connsiteY23" fmla="*/ 3498714 h 3498714"/>
                <a:gd name="connsiteX24" fmla="*/ 327450 w 2170227"/>
                <a:gd name="connsiteY24" fmla="*/ 3337652 h 3498714"/>
                <a:gd name="connsiteX25" fmla="*/ 327450 w 2170227"/>
                <a:gd name="connsiteY25" fmla="*/ 1458216 h 3498714"/>
                <a:gd name="connsiteX26" fmla="*/ 322427 w 2170227"/>
                <a:gd name="connsiteY26" fmla="*/ 1098205 h 3498714"/>
                <a:gd name="connsiteX27" fmla="*/ 317058 w 2170227"/>
                <a:gd name="connsiteY27" fmla="*/ 1092836 h 3498714"/>
                <a:gd name="connsiteX28" fmla="*/ 263371 w 2170227"/>
                <a:gd name="connsiteY28" fmla="*/ 1092836 h 3498714"/>
                <a:gd name="connsiteX29" fmla="*/ 258001 w 2170227"/>
                <a:gd name="connsiteY29" fmla="*/ 1098205 h 3498714"/>
                <a:gd name="connsiteX30" fmla="*/ 258001 w 2170227"/>
                <a:gd name="connsiteY30" fmla="*/ 1444446 h 3498714"/>
                <a:gd name="connsiteX31" fmla="*/ 257700 w 2170227"/>
                <a:gd name="connsiteY31" fmla="*/ 1444370 h 3498714"/>
                <a:gd name="connsiteX32" fmla="*/ 257700 w 2170227"/>
                <a:gd name="connsiteY32" fmla="*/ 1912573 h 3498714"/>
                <a:gd name="connsiteX33" fmla="*/ 128850 w 2170227"/>
                <a:gd name="connsiteY33" fmla="*/ 2041423 h 3498714"/>
                <a:gd name="connsiteX34" fmla="*/ 0 w 2170227"/>
                <a:gd name="connsiteY34" fmla="*/ 1912573 h 3498714"/>
                <a:gd name="connsiteX35" fmla="*/ 0 w 2170227"/>
                <a:gd name="connsiteY35" fmla="*/ 1101802 h 3498714"/>
                <a:gd name="connsiteX36" fmla="*/ 0 w 2170227"/>
                <a:gd name="connsiteY36" fmla="*/ 1003338 h 3498714"/>
                <a:gd name="connsiteX37" fmla="*/ 0 w 2170227"/>
                <a:gd name="connsiteY37" fmla="*/ 982486 h 3498714"/>
                <a:gd name="connsiteX38" fmla="*/ 12733 w 2170227"/>
                <a:gd name="connsiteY38" fmla="*/ 894663 h 3498714"/>
                <a:gd name="connsiteX39" fmla="*/ 20539 w 2170227"/>
                <a:gd name="connsiteY39" fmla="*/ 868773 h 3498714"/>
                <a:gd name="connsiteX40" fmla="*/ 358791 w 2170227"/>
                <a:gd name="connsiteY40" fmla="*/ 644545 h 3498714"/>
                <a:gd name="connsiteX41" fmla="*/ 682782 w 2170227"/>
                <a:gd name="connsiteY41" fmla="*/ 0 h 3498714"/>
                <a:gd name="connsiteX42" fmla="*/ 966919 w 2170227"/>
                <a:gd name="connsiteY42" fmla="*/ 284138 h 3498714"/>
                <a:gd name="connsiteX43" fmla="*/ 682782 w 2170227"/>
                <a:gd name="connsiteY43" fmla="*/ 568275 h 3498714"/>
                <a:gd name="connsiteX44" fmla="*/ 398645 w 2170227"/>
                <a:gd name="connsiteY44" fmla="*/ 284138 h 3498714"/>
                <a:gd name="connsiteX45" fmla="*/ 682782 w 2170227"/>
                <a:gd name="connsiteY45" fmla="*/ 0 h 3498714"/>
                <a:gd name="connsiteX46" fmla="*/ 2170227 w 2170227"/>
                <a:gd name="connsiteY46" fmla="*/ 3124562 h 3498714"/>
                <a:gd name="connsiteX47" fmla="*/ 1941629 w 2170227"/>
                <a:gd name="connsiteY47" fmla="*/ 3013437 h 3498714"/>
                <a:gd name="connsiteX48" fmla="*/ 2052754 w 2170227"/>
                <a:gd name="connsiteY48" fmla="*/ 2902312 h 3498714"/>
                <a:gd name="connsiteX49" fmla="*/ 682782 w 2170227"/>
                <a:gd name="connsiteY49" fmla="*/ 0 h 3498714"/>
                <a:gd name="connsiteX0" fmla="*/ 358791 w 2170227"/>
                <a:gd name="connsiteY0" fmla="*/ 644545 h 3498714"/>
                <a:gd name="connsiteX1" fmla="*/ 1006774 w 2170227"/>
                <a:gd name="connsiteY1" fmla="*/ 644545 h 3498714"/>
                <a:gd name="connsiteX2" fmla="*/ 1542636 w 2170227"/>
                <a:gd name="connsiteY2" fmla="*/ 1193969 h 3498714"/>
                <a:gd name="connsiteX3" fmla="*/ 1929878 w 2170227"/>
                <a:gd name="connsiteY3" fmla="*/ 1193970 h 3498714"/>
                <a:gd name="connsiteX4" fmla="*/ 2070059 w 2170227"/>
                <a:gd name="connsiteY4" fmla="*/ 1334152 h 3498714"/>
                <a:gd name="connsiteX5" fmla="*/ 1929878 w 2170227"/>
                <a:gd name="connsiteY5" fmla="*/ 1474333 h 3498714"/>
                <a:gd name="connsiteX6" fmla="*/ 1520943 w 2170227"/>
                <a:gd name="connsiteY6" fmla="*/ 1470388 h 3498714"/>
                <a:gd name="connsiteX7" fmla="*/ 1332825 w 2170227"/>
                <a:gd name="connsiteY7" fmla="*/ 1367201 h 3498714"/>
                <a:gd name="connsiteX8" fmla="*/ 1106501 w 2170227"/>
                <a:gd name="connsiteY8" fmla="*/ 1098289 h 3498714"/>
                <a:gd name="connsiteX9" fmla="*/ 1101049 w 2170227"/>
                <a:gd name="connsiteY9" fmla="*/ 1092836 h 3498714"/>
                <a:gd name="connsiteX10" fmla="*/ 1046523 w 2170227"/>
                <a:gd name="connsiteY10" fmla="*/ 1092836 h 3498714"/>
                <a:gd name="connsiteX11" fmla="*/ 1041071 w 2170227"/>
                <a:gd name="connsiteY11" fmla="*/ 1098289 h 3498714"/>
                <a:gd name="connsiteX12" fmla="*/ 1042136 w 2170227"/>
                <a:gd name="connsiteY12" fmla="*/ 1419754 h 3498714"/>
                <a:gd name="connsiteX13" fmla="*/ 1042136 w 2170227"/>
                <a:gd name="connsiteY13" fmla="*/ 3337652 h 3498714"/>
                <a:gd name="connsiteX14" fmla="*/ 881075 w 2170227"/>
                <a:gd name="connsiteY14" fmla="*/ 3498714 h 3498714"/>
                <a:gd name="connsiteX15" fmla="*/ 720012 w 2170227"/>
                <a:gd name="connsiteY15" fmla="*/ 3337652 h 3498714"/>
                <a:gd name="connsiteX16" fmla="*/ 720012 w 2170227"/>
                <a:gd name="connsiteY16" fmla="*/ 2125717 h 3498714"/>
                <a:gd name="connsiteX17" fmla="*/ 718947 w 2170227"/>
                <a:gd name="connsiteY17" fmla="*/ 2033194 h 3498714"/>
                <a:gd name="connsiteX18" fmla="*/ 714162 w 2170227"/>
                <a:gd name="connsiteY18" fmla="*/ 2028410 h 3498714"/>
                <a:gd name="connsiteX19" fmla="*/ 654759 w 2170227"/>
                <a:gd name="connsiteY19" fmla="*/ 2028410 h 3498714"/>
                <a:gd name="connsiteX20" fmla="*/ 649974 w 2170227"/>
                <a:gd name="connsiteY20" fmla="*/ 2033194 h 3498714"/>
                <a:gd name="connsiteX21" fmla="*/ 649974 w 2170227"/>
                <a:gd name="connsiteY21" fmla="*/ 2125717 h 3498714"/>
                <a:gd name="connsiteX22" fmla="*/ 649574 w 2170227"/>
                <a:gd name="connsiteY22" fmla="*/ 3337652 h 3498714"/>
                <a:gd name="connsiteX23" fmla="*/ 488511 w 2170227"/>
                <a:gd name="connsiteY23" fmla="*/ 3498714 h 3498714"/>
                <a:gd name="connsiteX24" fmla="*/ 327450 w 2170227"/>
                <a:gd name="connsiteY24" fmla="*/ 3337652 h 3498714"/>
                <a:gd name="connsiteX25" fmla="*/ 327450 w 2170227"/>
                <a:gd name="connsiteY25" fmla="*/ 1458216 h 3498714"/>
                <a:gd name="connsiteX26" fmla="*/ 322427 w 2170227"/>
                <a:gd name="connsiteY26" fmla="*/ 1098205 h 3498714"/>
                <a:gd name="connsiteX27" fmla="*/ 317058 w 2170227"/>
                <a:gd name="connsiteY27" fmla="*/ 1092836 h 3498714"/>
                <a:gd name="connsiteX28" fmla="*/ 263371 w 2170227"/>
                <a:gd name="connsiteY28" fmla="*/ 1092836 h 3498714"/>
                <a:gd name="connsiteX29" fmla="*/ 258001 w 2170227"/>
                <a:gd name="connsiteY29" fmla="*/ 1098205 h 3498714"/>
                <a:gd name="connsiteX30" fmla="*/ 258001 w 2170227"/>
                <a:gd name="connsiteY30" fmla="*/ 1444446 h 3498714"/>
                <a:gd name="connsiteX31" fmla="*/ 257700 w 2170227"/>
                <a:gd name="connsiteY31" fmla="*/ 1444370 h 3498714"/>
                <a:gd name="connsiteX32" fmla="*/ 257700 w 2170227"/>
                <a:gd name="connsiteY32" fmla="*/ 1912573 h 3498714"/>
                <a:gd name="connsiteX33" fmla="*/ 128850 w 2170227"/>
                <a:gd name="connsiteY33" fmla="*/ 2041423 h 3498714"/>
                <a:gd name="connsiteX34" fmla="*/ 0 w 2170227"/>
                <a:gd name="connsiteY34" fmla="*/ 1912573 h 3498714"/>
                <a:gd name="connsiteX35" fmla="*/ 0 w 2170227"/>
                <a:gd name="connsiteY35" fmla="*/ 1101802 h 3498714"/>
                <a:gd name="connsiteX36" fmla="*/ 0 w 2170227"/>
                <a:gd name="connsiteY36" fmla="*/ 1003338 h 3498714"/>
                <a:gd name="connsiteX37" fmla="*/ 0 w 2170227"/>
                <a:gd name="connsiteY37" fmla="*/ 982486 h 3498714"/>
                <a:gd name="connsiteX38" fmla="*/ 12733 w 2170227"/>
                <a:gd name="connsiteY38" fmla="*/ 894663 h 3498714"/>
                <a:gd name="connsiteX39" fmla="*/ 20539 w 2170227"/>
                <a:gd name="connsiteY39" fmla="*/ 868773 h 3498714"/>
                <a:gd name="connsiteX40" fmla="*/ 358791 w 2170227"/>
                <a:gd name="connsiteY40" fmla="*/ 644545 h 3498714"/>
                <a:gd name="connsiteX41" fmla="*/ 682782 w 2170227"/>
                <a:gd name="connsiteY41" fmla="*/ 0 h 3498714"/>
                <a:gd name="connsiteX42" fmla="*/ 966919 w 2170227"/>
                <a:gd name="connsiteY42" fmla="*/ 284138 h 3498714"/>
                <a:gd name="connsiteX43" fmla="*/ 682782 w 2170227"/>
                <a:gd name="connsiteY43" fmla="*/ 568275 h 3498714"/>
                <a:gd name="connsiteX44" fmla="*/ 398645 w 2170227"/>
                <a:gd name="connsiteY44" fmla="*/ 284138 h 3498714"/>
                <a:gd name="connsiteX45" fmla="*/ 682782 w 2170227"/>
                <a:gd name="connsiteY45" fmla="*/ 0 h 3498714"/>
                <a:gd name="connsiteX46" fmla="*/ 2170227 w 2170227"/>
                <a:gd name="connsiteY46" fmla="*/ 3124562 h 3498714"/>
                <a:gd name="connsiteX47" fmla="*/ 2052754 w 2170227"/>
                <a:gd name="connsiteY47" fmla="*/ 2902312 h 3498714"/>
                <a:gd name="connsiteX48" fmla="*/ 682782 w 2170227"/>
                <a:gd name="connsiteY48" fmla="*/ 0 h 3498714"/>
                <a:gd name="connsiteX0" fmla="*/ 358791 w 2170227"/>
                <a:gd name="connsiteY0" fmla="*/ 644545 h 3498714"/>
                <a:gd name="connsiteX1" fmla="*/ 1006774 w 2170227"/>
                <a:gd name="connsiteY1" fmla="*/ 644545 h 3498714"/>
                <a:gd name="connsiteX2" fmla="*/ 1542636 w 2170227"/>
                <a:gd name="connsiteY2" fmla="*/ 1193969 h 3498714"/>
                <a:gd name="connsiteX3" fmla="*/ 1929878 w 2170227"/>
                <a:gd name="connsiteY3" fmla="*/ 1193970 h 3498714"/>
                <a:gd name="connsiteX4" fmla="*/ 2070059 w 2170227"/>
                <a:gd name="connsiteY4" fmla="*/ 1334152 h 3498714"/>
                <a:gd name="connsiteX5" fmla="*/ 1929878 w 2170227"/>
                <a:gd name="connsiteY5" fmla="*/ 1474333 h 3498714"/>
                <a:gd name="connsiteX6" fmla="*/ 1520943 w 2170227"/>
                <a:gd name="connsiteY6" fmla="*/ 1470388 h 3498714"/>
                <a:gd name="connsiteX7" fmla="*/ 1332825 w 2170227"/>
                <a:gd name="connsiteY7" fmla="*/ 1367201 h 3498714"/>
                <a:gd name="connsiteX8" fmla="*/ 1106501 w 2170227"/>
                <a:gd name="connsiteY8" fmla="*/ 1098289 h 3498714"/>
                <a:gd name="connsiteX9" fmla="*/ 1101049 w 2170227"/>
                <a:gd name="connsiteY9" fmla="*/ 1092836 h 3498714"/>
                <a:gd name="connsiteX10" fmla="*/ 1046523 w 2170227"/>
                <a:gd name="connsiteY10" fmla="*/ 1092836 h 3498714"/>
                <a:gd name="connsiteX11" fmla="*/ 1041071 w 2170227"/>
                <a:gd name="connsiteY11" fmla="*/ 1098289 h 3498714"/>
                <a:gd name="connsiteX12" fmla="*/ 1042136 w 2170227"/>
                <a:gd name="connsiteY12" fmla="*/ 1419754 h 3498714"/>
                <a:gd name="connsiteX13" fmla="*/ 1042136 w 2170227"/>
                <a:gd name="connsiteY13" fmla="*/ 3337652 h 3498714"/>
                <a:gd name="connsiteX14" fmla="*/ 881075 w 2170227"/>
                <a:gd name="connsiteY14" fmla="*/ 3498714 h 3498714"/>
                <a:gd name="connsiteX15" fmla="*/ 720012 w 2170227"/>
                <a:gd name="connsiteY15" fmla="*/ 3337652 h 3498714"/>
                <a:gd name="connsiteX16" fmla="*/ 720012 w 2170227"/>
                <a:gd name="connsiteY16" fmla="*/ 2125717 h 3498714"/>
                <a:gd name="connsiteX17" fmla="*/ 718947 w 2170227"/>
                <a:gd name="connsiteY17" fmla="*/ 2033194 h 3498714"/>
                <a:gd name="connsiteX18" fmla="*/ 714162 w 2170227"/>
                <a:gd name="connsiteY18" fmla="*/ 2028410 h 3498714"/>
                <a:gd name="connsiteX19" fmla="*/ 654759 w 2170227"/>
                <a:gd name="connsiteY19" fmla="*/ 2028410 h 3498714"/>
                <a:gd name="connsiteX20" fmla="*/ 649974 w 2170227"/>
                <a:gd name="connsiteY20" fmla="*/ 2033194 h 3498714"/>
                <a:gd name="connsiteX21" fmla="*/ 649974 w 2170227"/>
                <a:gd name="connsiteY21" fmla="*/ 2125717 h 3498714"/>
                <a:gd name="connsiteX22" fmla="*/ 649574 w 2170227"/>
                <a:gd name="connsiteY22" fmla="*/ 3337652 h 3498714"/>
                <a:gd name="connsiteX23" fmla="*/ 488511 w 2170227"/>
                <a:gd name="connsiteY23" fmla="*/ 3498714 h 3498714"/>
                <a:gd name="connsiteX24" fmla="*/ 327450 w 2170227"/>
                <a:gd name="connsiteY24" fmla="*/ 3337652 h 3498714"/>
                <a:gd name="connsiteX25" fmla="*/ 327450 w 2170227"/>
                <a:gd name="connsiteY25" fmla="*/ 1458216 h 3498714"/>
                <a:gd name="connsiteX26" fmla="*/ 322427 w 2170227"/>
                <a:gd name="connsiteY26" fmla="*/ 1098205 h 3498714"/>
                <a:gd name="connsiteX27" fmla="*/ 317058 w 2170227"/>
                <a:gd name="connsiteY27" fmla="*/ 1092836 h 3498714"/>
                <a:gd name="connsiteX28" fmla="*/ 263371 w 2170227"/>
                <a:gd name="connsiteY28" fmla="*/ 1092836 h 3498714"/>
                <a:gd name="connsiteX29" fmla="*/ 258001 w 2170227"/>
                <a:gd name="connsiteY29" fmla="*/ 1098205 h 3498714"/>
                <a:gd name="connsiteX30" fmla="*/ 258001 w 2170227"/>
                <a:gd name="connsiteY30" fmla="*/ 1444446 h 3498714"/>
                <a:gd name="connsiteX31" fmla="*/ 257700 w 2170227"/>
                <a:gd name="connsiteY31" fmla="*/ 1444370 h 3498714"/>
                <a:gd name="connsiteX32" fmla="*/ 257700 w 2170227"/>
                <a:gd name="connsiteY32" fmla="*/ 1912573 h 3498714"/>
                <a:gd name="connsiteX33" fmla="*/ 128850 w 2170227"/>
                <a:gd name="connsiteY33" fmla="*/ 2041423 h 3498714"/>
                <a:gd name="connsiteX34" fmla="*/ 0 w 2170227"/>
                <a:gd name="connsiteY34" fmla="*/ 1912573 h 3498714"/>
                <a:gd name="connsiteX35" fmla="*/ 0 w 2170227"/>
                <a:gd name="connsiteY35" fmla="*/ 1101802 h 3498714"/>
                <a:gd name="connsiteX36" fmla="*/ 0 w 2170227"/>
                <a:gd name="connsiteY36" fmla="*/ 1003338 h 3498714"/>
                <a:gd name="connsiteX37" fmla="*/ 0 w 2170227"/>
                <a:gd name="connsiteY37" fmla="*/ 982486 h 3498714"/>
                <a:gd name="connsiteX38" fmla="*/ 12733 w 2170227"/>
                <a:gd name="connsiteY38" fmla="*/ 894663 h 3498714"/>
                <a:gd name="connsiteX39" fmla="*/ 20539 w 2170227"/>
                <a:gd name="connsiteY39" fmla="*/ 868773 h 3498714"/>
                <a:gd name="connsiteX40" fmla="*/ 358791 w 2170227"/>
                <a:gd name="connsiteY40" fmla="*/ 644545 h 3498714"/>
                <a:gd name="connsiteX41" fmla="*/ 682782 w 2170227"/>
                <a:gd name="connsiteY41" fmla="*/ 0 h 3498714"/>
                <a:gd name="connsiteX42" fmla="*/ 966919 w 2170227"/>
                <a:gd name="connsiteY42" fmla="*/ 284138 h 3498714"/>
                <a:gd name="connsiteX43" fmla="*/ 682782 w 2170227"/>
                <a:gd name="connsiteY43" fmla="*/ 568275 h 3498714"/>
                <a:gd name="connsiteX44" fmla="*/ 398645 w 2170227"/>
                <a:gd name="connsiteY44" fmla="*/ 284138 h 3498714"/>
                <a:gd name="connsiteX45" fmla="*/ 682782 w 2170227"/>
                <a:gd name="connsiteY45" fmla="*/ 0 h 3498714"/>
                <a:gd name="connsiteX46" fmla="*/ 2170227 w 2170227"/>
                <a:gd name="connsiteY46" fmla="*/ 3124562 h 3498714"/>
                <a:gd name="connsiteX47" fmla="*/ 682782 w 2170227"/>
                <a:gd name="connsiteY47" fmla="*/ 0 h 3498714"/>
                <a:gd name="connsiteX0" fmla="*/ 358791 w 2070059"/>
                <a:gd name="connsiteY0" fmla="*/ 644545 h 3498714"/>
                <a:gd name="connsiteX1" fmla="*/ 1006774 w 2070059"/>
                <a:gd name="connsiteY1" fmla="*/ 644545 h 3498714"/>
                <a:gd name="connsiteX2" fmla="*/ 1542636 w 2070059"/>
                <a:gd name="connsiteY2" fmla="*/ 1193969 h 3498714"/>
                <a:gd name="connsiteX3" fmla="*/ 1929878 w 2070059"/>
                <a:gd name="connsiteY3" fmla="*/ 1193970 h 3498714"/>
                <a:gd name="connsiteX4" fmla="*/ 2070059 w 2070059"/>
                <a:gd name="connsiteY4" fmla="*/ 1334152 h 3498714"/>
                <a:gd name="connsiteX5" fmla="*/ 1929878 w 2070059"/>
                <a:gd name="connsiteY5" fmla="*/ 1474333 h 3498714"/>
                <a:gd name="connsiteX6" fmla="*/ 1520943 w 2070059"/>
                <a:gd name="connsiteY6" fmla="*/ 1470388 h 3498714"/>
                <a:gd name="connsiteX7" fmla="*/ 1332825 w 2070059"/>
                <a:gd name="connsiteY7" fmla="*/ 1367201 h 3498714"/>
                <a:gd name="connsiteX8" fmla="*/ 1106501 w 2070059"/>
                <a:gd name="connsiteY8" fmla="*/ 1098289 h 3498714"/>
                <a:gd name="connsiteX9" fmla="*/ 1101049 w 2070059"/>
                <a:gd name="connsiteY9" fmla="*/ 1092836 h 3498714"/>
                <a:gd name="connsiteX10" fmla="*/ 1046523 w 2070059"/>
                <a:gd name="connsiteY10" fmla="*/ 1092836 h 3498714"/>
                <a:gd name="connsiteX11" fmla="*/ 1041071 w 2070059"/>
                <a:gd name="connsiteY11" fmla="*/ 1098289 h 3498714"/>
                <a:gd name="connsiteX12" fmla="*/ 1042136 w 2070059"/>
                <a:gd name="connsiteY12" fmla="*/ 1419754 h 3498714"/>
                <a:gd name="connsiteX13" fmla="*/ 1042136 w 2070059"/>
                <a:gd name="connsiteY13" fmla="*/ 3337652 h 3498714"/>
                <a:gd name="connsiteX14" fmla="*/ 881075 w 2070059"/>
                <a:gd name="connsiteY14" fmla="*/ 3498714 h 3498714"/>
                <a:gd name="connsiteX15" fmla="*/ 720012 w 2070059"/>
                <a:gd name="connsiteY15" fmla="*/ 3337652 h 3498714"/>
                <a:gd name="connsiteX16" fmla="*/ 720012 w 2070059"/>
                <a:gd name="connsiteY16" fmla="*/ 2125717 h 3498714"/>
                <a:gd name="connsiteX17" fmla="*/ 718947 w 2070059"/>
                <a:gd name="connsiteY17" fmla="*/ 2033194 h 3498714"/>
                <a:gd name="connsiteX18" fmla="*/ 714162 w 2070059"/>
                <a:gd name="connsiteY18" fmla="*/ 2028410 h 3498714"/>
                <a:gd name="connsiteX19" fmla="*/ 654759 w 2070059"/>
                <a:gd name="connsiteY19" fmla="*/ 2028410 h 3498714"/>
                <a:gd name="connsiteX20" fmla="*/ 649974 w 2070059"/>
                <a:gd name="connsiteY20" fmla="*/ 2033194 h 3498714"/>
                <a:gd name="connsiteX21" fmla="*/ 649974 w 2070059"/>
                <a:gd name="connsiteY21" fmla="*/ 2125717 h 3498714"/>
                <a:gd name="connsiteX22" fmla="*/ 649574 w 2070059"/>
                <a:gd name="connsiteY22" fmla="*/ 3337652 h 3498714"/>
                <a:gd name="connsiteX23" fmla="*/ 488511 w 2070059"/>
                <a:gd name="connsiteY23" fmla="*/ 3498714 h 3498714"/>
                <a:gd name="connsiteX24" fmla="*/ 327450 w 2070059"/>
                <a:gd name="connsiteY24" fmla="*/ 3337652 h 3498714"/>
                <a:gd name="connsiteX25" fmla="*/ 327450 w 2070059"/>
                <a:gd name="connsiteY25" fmla="*/ 1458216 h 3498714"/>
                <a:gd name="connsiteX26" fmla="*/ 322427 w 2070059"/>
                <a:gd name="connsiteY26" fmla="*/ 1098205 h 3498714"/>
                <a:gd name="connsiteX27" fmla="*/ 317058 w 2070059"/>
                <a:gd name="connsiteY27" fmla="*/ 1092836 h 3498714"/>
                <a:gd name="connsiteX28" fmla="*/ 263371 w 2070059"/>
                <a:gd name="connsiteY28" fmla="*/ 1092836 h 3498714"/>
                <a:gd name="connsiteX29" fmla="*/ 258001 w 2070059"/>
                <a:gd name="connsiteY29" fmla="*/ 1098205 h 3498714"/>
                <a:gd name="connsiteX30" fmla="*/ 258001 w 2070059"/>
                <a:gd name="connsiteY30" fmla="*/ 1444446 h 3498714"/>
                <a:gd name="connsiteX31" fmla="*/ 257700 w 2070059"/>
                <a:gd name="connsiteY31" fmla="*/ 1444370 h 3498714"/>
                <a:gd name="connsiteX32" fmla="*/ 257700 w 2070059"/>
                <a:gd name="connsiteY32" fmla="*/ 1912573 h 3498714"/>
                <a:gd name="connsiteX33" fmla="*/ 128850 w 2070059"/>
                <a:gd name="connsiteY33" fmla="*/ 2041423 h 3498714"/>
                <a:gd name="connsiteX34" fmla="*/ 0 w 2070059"/>
                <a:gd name="connsiteY34" fmla="*/ 1912573 h 3498714"/>
                <a:gd name="connsiteX35" fmla="*/ 0 w 2070059"/>
                <a:gd name="connsiteY35" fmla="*/ 1101802 h 3498714"/>
                <a:gd name="connsiteX36" fmla="*/ 0 w 2070059"/>
                <a:gd name="connsiteY36" fmla="*/ 1003338 h 3498714"/>
                <a:gd name="connsiteX37" fmla="*/ 0 w 2070059"/>
                <a:gd name="connsiteY37" fmla="*/ 982486 h 3498714"/>
                <a:gd name="connsiteX38" fmla="*/ 12733 w 2070059"/>
                <a:gd name="connsiteY38" fmla="*/ 894663 h 3498714"/>
                <a:gd name="connsiteX39" fmla="*/ 20539 w 2070059"/>
                <a:gd name="connsiteY39" fmla="*/ 868773 h 3498714"/>
                <a:gd name="connsiteX40" fmla="*/ 358791 w 2070059"/>
                <a:gd name="connsiteY40" fmla="*/ 644545 h 3498714"/>
                <a:gd name="connsiteX41" fmla="*/ 682782 w 2070059"/>
                <a:gd name="connsiteY41" fmla="*/ 0 h 3498714"/>
                <a:gd name="connsiteX42" fmla="*/ 966919 w 2070059"/>
                <a:gd name="connsiteY42" fmla="*/ 284138 h 3498714"/>
                <a:gd name="connsiteX43" fmla="*/ 682782 w 2070059"/>
                <a:gd name="connsiteY43" fmla="*/ 568275 h 3498714"/>
                <a:gd name="connsiteX44" fmla="*/ 398645 w 2070059"/>
                <a:gd name="connsiteY44" fmla="*/ 284138 h 3498714"/>
                <a:gd name="connsiteX45" fmla="*/ 682782 w 2070059"/>
                <a:gd name="connsiteY45" fmla="*/ 0 h 3498714"/>
                <a:gd name="connsiteX46" fmla="*/ 682782 w 2070059"/>
                <a:gd name="connsiteY46" fmla="*/ 0 h 3498714"/>
                <a:gd name="connsiteX0" fmla="*/ 358791 w 2070059"/>
                <a:gd name="connsiteY0" fmla="*/ 644545 h 3498714"/>
                <a:gd name="connsiteX1" fmla="*/ 1006774 w 2070059"/>
                <a:gd name="connsiteY1" fmla="*/ 644545 h 3498714"/>
                <a:gd name="connsiteX2" fmla="*/ 1542636 w 2070059"/>
                <a:gd name="connsiteY2" fmla="*/ 1193969 h 3498714"/>
                <a:gd name="connsiteX3" fmla="*/ 1929878 w 2070059"/>
                <a:gd name="connsiteY3" fmla="*/ 1193970 h 3498714"/>
                <a:gd name="connsiteX4" fmla="*/ 2070059 w 2070059"/>
                <a:gd name="connsiteY4" fmla="*/ 1334152 h 3498714"/>
                <a:gd name="connsiteX5" fmla="*/ 1929878 w 2070059"/>
                <a:gd name="connsiteY5" fmla="*/ 1474333 h 3498714"/>
                <a:gd name="connsiteX6" fmla="*/ 1520943 w 2070059"/>
                <a:gd name="connsiteY6" fmla="*/ 1470388 h 3498714"/>
                <a:gd name="connsiteX7" fmla="*/ 1332825 w 2070059"/>
                <a:gd name="connsiteY7" fmla="*/ 1367201 h 3498714"/>
                <a:gd name="connsiteX8" fmla="*/ 1106501 w 2070059"/>
                <a:gd name="connsiteY8" fmla="*/ 1098289 h 3498714"/>
                <a:gd name="connsiteX9" fmla="*/ 1101049 w 2070059"/>
                <a:gd name="connsiteY9" fmla="*/ 1092836 h 3498714"/>
                <a:gd name="connsiteX10" fmla="*/ 1046523 w 2070059"/>
                <a:gd name="connsiteY10" fmla="*/ 1092836 h 3498714"/>
                <a:gd name="connsiteX11" fmla="*/ 1041071 w 2070059"/>
                <a:gd name="connsiteY11" fmla="*/ 1098289 h 3498714"/>
                <a:gd name="connsiteX12" fmla="*/ 1042136 w 2070059"/>
                <a:gd name="connsiteY12" fmla="*/ 1419754 h 3498714"/>
                <a:gd name="connsiteX13" fmla="*/ 1042136 w 2070059"/>
                <a:gd name="connsiteY13" fmla="*/ 3337652 h 3498714"/>
                <a:gd name="connsiteX14" fmla="*/ 881075 w 2070059"/>
                <a:gd name="connsiteY14" fmla="*/ 3498714 h 3498714"/>
                <a:gd name="connsiteX15" fmla="*/ 720012 w 2070059"/>
                <a:gd name="connsiteY15" fmla="*/ 3337652 h 3498714"/>
                <a:gd name="connsiteX16" fmla="*/ 720012 w 2070059"/>
                <a:gd name="connsiteY16" fmla="*/ 2125717 h 3498714"/>
                <a:gd name="connsiteX17" fmla="*/ 718947 w 2070059"/>
                <a:gd name="connsiteY17" fmla="*/ 2033194 h 3498714"/>
                <a:gd name="connsiteX18" fmla="*/ 714162 w 2070059"/>
                <a:gd name="connsiteY18" fmla="*/ 2028410 h 3498714"/>
                <a:gd name="connsiteX19" fmla="*/ 654759 w 2070059"/>
                <a:gd name="connsiteY19" fmla="*/ 2028410 h 3498714"/>
                <a:gd name="connsiteX20" fmla="*/ 649974 w 2070059"/>
                <a:gd name="connsiteY20" fmla="*/ 2033194 h 3498714"/>
                <a:gd name="connsiteX21" fmla="*/ 649974 w 2070059"/>
                <a:gd name="connsiteY21" fmla="*/ 2125717 h 3498714"/>
                <a:gd name="connsiteX22" fmla="*/ 649574 w 2070059"/>
                <a:gd name="connsiteY22" fmla="*/ 3337652 h 3498714"/>
                <a:gd name="connsiteX23" fmla="*/ 488511 w 2070059"/>
                <a:gd name="connsiteY23" fmla="*/ 3498714 h 3498714"/>
                <a:gd name="connsiteX24" fmla="*/ 327450 w 2070059"/>
                <a:gd name="connsiteY24" fmla="*/ 3337652 h 3498714"/>
                <a:gd name="connsiteX25" fmla="*/ 327450 w 2070059"/>
                <a:gd name="connsiteY25" fmla="*/ 1458216 h 3498714"/>
                <a:gd name="connsiteX26" fmla="*/ 322427 w 2070059"/>
                <a:gd name="connsiteY26" fmla="*/ 1098205 h 3498714"/>
                <a:gd name="connsiteX27" fmla="*/ 317058 w 2070059"/>
                <a:gd name="connsiteY27" fmla="*/ 1092836 h 3498714"/>
                <a:gd name="connsiteX28" fmla="*/ 263371 w 2070059"/>
                <a:gd name="connsiteY28" fmla="*/ 1092836 h 3498714"/>
                <a:gd name="connsiteX29" fmla="*/ 258001 w 2070059"/>
                <a:gd name="connsiteY29" fmla="*/ 1098205 h 3498714"/>
                <a:gd name="connsiteX30" fmla="*/ 258001 w 2070059"/>
                <a:gd name="connsiteY30" fmla="*/ 1444446 h 3498714"/>
                <a:gd name="connsiteX31" fmla="*/ 257700 w 2070059"/>
                <a:gd name="connsiteY31" fmla="*/ 1444370 h 3498714"/>
                <a:gd name="connsiteX32" fmla="*/ 257700 w 2070059"/>
                <a:gd name="connsiteY32" fmla="*/ 1912573 h 3498714"/>
                <a:gd name="connsiteX33" fmla="*/ 128850 w 2070059"/>
                <a:gd name="connsiteY33" fmla="*/ 2041423 h 3498714"/>
                <a:gd name="connsiteX34" fmla="*/ 0 w 2070059"/>
                <a:gd name="connsiteY34" fmla="*/ 1912573 h 3498714"/>
                <a:gd name="connsiteX35" fmla="*/ 0 w 2070059"/>
                <a:gd name="connsiteY35" fmla="*/ 1101802 h 3498714"/>
                <a:gd name="connsiteX36" fmla="*/ 0 w 2070059"/>
                <a:gd name="connsiteY36" fmla="*/ 1003338 h 3498714"/>
                <a:gd name="connsiteX37" fmla="*/ 0 w 2070059"/>
                <a:gd name="connsiteY37" fmla="*/ 982486 h 3498714"/>
                <a:gd name="connsiteX38" fmla="*/ 12733 w 2070059"/>
                <a:gd name="connsiteY38" fmla="*/ 894663 h 3498714"/>
                <a:gd name="connsiteX39" fmla="*/ 20539 w 2070059"/>
                <a:gd name="connsiteY39" fmla="*/ 868773 h 3498714"/>
                <a:gd name="connsiteX40" fmla="*/ 358791 w 2070059"/>
                <a:gd name="connsiteY40" fmla="*/ 644545 h 3498714"/>
                <a:gd name="connsiteX41" fmla="*/ 682782 w 2070059"/>
                <a:gd name="connsiteY41" fmla="*/ 0 h 3498714"/>
                <a:gd name="connsiteX42" fmla="*/ 966919 w 2070059"/>
                <a:gd name="connsiteY42" fmla="*/ 284138 h 3498714"/>
                <a:gd name="connsiteX43" fmla="*/ 682782 w 2070059"/>
                <a:gd name="connsiteY43" fmla="*/ 568275 h 3498714"/>
                <a:gd name="connsiteX44" fmla="*/ 398645 w 2070059"/>
                <a:gd name="connsiteY44" fmla="*/ 284138 h 3498714"/>
                <a:gd name="connsiteX45" fmla="*/ 682782 w 2070059"/>
                <a:gd name="connsiteY45" fmla="*/ 0 h 3498714"/>
                <a:gd name="connsiteX46" fmla="*/ 682782 w 2070059"/>
                <a:gd name="connsiteY46" fmla="*/ 0 h 349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070059" h="3498714">
                  <a:close/>
                  <a:moveTo>
                    <a:pt x="358791" y="644545"/>
                  </a:moveTo>
                  <a:lnTo>
                    <a:pt x="1006774" y="644545"/>
                  </a:lnTo>
                  <a:cubicBezTo>
                    <a:pt x="1218838" y="701686"/>
                    <a:pt x="1428136" y="1033850"/>
                    <a:pt x="1542636" y="1193969"/>
                  </a:cubicBezTo>
                  <a:lnTo>
                    <a:pt x="1929878" y="1193970"/>
                  </a:lnTo>
                  <a:cubicBezTo>
                    <a:pt x="2007298" y="1193970"/>
                    <a:pt x="2070059" y="1256732"/>
                    <a:pt x="2070059" y="1334152"/>
                  </a:cubicBezTo>
                  <a:cubicBezTo>
                    <a:pt x="2070059" y="1411572"/>
                    <a:pt x="2021397" y="1451628"/>
                    <a:pt x="1929878" y="1474333"/>
                  </a:cubicBezTo>
                  <a:lnTo>
                    <a:pt x="1520943" y="1470388"/>
                  </a:lnTo>
                  <a:cubicBezTo>
                    <a:pt x="1397118" y="1474356"/>
                    <a:pt x="1368544" y="1410856"/>
                    <a:pt x="1332825" y="1367201"/>
                  </a:cubicBezTo>
                  <a:lnTo>
                    <a:pt x="1106501" y="1098289"/>
                  </a:lnTo>
                  <a:cubicBezTo>
                    <a:pt x="1106501" y="1095278"/>
                    <a:pt x="1104059" y="1092836"/>
                    <a:pt x="1101049" y="1092836"/>
                  </a:cubicBezTo>
                  <a:lnTo>
                    <a:pt x="1046523" y="1092836"/>
                  </a:lnTo>
                  <a:cubicBezTo>
                    <a:pt x="1043511" y="1092836"/>
                    <a:pt x="1041071" y="1095278"/>
                    <a:pt x="1041071" y="1098289"/>
                  </a:cubicBezTo>
                  <a:lnTo>
                    <a:pt x="1042136" y="1419754"/>
                  </a:lnTo>
                  <a:lnTo>
                    <a:pt x="1042136" y="3337652"/>
                  </a:lnTo>
                  <a:cubicBezTo>
                    <a:pt x="1042136" y="3426604"/>
                    <a:pt x="970027" y="3498714"/>
                    <a:pt x="881075" y="3498714"/>
                  </a:cubicBezTo>
                  <a:cubicBezTo>
                    <a:pt x="792123" y="3498714"/>
                    <a:pt x="720012" y="3426604"/>
                    <a:pt x="720012" y="3337652"/>
                  </a:cubicBezTo>
                  <a:lnTo>
                    <a:pt x="720012" y="2125717"/>
                  </a:lnTo>
                  <a:lnTo>
                    <a:pt x="718947" y="2033194"/>
                  </a:lnTo>
                  <a:cubicBezTo>
                    <a:pt x="718947" y="2030552"/>
                    <a:pt x="716805" y="2028410"/>
                    <a:pt x="714162" y="2028410"/>
                  </a:cubicBezTo>
                  <a:lnTo>
                    <a:pt x="654759" y="2028410"/>
                  </a:lnTo>
                  <a:cubicBezTo>
                    <a:pt x="652116" y="2028410"/>
                    <a:pt x="649974" y="2030552"/>
                    <a:pt x="649974" y="2033194"/>
                  </a:cubicBezTo>
                  <a:lnTo>
                    <a:pt x="649974" y="2125717"/>
                  </a:lnTo>
                  <a:cubicBezTo>
                    <a:pt x="649841" y="2529695"/>
                    <a:pt x="649707" y="2933674"/>
                    <a:pt x="649574" y="3337652"/>
                  </a:cubicBezTo>
                  <a:cubicBezTo>
                    <a:pt x="649574" y="3426604"/>
                    <a:pt x="577464" y="3498714"/>
                    <a:pt x="488511" y="3498714"/>
                  </a:cubicBezTo>
                  <a:cubicBezTo>
                    <a:pt x="399560" y="3498714"/>
                    <a:pt x="327450" y="3426604"/>
                    <a:pt x="327450" y="3337652"/>
                  </a:cubicBezTo>
                  <a:lnTo>
                    <a:pt x="327450" y="1458216"/>
                  </a:lnTo>
                  <a:cubicBezTo>
                    <a:pt x="325775" y="1338213"/>
                    <a:pt x="324101" y="1218209"/>
                    <a:pt x="322427" y="1098205"/>
                  </a:cubicBezTo>
                  <a:cubicBezTo>
                    <a:pt x="322427" y="1095240"/>
                    <a:pt x="320022" y="1092836"/>
                    <a:pt x="317058" y="1092836"/>
                  </a:cubicBezTo>
                  <a:lnTo>
                    <a:pt x="263371" y="1092836"/>
                  </a:lnTo>
                  <a:cubicBezTo>
                    <a:pt x="260405" y="1092836"/>
                    <a:pt x="258001" y="1095240"/>
                    <a:pt x="258001" y="1098205"/>
                  </a:cubicBezTo>
                  <a:lnTo>
                    <a:pt x="258001" y="1444446"/>
                  </a:lnTo>
                  <a:cubicBezTo>
                    <a:pt x="257895" y="1444438"/>
                    <a:pt x="257798" y="1444405"/>
                    <a:pt x="257700" y="1444370"/>
                  </a:cubicBezTo>
                  <a:lnTo>
                    <a:pt x="257700" y="1912573"/>
                  </a:lnTo>
                  <a:cubicBezTo>
                    <a:pt x="257700" y="1983734"/>
                    <a:pt x="200011" y="2041423"/>
                    <a:pt x="128850" y="2041423"/>
                  </a:cubicBezTo>
                  <a:cubicBezTo>
                    <a:pt x="57687" y="2041423"/>
                    <a:pt x="0" y="1983734"/>
                    <a:pt x="0" y="1912573"/>
                  </a:cubicBezTo>
                  <a:lnTo>
                    <a:pt x="0" y="1101802"/>
                  </a:lnTo>
                  <a:lnTo>
                    <a:pt x="0" y="1003338"/>
                  </a:lnTo>
                  <a:lnTo>
                    <a:pt x="0" y="982486"/>
                  </a:lnTo>
                  <a:cubicBezTo>
                    <a:pt x="0" y="952006"/>
                    <a:pt x="3965" y="922453"/>
                    <a:pt x="12733" y="894663"/>
                  </a:cubicBezTo>
                  <a:cubicBezTo>
                    <a:pt x="15126" y="886107"/>
                    <a:pt x="14856" y="875418"/>
                    <a:pt x="20539" y="868773"/>
                  </a:cubicBezTo>
                  <a:cubicBezTo>
                    <a:pt x="72281" y="735385"/>
                    <a:pt x="207053" y="644545"/>
                    <a:pt x="358791" y="644545"/>
                  </a:cubicBezTo>
                  <a:close/>
                  <a:moveTo>
                    <a:pt x="682782" y="0"/>
                  </a:moveTo>
                  <a:cubicBezTo>
                    <a:pt x="730138" y="47356"/>
                    <a:pt x="917322" y="-43301"/>
                    <a:pt x="966919" y="284138"/>
                  </a:cubicBezTo>
                  <a:cubicBezTo>
                    <a:pt x="1016516" y="611577"/>
                    <a:pt x="839708" y="568275"/>
                    <a:pt x="682782" y="568275"/>
                  </a:cubicBezTo>
                  <a:cubicBezTo>
                    <a:pt x="525858" y="568275"/>
                    <a:pt x="398645" y="441063"/>
                    <a:pt x="398645" y="284138"/>
                  </a:cubicBezTo>
                  <a:cubicBezTo>
                    <a:pt x="398645" y="127213"/>
                    <a:pt x="525858" y="0"/>
                    <a:pt x="682782" y="0"/>
                  </a:cubicBezTo>
                  <a:lnTo>
                    <a:pt x="682782" y="0"/>
                  </a:lnTo>
                  <a:close/>
                </a:path>
              </a:pathLst>
            </a:custGeom>
            <a:solidFill>
              <a:schemeClr val="bg1">
                <a:lumMod val="50000"/>
              </a:schemeClr>
            </a:solidFill>
            <a:ln w="19050">
              <a:noFill/>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16" tIns="91416" rIns="91416" bIns="91416"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a:endParaRPr lang="en-US" sz="1200" dirty="0">
                <a:solidFill>
                  <a:schemeClr val="tx1"/>
                </a:solidFill>
              </a:endParaRPr>
            </a:p>
          </p:txBody>
        </p:sp>
      </p:grpSp>
      <p:pic>
        <p:nvPicPr>
          <p:cNvPr id="123" name="Picture 33" descr="C:\Users\sakuu\Documents\Ballmer WPC\AI\Home.png"/>
          <p:cNvPicPr>
            <a:picLocks noChangeAspect="1" noChangeArrowheads="1"/>
          </p:cNvPicPr>
          <p:nvPr/>
        </p:nvPicPr>
        <p:blipFill>
          <a:blip r:embed="rId3" cstate="print">
            <a:duotone>
              <a:schemeClr val="accent5">
                <a:shade val="45000"/>
                <a:satMod val="135000"/>
              </a:schemeClr>
              <a:prstClr val="white"/>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black">
          <a:xfrm>
            <a:off x="6856572" y="2177013"/>
            <a:ext cx="245457" cy="213122"/>
          </a:xfrm>
          <a:prstGeom prst="rect">
            <a:avLst/>
          </a:prstGeom>
          <a:noFill/>
          <a:extLst/>
        </p:spPr>
      </p:pic>
      <p:sp>
        <p:nvSpPr>
          <p:cNvPr id="124" name="Freeform 5"/>
          <p:cNvSpPr>
            <a:spLocks noChangeAspect="1"/>
          </p:cNvSpPr>
          <p:nvPr/>
        </p:nvSpPr>
        <p:spPr bwMode="auto">
          <a:xfrm flipH="1">
            <a:off x="5810295" y="2486428"/>
            <a:ext cx="293353" cy="193903"/>
          </a:xfrm>
          <a:custGeom>
            <a:avLst/>
            <a:gdLst/>
            <a:ahLst/>
            <a:cxnLst/>
            <a:rect l="l" t="t" r="r" b="b"/>
            <a:pathLst>
              <a:path w="6776429" h="4409039">
                <a:moveTo>
                  <a:pt x="5567597" y="4312767"/>
                </a:moveTo>
                <a:lnTo>
                  <a:pt x="3745936" y="4312767"/>
                </a:lnTo>
                <a:lnTo>
                  <a:pt x="3745936" y="4409039"/>
                </a:lnTo>
                <a:lnTo>
                  <a:pt x="5567597" y="4409039"/>
                </a:lnTo>
                <a:close/>
                <a:moveTo>
                  <a:pt x="2248864" y="4188766"/>
                </a:moveTo>
                <a:lnTo>
                  <a:pt x="7064" y="4250296"/>
                </a:lnTo>
                <a:lnTo>
                  <a:pt x="7064" y="4323099"/>
                </a:lnTo>
                <a:lnTo>
                  <a:pt x="7064" y="4409039"/>
                </a:lnTo>
                <a:lnTo>
                  <a:pt x="2248864" y="4409039"/>
                </a:lnTo>
                <a:close/>
                <a:moveTo>
                  <a:pt x="5567597" y="4005612"/>
                </a:moveTo>
                <a:lnTo>
                  <a:pt x="3745936" y="4005612"/>
                </a:lnTo>
                <a:lnTo>
                  <a:pt x="3745936" y="4234831"/>
                </a:lnTo>
                <a:lnTo>
                  <a:pt x="5567597" y="4234831"/>
                </a:lnTo>
                <a:close/>
                <a:moveTo>
                  <a:pt x="5567597" y="3826820"/>
                </a:moveTo>
                <a:lnTo>
                  <a:pt x="3745936" y="3826820"/>
                </a:lnTo>
                <a:lnTo>
                  <a:pt x="3745936" y="3927677"/>
                </a:lnTo>
                <a:lnTo>
                  <a:pt x="5567597" y="3927677"/>
                </a:lnTo>
                <a:close/>
                <a:moveTo>
                  <a:pt x="2248864" y="3467092"/>
                </a:moveTo>
                <a:lnTo>
                  <a:pt x="7064" y="3496562"/>
                </a:lnTo>
                <a:lnTo>
                  <a:pt x="7064" y="3648517"/>
                </a:lnTo>
                <a:lnTo>
                  <a:pt x="7064" y="4072338"/>
                </a:lnTo>
                <a:lnTo>
                  <a:pt x="7064" y="4171229"/>
                </a:lnTo>
                <a:lnTo>
                  <a:pt x="7064" y="4198354"/>
                </a:lnTo>
                <a:lnTo>
                  <a:pt x="7064" y="4204261"/>
                </a:lnTo>
                <a:lnTo>
                  <a:pt x="2248864" y="4175922"/>
                </a:lnTo>
                <a:lnTo>
                  <a:pt x="2248864" y="4005612"/>
                </a:lnTo>
                <a:lnTo>
                  <a:pt x="1363292" y="4005612"/>
                </a:lnTo>
                <a:lnTo>
                  <a:pt x="1363292" y="3927677"/>
                </a:lnTo>
                <a:lnTo>
                  <a:pt x="2248864" y="3927677"/>
                </a:lnTo>
                <a:lnTo>
                  <a:pt x="2248864" y="3826820"/>
                </a:lnTo>
                <a:lnTo>
                  <a:pt x="395566" y="3826820"/>
                </a:lnTo>
                <a:lnTo>
                  <a:pt x="395566" y="3746593"/>
                </a:lnTo>
                <a:lnTo>
                  <a:pt x="2248864" y="3746593"/>
                </a:lnTo>
                <a:close/>
                <a:moveTo>
                  <a:pt x="2248864" y="3327119"/>
                </a:moveTo>
                <a:lnTo>
                  <a:pt x="7064" y="3327119"/>
                </a:lnTo>
                <a:lnTo>
                  <a:pt x="7064" y="3397756"/>
                </a:lnTo>
                <a:lnTo>
                  <a:pt x="7064" y="3455443"/>
                </a:lnTo>
                <a:lnTo>
                  <a:pt x="7064" y="3464505"/>
                </a:lnTo>
                <a:lnTo>
                  <a:pt x="2248864" y="3450933"/>
                </a:lnTo>
                <a:close/>
                <a:moveTo>
                  <a:pt x="3678126" y="3327119"/>
                </a:moveTo>
                <a:lnTo>
                  <a:pt x="3676646" y="3327119"/>
                </a:lnTo>
                <a:lnTo>
                  <a:pt x="2316674" y="3327119"/>
                </a:lnTo>
                <a:lnTo>
                  <a:pt x="2316674" y="3450522"/>
                </a:lnTo>
                <a:lnTo>
                  <a:pt x="2316674" y="3466201"/>
                </a:lnTo>
                <a:lnTo>
                  <a:pt x="2316674" y="3746593"/>
                </a:lnTo>
                <a:lnTo>
                  <a:pt x="2316674" y="3826820"/>
                </a:lnTo>
                <a:lnTo>
                  <a:pt x="2316674" y="3927677"/>
                </a:lnTo>
                <a:lnTo>
                  <a:pt x="2316674" y="4005612"/>
                </a:lnTo>
                <a:lnTo>
                  <a:pt x="2316674" y="4175065"/>
                </a:lnTo>
                <a:lnTo>
                  <a:pt x="2316674" y="4186905"/>
                </a:lnTo>
                <a:lnTo>
                  <a:pt x="2316674" y="4409039"/>
                </a:lnTo>
                <a:lnTo>
                  <a:pt x="3676646" y="4409039"/>
                </a:lnTo>
                <a:lnTo>
                  <a:pt x="3678126" y="4409039"/>
                </a:lnTo>
                <a:lnTo>
                  <a:pt x="3678126" y="4312767"/>
                </a:lnTo>
                <a:lnTo>
                  <a:pt x="3676646" y="4312767"/>
                </a:lnTo>
                <a:lnTo>
                  <a:pt x="3676646" y="4234831"/>
                </a:lnTo>
                <a:lnTo>
                  <a:pt x="3678126" y="4234831"/>
                </a:lnTo>
                <a:lnTo>
                  <a:pt x="3678126" y="4005612"/>
                </a:lnTo>
                <a:lnTo>
                  <a:pt x="3676646" y="4005612"/>
                </a:lnTo>
                <a:lnTo>
                  <a:pt x="3676646" y="3927677"/>
                </a:lnTo>
                <a:lnTo>
                  <a:pt x="3678126" y="3927677"/>
                </a:lnTo>
                <a:lnTo>
                  <a:pt x="3678126" y="3826820"/>
                </a:lnTo>
                <a:lnTo>
                  <a:pt x="3676646" y="3826820"/>
                </a:lnTo>
                <a:lnTo>
                  <a:pt x="3676646" y="3746593"/>
                </a:lnTo>
                <a:lnTo>
                  <a:pt x="3678126" y="3746593"/>
                </a:lnTo>
                <a:lnTo>
                  <a:pt x="3678126" y="3448305"/>
                </a:lnTo>
                <a:lnTo>
                  <a:pt x="3676646" y="3448324"/>
                </a:lnTo>
                <a:lnTo>
                  <a:pt x="3676646" y="3442289"/>
                </a:lnTo>
                <a:lnTo>
                  <a:pt x="3678126" y="3442280"/>
                </a:lnTo>
                <a:close/>
                <a:moveTo>
                  <a:pt x="5567597" y="3327119"/>
                </a:moveTo>
                <a:lnTo>
                  <a:pt x="3745936" y="3327119"/>
                </a:lnTo>
                <a:lnTo>
                  <a:pt x="3745936" y="3441869"/>
                </a:lnTo>
                <a:lnTo>
                  <a:pt x="4527642" y="3437136"/>
                </a:lnTo>
                <a:lnTo>
                  <a:pt x="4567848" y="3436607"/>
                </a:lnTo>
                <a:lnTo>
                  <a:pt x="4614939" y="3436607"/>
                </a:lnTo>
                <a:lnTo>
                  <a:pt x="4527642" y="3437136"/>
                </a:lnTo>
                <a:lnTo>
                  <a:pt x="3745936" y="3447413"/>
                </a:lnTo>
                <a:lnTo>
                  <a:pt x="3745936" y="3746593"/>
                </a:lnTo>
                <a:lnTo>
                  <a:pt x="5567597" y="3746593"/>
                </a:lnTo>
                <a:close/>
                <a:moveTo>
                  <a:pt x="233976" y="3083410"/>
                </a:moveTo>
                <a:lnTo>
                  <a:pt x="0" y="3296552"/>
                </a:lnTo>
                <a:lnTo>
                  <a:pt x="1040822" y="3288261"/>
                </a:lnTo>
                <a:cubicBezTo>
                  <a:pt x="651034" y="3226258"/>
                  <a:pt x="628344" y="3243118"/>
                  <a:pt x="233976" y="3083410"/>
                </a:cubicBezTo>
                <a:close/>
                <a:moveTo>
                  <a:pt x="6776429" y="2826778"/>
                </a:moveTo>
                <a:lnTo>
                  <a:pt x="5635408" y="3963226"/>
                </a:lnTo>
                <a:lnTo>
                  <a:pt x="5635408" y="4196285"/>
                </a:lnTo>
                <a:lnTo>
                  <a:pt x="6482110" y="3349488"/>
                </a:lnTo>
                <a:lnTo>
                  <a:pt x="6482110" y="3434149"/>
                </a:lnTo>
                <a:lnTo>
                  <a:pt x="5635408" y="4276423"/>
                </a:lnTo>
                <a:lnTo>
                  <a:pt x="5635408" y="4373588"/>
                </a:lnTo>
                <a:lnTo>
                  <a:pt x="6776429" y="3234056"/>
                </a:lnTo>
                <a:close/>
                <a:moveTo>
                  <a:pt x="1738028" y="2499490"/>
                </a:moveTo>
                <a:lnTo>
                  <a:pt x="1755660" y="2501846"/>
                </a:lnTo>
                <a:lnTo>
                  <a:pt x="1770940" y="2501846"/>
                </a:lnTo>
                <a:lnTo>
                  <a:pt x="1789746" y="2501846"/>
                </a:lnTo>
                <a:lnTo>
                  <a:pt x="1805028" y="2504200"/>
                </a:lnTo>
                <a:lnTo>
                  <a:pt x="1822658" y="2507731"/>
                </a:lnTo>
                <a:lnTo>
                  <a:pt x="1836764" y="2507731"/>
                </a:lnTo>
                <a:lnTo>
                  <a:pt x="1849694" y="2510086"/>
                </a:lnTo>
                <a:lnTo>
                  <a:pt x="1862622" y="2512440"/>
                </a:lnTo>
                <a:lnTo>
                  <a:pt x="1876728" y="2519505"/>
                </a:lnTo>
                <a:lnTo>
                  <a:pt x="1896710" y="2526568"/>
                </a:lnTo>
                <a:lnTo>
                  <a:pt x="1919042" y="2537163"/>
                </a:lnTo>
                <a:lnTo>
                  <a:pt x="1931974" y="2546582"/>
                </a:lnTo>
                <a:lnTo>
                  <a:pt x="1946078" y="2559531"/>
                </a:lnTo>
                <a:lnTo>
                  <a:pt x="1954306" y="2573659"/>
                </a:lnTo>
                <a:lnTo>
                  <a:pt x="1963710" y="2588964"/>
                </a:lnTo>
                <a:lnTo>
                  <a:pt x="1966060" y="2601913"/>
                </a:lnTo>
                <a:lnTo>
                  <a:pt x="1966060" y="2619574"/>
                </a:lnTo>
                <a:lnTo>
                  <a:pt x="1961358" y="2636055"/>
                </a:lnTo>
                <a:lnTo>
                  <a:pt x="1954306" y="2653714"/>
                </a:lnTo>
                <a:lnTo>
                  <a:pt x="1943728" y="2671374"/>
                </a:lnTo>
                <a:lnTo>
                  <a:pt x="1929622" y="2689033"/>
                </a:lnTo>
                <a:lnTo>
                  <a:pt x="1921394" y="2698451"/>
                </a:lnTo>
                <a:lnTo>
                  <a:pt x="1911990" y="2707869"/>
                </a:lnTo>
                <a:lnTo>
                  <a:pt x="1901412" y="2716110"/>
                </a:lnTo>
                <a:lnTo>
                  <a:pt x="1892008" y="2727882"/>
                </a:lnTo>
                <a:lnTo>
                  <a:pt x="1879078" y="2733769"/>
                </a:lnTo>
                <a:lnTo>
                  <a:pt x="1864974" y="2743187"/>
                </a:lnTo>
                <a:lnTo>
                  <a:pt x="1852044" y="2752605"/>
                </a:lnTo>
                <a:lnTo>
                  <a:pt x="1837940" y="2760846"/>
                </a:lnTo>
                <a:lnTo>
                  <a:pt x="1822658" y="2767910"/>
                </a:lnTo>
                <a:lnTo>
                  <a:pt x="1807378" y="2776151"/>
                </a:lnTo>
                <a:lnTo>
                  <a:pt x="1792096" y="2783215"/>
                </a:lnTo>
                <a:lnTo>
                  <a:pt x="1777992" y="2792634"/>
                </a:lnTo>
                <a:lnTo>
                  <a:pt x="1760360" y="2797343"/>
                </a:lnTo>
                <a:lnTo>
                  <a:pt x="1745080" y="2803228"/>
                </a:lnTo>
                <a:lnTo>
                  <a:pt x="1726272" y="2810292"/>
                </a:lnTo>
                <a:lnTo>
                  <a:pt x="1710992" y="2817355"/>
                </a:lnTo>
                <a:lnTo>
                  <a:pt x="1693360" y="2820888"/>
                </a:lnTo>
                <a:lnTo>
                  <a:pt x="1678082" y="2827951"/>
                </a:lnTo>
                <a:lnTo>
                  <a:pt x="1659274" y="2832660"/>
                </a:lnTo>
                <a:lnTo>
                  <a:pt x="1643992" y="2839725"/>
                </a:lnTo>
                <a:lnTo>
                  <a:pt x="1624012" y="2842079"/>
                </a:lnTo>
                <a:lnTo>
                  <a:pt x="1606380" y="2845610"/>
                </a:lnTo>
                <a:lnTo>
                  <a:pt x="1588748" y="2847965"/>
                </a:lnTo>
                <a:lnTo>
                  <a:pt x="1572292" y="2852675"/>
                </a:lnTo>
                <a:lnTo>
                  <a:pt x="1552310" y="2855028"/>
                </a:lnTo>
                <a:lnTo>
                  <a:pt x="1534678" y="2857384"/>
                </a:lnTo>
                <a:lnTo>
                  <a:pt x="1517046" y="2859738"/>
                </a:lnTo>
                <a:lnTo>
                  <a:pt x="1500590" y="2864447"/>
                </a:lnTo>
                <a:lnTo>
                  <a:pt x="1480608" y="2864447"/>
                </a:lnTo>
                <a:lnTo>
                  <a:pt x="1465328" y="2864447"/>
                </a:lnTo>
                <a:lnTo>
                  <a:pt x="1447696" y="2864447"/>
                </a:lnTo>
                <a:lnTo>
                  <a:pt x="1432416" y="2864447"/>
                </a:lnTo>
                <a:lnTo>
                  <a:pt x="1413610" y="2862093"/>
                </a:lnTo>
                <a:lnTo>
                  <a:pt x="1398328" y="2862093"/>
                </a:lnTo>
                <a:lnTo>
                  <a:pt x="1383048" y="2862093"/>
                </a:lnTo>
                <a:lnTo>
                  <a:pt x="1368944" y="2862093"/>
                </a:lnTo>
                <a:lnTo>
                  <a:pt x="1351312" y="2857384"/>
                </a:lnTo>
                <a:lnTo>
                  <a:pt x="1338382" y="2855028"/>
                </a:lnTo>
                <a:lnTo>
                  <a:pt x="1324276" y="2850319"/>
                </a:lnTo>
                <a:lnTo>
                  <a:pt x="1311346" y="2847965"/>
                </a:lnTo>
                <a:lnTo>
                  <a:pt x="1286664" y="2837370"/>
                </a:lnTo>
                <a:lnTo>
                  <a:pt x="1269032" y="2827951"/>
                </a:lnTo>
                <a:lnTo>
                  <a:pt x="1251400" y="2815002"/>
                </a:lnTo>
                <a:lnTo>
                  <a:pt x="1239646" y="2803228"/>
                </a:lnTo>
                <a:lnTo>
                  <a:pt x="1229066" y="2790278"/>
                </a:lnTo>
                <a:lnTo>
                  <a:pt x="1224364" y="2776151"/>
                </a:lnTo>
                <a:lnTo>
                  <a:pt x="1219664" y="2758492"/>
                </a:lnTo>
                <a:lnTo>
                  <a:pt x="1219664" y="2743187"/>
                </a:lnTo>
                <a:lnTo>
                  <a:pt x="1222014" y="2727882"/>
                </a:lnTo>
                <a:lnTo>
                  <a:pt x="1230242" y="2711401"/>
                </a:lnTo>
                <a:lnTo>
                  <a:pt x="1241996" y="2693742"/>
                </a:lnTo>
                <a:lnTo>
                  <a:pt x="1257276" y="2676083"/>
                </a:lnTo>
                <a:lnTo>
                  <a:pt x="1264330" y="2664310"/>
                </a:lnTo>
                <a:lnTo>
                  <a:pt x="1274908" y="2658423"/>
                </a:lnTo>
                <a:lnTo>
                  <a:pt x="1284312" y="2646651"/>
                </a:lnTo>
                <a:lnTo>
                  <a:pt x="1297242" y="2640764"/>
                </a:lnTo>
                <a:lnTo>
                  <a:pt x="1308996" y="2628992"/>
                </a:lnTo>
                <a:lnTo>
                  <a:pt x="1319576" y="2619574"/>
                </a:lnTo>
                <a:lnTo>
                  <a:pt x="1333680" y="2611332"/>
                </a:lnTo>
                <a:lnTo>
                  <a:pt x="1348960" y="2604269"/>
                </a:lnTo>
                <a:lnTo>
                  <a:pt x="1363066" y="2596028"/>
                </a:lnTo>
                <a:lnTo>
                  <a:pt x="1375996" y="2586610"/>
                </a:lnTo>
                <a:lnTo>
                  <a:pt x="1391276" y="2579546"/>
                </a:lnTo>
                <a:lnTo>
                  <a:pt x="1407732" y="2573659"/>
                </a:lnTo>
                <a:lnTo>
                  <a:pt x="1420662" y="2566596"/>
                </a:lnTo>
                <a:lnTo>
                  <a:pt x="1438292" y="2559531"/>
                </a:lnTo>
                <a:lnTo>
                  <a:pt x="1454748" y="2552468"/>
                </a:lnTo>
                <a:lnTo>
                  <a:pt x="1472380" y="2546582"/>
                </a:lnTo>
                <a:lnTo>
                  <a:pt x="1487660" y="2539519"/>
                </a:lnTo>
                <a:lnTo>
                  <a:pt x="1507644" y="2534810"/>
                </a:lnTo>
                <a:lnTo>
                  <a:pt x="1522924" y="2530101"/>
                </a:lnTo>
                <a:lnTo>
                  <a:pt x="1544080" y="2528923"/>
                </a:lnTo>
                <a:lnTo>
                  <a:pt x="1559362" y="2521858"/>
                </a:lnTo>
                <a:lnTo>
                  <a:pt x="1576992" y="2517149"/>
                </a:lnTo>
                <a:lnTo>
                  <a:pt x="1594624" y="2512440"/>
                </a:lnTo>
                <a:lnTo>
                  <a:pt x="1614608" y="2510086"/>
                </a:lnTo>
                <a:lnTo>
                  <a:pt x="1631064" y="2506555"/>
                </a:lnTo>
                <a:lnTo>
                  <a:pt x="1648694" y="2504200"/>
                </a:lnTo>
                <a:lnTo>
                  <a:pt x="1666326" y="2504200"/>
                </a:lnTo>
                <a:lnTo>
                  <a:pt x="1686308" y="2504200"/>
                </a:lnTo>
                <a:lnTo>
                  <a:pt x="1702764" y="2501846"/>
                </a:lnTo>
                <a:lnTo>
                  <a:pt x="1720396" y="2499490"/>
                </a:lnTo>
                <a:close/>
                <a:moveTo>
                  <a:pt x="5716446" y="2435917"/>
                </a:moveTo>
                <a:lnTo>
                  <a:pt x="4527382" y="2435917"/>
                </a:lnTo>
                <a:lnTo>
                  <a:pt x="3977045" y="3057829"/>
                </a:lnTo>
                <a:lnTo>
                  <a:pt x="3979018" y="3056988"/>
                </a:lnTo>
                <a:lnTo>
                  <a:pt x="3996666" y="3049964"/>
                </a:lnTo>
                <a:lnTo>
                  <a:pt x="4011962" y="3041768"/>
                </a:lnTo>
                <a:lnTo>
                  <a:pt x="4030787" y="3034743"/>
                </a:lnTo>
                <a:lnTo>
                  <a:pt x="4046083" y="3027719"/>
                </a:lnTo>
                <a:lnTo>
                  <a:pt x="4063732" y="3021865"/>
                </a:lnTo>
                <a:lnTo>
                  <a:pt x="4079028" y="3012498"/>
                </a:lnTo>
                <a:lnTo>
                  <a:pt x="4095500" y="3005474"/>
                </a:lnTo>
                <a:lnTo>
                  <a:pt x="4110796" y="2997279"/>
                </a:lnTo>
                <a:lnTo>
                  <a:pt x="4128445" y="2990254"/>
                </a:lnTo>
                <a:lnTo>
                  <a:pt x="4142565" y="2980887"/>
                </a:lnTo>
                <a:lnTo>
                  <a:pt x="4160213" y="2975035"/>
                </a:lnTo>
                <a:lnTo>
                  <a:pt x="4173156" y="2968009"/>
                </a:lnTo>
                <a:lnTo>
                  <a:pt x="4190806" y="2960984"/>
                </a:lnTo>
                <a:lnTo>
                  <a:pt x="5628712" y="2960984"/>
                </a:lnTo>
                <a:lnTo>
                  <a:pt x="6084380" y="2508115"/>
                </a:lnTo>
                <a:lnTo>
                  <a:pt x="6071820" y="2508858"/>
                </a:lnTo>
                <a:lnTo>
                  <a:pt x="6056540" y="2511221"/>
                </a:lnTo>
                <a:lnTo>
                  <a:pt x="6036559" y="2513584"/>
                </a:lnTo>
                <a:lnTo>
                  <a:pt x="6020104" y="2518309"/>
                </a:lnTo>
                <a:lnTo>
                  <a:pt x="6002474" y="2518309"/>
                </a:lnTo>
                <a:lnTo>
                  <a:pt x="5987194" y="2520672"/>
                </a:lnTo>
                <a:lnTo>
                  <a:pt x="5969565" y="2520672"/>
                </a:lnTo>
                <a:lnTo>
                  <a:pt x="5953109" y="2523035"/>
                </a:lnTo>
                <a:lnTo>
                  <a:pt x="5933129" y="2520672"/>
                </a:lnTo>
                <a:lnTo>
                  <a:pt x="5917850" y="2520672"/>
                </a:lnTo>
                <a:lnTo>
                  <a:pt x="5900218" y="2518309"/>
                </a:lnTo>
                <a:lnTo>
                  <a:pt x="5886115" y="2518309"/>
                </a:lnTo>
                <a:lnTo>
                  <a:pt x="5870835" y="2513584"/>
                </a:lnTo>
                <a:lnTo>
                  <a:pt x="5855556" y="2511221"/>
                </a:lnTo>
                <a:lnTo>
                  <a:pt x="5841452" y="2508858"/>
                </a:lnTo>
                <a:lnTo>
                  <a:pt x="5830874" y="2507676"/>
                </a:lnTo>
                <a:lnTo>
                  <a:pt x="5816770" y="2502951"/>
                </a:lnTo>
                <a:lnTo>
                  <a:pt x="5803841" y="2498225"/>
                </a:lnTo>
                <a:lnTo>
                  <a:pt x="5793263" y="2493500"/>
                </a:lnTo>
                <a:lnTo>
                  <a:pt x="5781508" y="2491137"/>
                </a:lnTo>
                <a:lnTo>
                  <a:pt x="5761528" y="2482867"/>
                </a:lnTo>
                <a:lnTo>
                  <a:pt x="5748600" y="2473416"/>
                </a:lnTo>
                <a:lnTo>
                  <a:pt x="5732144" y="2460420"/>
                </a:lnTo>
                <a:lnTo>
                  <a:pt x="5723916" y="2446244"/>
                </a:lnTo>
                <a:close/>
                <a:moveTo>
                  <a:pt x="3044326" y="2428965"/>
                </a:moveTo>
                <a:lnTo>
                  <a:pt x="3043462" y="2429229"/>
                </a:lnTo>
                <a:lnTo>
                  <a:pt x="3020896" y="2435645"/>
                </a:lnTo>
                <a:lnTo>
                  <a:pt x="3000368" y="2442784"/>
                </a:lnTo>
                <a:lnTo>
                  <a:pt x="2979892" y="2450765"/>
                </a:lnTo>
                <a:lnTo>
                  <a:pt x="2961352" y="2457785"/>
                </a:lnTo>
                <a:lnTo>
                  <a:pt x="2939780" y="2464142"/>
                </a:lnTo>
                <a:lnTo>
                  <a:pt x="2919302" y="2472121"/>
                </a:lnTo>
                <a:lnTo>
                  <a:pt x="2898774" y="2479261"/>
                </a:lnTo>
                <a:lnTo>
                  <a:pt x="2880286" y="2487122"/>
                </a:lnTo>
                <a:lnTo>
                  <a:pt x="2859758" y="2494261"/>
                </a:lnTo>
                <a:lnTo>
                  <a:pt x="2841372" y="2503805"/>
                </a:lnTo>
                <a:lnTo>
                  <a:pt x="2820892" y="2511786"/>
                </a:lnTo>
                <a:lnTo>
                  <a:pt x="2804544" y="2522053"/>
                </a:lnTo>
                <a:lnTo>
                  <a:pt x="2784066" y="2530034"/>
                </a:lnTo>
                <a:lnTo>
                  <a:pt x="2765628" y="2538737"/>
                </a:lnTo>
                <a:lnTo>
                  <a:pt x="2745150" y="2546717"/>
                </a:lnTo>
                <a:lnTo>
                  <a:pt x="2728700" y="2555301"/>
                </a:lnTo>
                <a:lnTo>
                  <a:pt x="2710314" y="2564846"/>
                </a:lnTo>
                <a:lnTo>
                  <a:pt x="2695852" y="2573310"/>
                </a:lnTo>
                <a:lnTo>
                  <a:pt x="2679452" y="2582736"/>
                </a:lnTo>
                <a:lnTo>
                  <a:pt x="2662108" y="2593062"/>
                </a:lnTo>
                <a:lnTo>
                  <a:pt x="2645708" y="2602487"/>
                </a:lnTo>
                <a:lnTo>
                  <a:pt x="2629360" y="2612756"/>
                </a:lnTo>
                <a:lnTo>
                  <a:pt x="2612960" y="2622180"/>
                </a:lnTo>
                <a:lnTo>
                  <a:pt x="2598600" y="2632328"/>
                </a:lnTo>
                <a:lnTo>
                  <a:pt x="2582250" y="2642596"/>
                </a:lnTo>
                <a:lnTo>
                  <a:pt x="2569928" y="2653466"/>
                </a:lnTo>
                <a:lnTo>
                  <a:pt x="2554572" y="2663673"/>
                </a:lnTo>
                <a:lnTo>
                  <a:pt x="2542252" y="2674544"/>
                </a:lnTo>
                <a:lnTo>
                  <a:pt x="2525802" y="2683128"/>
                </a:lnTo>
                <a:lnTo>
                  <a:pt x="2513428" y="2693158"/>
                </a:lnTo>
                <a:lnTo>
                  <a:pt x="2500112" y="2704087"/>
                </a:lnTo>
                <a:lnTo>
                  <a:pt x="2489730" y="2713998"/>
                </a:lnTo>
                <a:lnTo>
                  <a:pt x="2477308" y="2723185"/>
                </a:lnTo>
                <a:lnTo>
                  <a:pt x="2465930" y="2733155"/>
                </a:lnTo>
                <a:lnTo>
                  <a:pt x="2457586" y="2743788"/>
                </a:lnTo>
                <a:lnTo>
                  <a:pt x="2448196" y="2753638"/>
                </a:lnTo>
                <a:lnTo>
                  <a:pt x="2437710" y="2761865"/>
                </a:lnTo>
                <a:lnTo>
                  <a:pt x="2428372" y="2772557"/>
                </a:lnTo>
                <a:lnTo>
                  <a:pt x="2419978" y="2782349"/>
                </a:lnTo>
                <a:lnTo>
                  <a:pt x="2414616" y="2792803"/>
                </a:lnTo>
                <a:lnTo>
                  <a:pt x="2407216" y="2802535"/>
                </a:lnTo>
                <a:lnTo>
                  <a:pt x="2400810" y="2812207"/>
                </a:lnTo>
                <a:lnTo>
                  <a:pt x="2395448" y="2822661"/>
                </a:lnTo>
                <a:lnTo>
                  <a:pt x="2392022" y="2832155"/>
                </a:lnTo>
                <a:lnTo>
                  <a:pt x="2387556" y="2840867"/>
                </a:lnTo>
                <a:lnTo>
                  <a:pt x="2382042" y="2848798"/>
                </a:lnTo>
                <a:lnTo>
                  <a:pt x="2376580" y="2857569"/>
                </a:lnTo>
                <a:lnTo>
                  <a:pt x="2375146" y="2866944"/>
                </a:lnTo>
                <a:lnTo>
                  <a:pt x="2370676" y="2875655"/>
                </a:lnTo>
                <a:lnTo>
                  <a:pt x="2369240" y="2885030"/>
                </a:lnTo>
                <a:lnTo>
                  <a:pt x="2367756" y="2893565"/>
                </a:lnTo>
                <a:lnTo>
                  <a:pt x="2368310" y="2902820"/>
                </a:lnTo>
                <a:lnTo>
                  <a:pt x="2367278" y="2918927"/>
                </a:lnTo>
                <a:lnTo>
                  <a:pt x="2368234" y="2934914"/>
                </a:lnTo>
                <a:lnTo>
                  <a:pt x="2373168" y="2950664"/>
                </a:lnTo>
                <a:lnTo>
                  <a:pt x="2379194" y="2968038"/>
                </a:lnTo>
                <a:lnTo>
                  <a:pt x="2386016" y="2981986"/>
                </a:lnTo>
                <a:lnTo>
                  <a:pt x="2396816" y="2995695"/>
                </a:lnTo>
                <a:lnTo>
                  <a:pt x="2406618" y="3009465"/>
                </a:lnTo>
                <a:lnTo>
                  <a:pt x="2420400" y="3022998"/>
                </a:lnTo>
                <a:lnTo>
                  <a:pt x="2426668" y="3027689"/>
                </a:lnTo>
                <a:lnTo>
                  <a:pt x="2435024" y="3033945"/>
                </a:lnTo>
                <a:lnTo>
                  <a:pt x="2442336" y="3039420"/>
                </a:lnTo>
                <a:lnTo>
                  <a:pt x="2454672" y="3045437"/>
                </a:lnTo>
                <a:lnTo>
                  <a:pt x="2461984" y="3050912"/>
                </a:lnTo>
                <a:lnTo>
                  <a:pt x="2474318" y="3056930"/>
                </a:lnTo>
                <a:lnTo>
                  <a:pt x="2478452" y="3059145"/>
                </a:lnTo>
                <a:close/>
                <a:moveTo>
                  <a:pt x="2962718" y="2121625"/>
                </a:moveTo>
                <a:lnTo>
                  <a:pt x="1158398" y="2122762"/>
                </a:lnTo>
                <a:cubicBezTo>
                  <a:pt x="1153030" y="2127110"/>
                  <a:pt x="1147662" y="2131338"/>
                  <a:pt x="1142292" y="2135685"/>
                </a:cubicBezTo>
                <a:cubicBezTo>
                  <a:pt x="1137596" y="2140033"/>
                  <a:pt x="1133568" y="2144380"/>
                  <a:pt x="1128872" y="2148727"/>
                </a:cubicBezTo>
                <a:lnTo>
                  <a:pt x="1114780" y="2162826"/>
                </a:lnTo>
                <a:cubicBezTo>
                  <a:pt x="1110752" y="2167173"/>
                  <a:pt x="1106056" y="2171403"/>
                  <a:pt x="1102030" y="2175751"/>
                </a:cubicBezTo>
                <a:cubicBezTo>
                  <a:pt x="1098004" y="2180451"/>
                  <a:pt x="1093306" y="2185268"/>
                  <a:pt x="1089280" y="2189967"/>
                </a:cubicBezTo>
                <a:cubicBezTo>
                  <a:pt x="1084582" y="2194314"/>
                  <a:pt x="1079884" y="2198544"/>
                  <a:pt x="1075188" y="2202892"/>
                </a:cubicBezTo>
                <a:cubicBezTo>
                  <a:pt x="1070490" y="2207239"/>
                  <a:pt x="1066464" y="2211469"/>
                  <a:pt x="1061768" y="2215816"/>
                </a:cubicBezTo>
                <a:cubicBezTo>
                  <a:pt x="1057068" y="2220515"/>
                  <a:pt x="1052372" y="2225332"/>
                  <a:pt x="1047674" y="2230032"/>
                </a:cubicBezTo>
                <a:cubicBezTo>
                  <a:pt x="1042976" y="2234380"/>
                  <a:pt x="1037610" y="2238610"/>
                  <a:pt x="1032912" y="2242957"/>
                </a:cubicBezTo>
                <a:cubicBezTo>
                  <a:pt x="1028214" y="2247656"/>
                  <a:pt x="1024188" y="2252356"/>
                  <a:pt x="1019490" y="2257056"/>
                </a:cubicBezTo>
                <a:lnTo>
                  <a:pt x="1005398" y="2270098"/>
                </a:lnTo>
                <a:cubicBezTo>
                  <a:pt x="1001372" y="2274445"/>
                  <a:pt x="996674" y="2278674"/>
                  <a:pt x="992648" y="2283021"/>
                </a:cubicBezTo>
                <a:cubicBezTo>
                  <a:pt x="988622" y="2287721"/>
                  <a:pt x="983926" y="2292421"/>
                  <a:pt x="979898" y="2297120"/>
                </a:cubicBezTo>
                <a:lnTo>
                  <a:pt x="965806" y="2310162"/>
                </a:lnTo>
                <a:cubicBezTo>
                  <a:pt x="961110" y="2314862"/>
                  <a:pt x="957082" y="2319562"/>
                  <a:pt x="952386" y="2324261"/>
                </a:cubicBezTo>
                <a:cubicBezTo>
                  <a:pt x="947688" y="2328608"/>
                  <a:pt x="942990" y="2332838"/>
                  <a:pt x="938294" y="2337185"/>
                </a:cubicBezTo>
                <a:cubicBezTo>
                  <a:pt x="932926" y="2341179"/>
                  <a:pt x="928228" y="2345058"/>
                  <a:pt x="922860" y="2349052"/>
                </a:cubicBezTo>
                <a:cubicBezTo>
                  <a:pt x="918832" y="2353399"/>
                  <a:pt x="914136" y="2357630"/>
                  <a:pt x="910110" y="2361977"/>
                </a:cubicBezTo>
                <a:lnTo>
                  <a:pt x="894004" y="2372550"/>
                </a:lnTo>
                <a:cubicBezTo>
                  <a:pt x="889306" y="2377251"/>
                  <a:pt x="885280" y="2382068"/>
                  <a:pt x="880582" y="2386767"/>
                </a:cubicBezTo>
                <a:cubicBezTo>
                  <a:pt x="875214" y="2390292"/>
                  <a:pt x="870518" y="2393816"/>
                  <a:pt x="865148" y="2397342"/>
                </a:cubicBezTo>
                <a:lnTo>
                  <a:pt x="851056" y="2411441"/>
                </a:lnTo>
                <a:cubicBezTo>
                  <a:pt x="847032" y="2415788"/>
                  <a:pt x="842332" y="2420135"/>
                  <a:pt x="838308" y="2424483"/>
                </a:cubicBezTo>
                <a:lnTo>
                  <a:pt x="824216" y="2438582"/>
                </a:lnTo>
                <a:cubicBezTo>
                  <a:pt x="818846" y="2442106"/>
                  <a:pt x="814150" y="2445631"/>
                  <a:pt x="808782" y="2449156"/>
                </a:cubicBezTo>
                <a:cubicBezTo>
                  <a:pt x="803412" y="2453503"/>
                  <a:pt x="798716" y="2457850"/>
                  <a:pt x="793348" y="2462197"/>
                </a:cubicBezTo>
                <a:lnTo>
                  <a:pt x="777242" y="2476296"/>
                </a:lnTo>
                <a:cubicBezTo>
                  <a:pt x="773214" y="2480644"/>
                  <a:pt x="768518" y="2484874"/>
                  <a:pt x="764492" y="2489221"/>
                </a:cubicBezTo>
                <a:cubicBezTo>
                  <a:pt x="759122" y="2493215"/>
                  <a:pt x="754426" y="2497092"/>
                  <a:pt x="749058" y="2501088"/>
                </a:cubicBezTo>
                <a:cubicBezTo>
                  <a:pt x="743688" y="2505435"/>
                  <a:pt x="737650" y="2509664"/>
                  <a:pt x="732282" y="2514011"/>
                </a:cubicBezTo>
                <a:cubicBezTo>
                  <a:pt x="726912" y="2518711"/>
                  <a:pt x="722216" y="2523411"/>
                  <a:pt x="716848" y="2528110"/>
                </a:cubicBezTo>
                <a:cubicBezTo>
                  <a:pt x="712820" y="2532457"/>
                  <a:pt x="708124" y="2536805"/>
                  <a:pt x="704096" y="2541152"/>
                </a:cubicBezTo>
                <a:cubicBezTo>
                  <a:pt x="698056" y="2545030"/>
                  <a:pt x="691348" y="2549025"/>
                  <a:pt x="685308" y="2552902"/>
                </a:cubicBezTo>
                <a:cubicBezTo>
                  <a:pt x="679940" y="2556427"/>
                  <a:pt x="675242" y="2559951"/>
                  <a:pt x="669874" y="2563475"/>
                </a:cubicBezTo>
                <a:cubicBezTo>
                  <a:pt x="663834" y="2567471"/>
                  <a:pt x="658466" y="2571348"/>
                  <a:pt x="652426" y="2575342"/>
                </a:cubicBezTo>
                <a:cubicBezTo>
                  <a:pt x="647058" y="2579689"/>
                  <a:pt x="642360" y="2583919"/>
                  <a:pt x="636992" y="2588267"/>
                </a:cubicBezTo>
                <a:cubicBezTo>
                  <a:pt x="630954" y="2591792"/>
                  <a:pt x="624242" y="2595316"/>
                  <a:pt x="618202" y="2598842"/>
                </a:cubicBezTo>
                <a:cubicBezTo>
                  <a:pt x="612834" y="2603541"/>
                  <a:pt x="608138" y="2608358"/>
                  <a:pt x="602768" y="2613058"/>
                </a:cubicBezTo>
                <a:cubicBezTo>
                  <a:pt x="596728" y="2616582"/>
                  <a:pt x="591360" y="2620108"/>
                  <a:pt x="585322" y="2623632"/>
                </a:cubicBezTo>
                <a:cubicBezTo>
                  <a:pt x="579952" y="2628332"/>
                  <a:pt x="575254" y="2633031"/>
                  <a:pt x="569888" y="2637731"/>
                </a:cubicBezTo>
                <a:lnTo>
                  <a:pt x="549756" y="2648306"/>
                </a:lnTo>
                <a:cubicBezTo>
                  <a:pt x="543716" y="2652300"/>
                  <a:pt x="537004" y="2656177"/>
                  <a:pt x="530966" y="2660172"/>
                </a:cubicBezTo>
                <a:cubicBezTo>
                  <a:pt x="524928" y="2664519"/>
                  <a:pt x="519558" y="2668749"/>
                  <a:pt x="513518" y="2673096"/>
                </a:cubicBezTo>
                <a:lnTo>
                  <a:pt x="495400" y="2687195"/>
                </a:lnTo>
                <a:cubicBezTo>
                  <a:pt x="488690" y="2690721"/>
                  <a:pt x="482650" y="2694362"/>
                  <a:pt x="475940" y="2697888"/>
                </a:cubicBezTo>
                <a:cubicBezTo>
                  <a:pt x="470572" y="2701765"/>
                  <a:pt x="464532" y="2705759"/>
                  <a:pt x="459164" y="2709636"/>
                </a:cubicBezTo>
                <a:cubicBezTo>
                  <a:pt x="453124" y="2713983"/>
                  <a:pt x="447756" y="2718213"/>
                  <a:pt x="441716" y="2722560"/>
                </a:cubicBezTo>
                <a:lnTo>
                  <a:pt x="421584" y="2735602"/>
                </a:lnTo>
                <a:cubicBezTo>
                  <a:pt x="414202" y="2739479"/>
                  <a:pt x="406822" y="2743475"/>
                  <a:pt x="399440" y="2747352"/>
                </a:cubicBezTo>
                <a:lnTo>
                  <a:pt x="381322" y="2757926"/>
                </a:lnTo>
                <a:cubicBezTo>
                  <a:pt x="374612" y="2761921"/>
                  <a:pt x="367900" y="2765798"/>
                  <a:pt x="361190" y="2769793"/>
                </a:cubicBezTo>
                <a:cubicBezTo>
                  <a:pt x="354480" y="2774140"/>
                  <a:pt x="348440" y="2778370"/>
                  <a:pt x="341730" y="2782717"/>
                </a:cubicBezTo>
                <a:cubicBezTo>
                  <a:pt x="334348" y="2786594"/>
                  <a:pt x="326296" y="2790588"/>
                  <a:pt x="318914" y="2794465"/>
                </a:cubicBezTo>
                <a:lnTo>
                  <a:pt x="296770" y="2805041"/>
                </a:lnTo>
                <a:cubicBezTo>
                  <a:pt x="289388" y="2809035"/>
                  <a:pt x="282006" y="2812912"/>
                  <a:pt x="274624" y="2816907"/>
                </a:cubicBezTo>
                <a:cubicBezTo>
                  <a:pt x="267914" y="2821255"/>
                  <a:pt x="261204" y="2825485"/>
                  <a:pt x="254494" y="2829831"/>
                </a:cubicBezTo>
                <a:cubicBezTo>
                  <a:pt x="246440" y="2833709"/>
                  <a:pt x="237716" y="2837703"/>
                  <a:pt x="229664" y="2841580"/>
                </a:cubicBezTo>
                <a:cubicBezTo>
                  <a:pt x="222282" y="2845106"/>
                  <a:pt x="214900" y="2848747"/>
                  <a:pt x="207520" y="2852273"/>
                </a:cubicBezTo>
                <a:cubicBezTo>
                  <a:pt x="200138" y="2856150"/>
                  <a:pt x="192086" y="2860144"/>
                  <a:pt x="184704" y="2864021"/>
                </a:cubicBezTo>
                <a:cubicBezTo>
                  <a:pt x="177322" y="2868368"/>
                  <a:pt x="169942" y="2872598"/>
                  <a:pt x="162560" y="2876945"/>
                </a:cubicBezTo>
                <a:cubicBezTo>
                  <a:pt x="154506" y="2880941"/>
                  <a:pt x="145782" y="2884818"/>
                  <a:pt x="137730" y="2888812"/>
                </a:cubicBezTo>
                <a:cubicBezTo>
                  <a:pt x="129678" y="2893160"/>
                  <a:pt x="120954" y="2897390"/>
                  <a:pt x="112902" y="2901737"/>
                </a:cubicBezTo>
                <a:cubicBezTo>
                  <a:pt x="104850" y="2905614"/>
                  <a:pt x="96126" y="2909608"/>
                  <a:pt x="88074" y="2913485"/>
                </a:cubicBezTo>
                <a:lnTo>
                  <a:pt x="65928" y="2926527"/>
                </a:lnTo>
                <a:cubicBezTo>
                  <a:pt x="68612" y="2928878"/>
                  <a:pt x="70626" y="2931227"/>
                  <a:pt x="73310" y="2933577"/>
                </a:cubicBezTo>
                <a:lnTo>
                  <a:pt x="83376" y="2944152"/>
                </a:lnTo>
                <a:lnTo>
                  <a:pt x="95456" y="2951201"/>
                </a:lnTo>
                <a:cubicBezTo>
                  <a:pt x="99480" y="2954725"/>
                  <a:pt x="104178" y="2958251"/>
                  <a:pt x="108204" y="2961775"/>
                </a:cubicBezTo>
                <a:lnTo>
                  <a:pt x="120284" y="2971293"/>
                </a:lnTo>
                <a:cubicBezTo>
                  <a:pt x="124310" y="2974465"/>
                  <a:pt x="129006" y="2977519"/>
                  <a:pt x="133034" y="2980691"/>
                </a:cubicBezTo>
                <a:cubicBezTo>
                  <a:pt x="138402" y="2983394"/>
                  <a:pt x="143100" y="2986213"/>
                  <a:pt x="148468" y="2988916"/>
                </a:cubicBezTo>
                <a:cubicBezTo>
                  <a:pt x="153836" y="2992793"/>
                  <a:pt x="159204" y="2996789"/>
                  <a:pt x="164574" y="3000666"/>
                </a:cubicBezTo>
                <a:cubicBezTo>
                  <a:pt x="169270" y="3002662"/>
                  <a:pt x="173296" y="3004660"/>
                  <a:pt x="177994" y="3006658"/>
                </a:cubicBezTo>
                <a:cubicBezTo>
                  <a:pt x="184032" y="3010535"/>
                  <a:pt x="189402" y="3014529"/>
                  <a:pt x="195442" y="3018406"/>
                </a:cubicBezTo>
                <a:cubicBezTo>
                  <a:pt x="200810" y="3020757"/>
                  <a:pt x="205506" y="3023106"/>
                  <a:pt x="210876" y="3025456"/>
                </a:cubicBezTo>
                <a:cubicBezTo>
                  <a:pt x="217586" y="3028981"/>
                  <a:pt x="224968" y="3032505"/>
                  <a:pt x="231678" y="3036031"/>
                </a:cubicBezTo>
                <a:cubicBezTo>
                  <a:pt x="237716" y="3038380"/>
                  <a:pt x="243756" y="3040848"/>
                  <a:pt x="249796" y="3043197"/>
                </a:cubicBezTo>
                <a:lnTo>
                  <a:pt x="269928" y="3053771"/>
                </a:lnTo>
                <a:cubicBezTo>
                  <a:pt x="276638" y="3056122"/>
                  <a:pt x="282678" y="3058471"/>
                  <a:pt x="289388" y="3060821"/>
                </a:cubicBezTo>
                <a:lnTo>
                  <a:pt x="309520" y="3071396"/>
                </a:lnTo>
                <a:lnTo>
                  <a:pt x="329650" y="3078445"/>
                </a:lnTo>
                <a:lnTo>
                  <a:pt x="349782" y="3087962"/>
                </a:lnTo>
                <a:cubicBezTo>
                  <a:pt x="356494" y="3089960"/>
                  <a:pt x="363204" y="3091839"/>
                  <a:pt x="369914" y="3093837"/>
                </a:cubicBezTo>
                <a:cubicBezTo>
                  <a:pt x="377296" y="3097009"/>
                  <a:pt x="384678" y="3100065"/>
                  <a:pt x="392058" y="3103236"/>
                </a:cubicBezTo>
                <a:cubicBezTo>
                  <a:pt x="398098" y="3105587"/>
                  <a:pt x="404808" y="3107936"/>
                  <a:pt x="410848" y="3110285"/>
                </a:cubicBezTo>
                <a:cubicBezTo>
                  <a:pt x="419572" y="3112988"/>
                  <a:pt x="428296" y="3115809"/>
                  <a:pt x="437018" y="3118511"/>
                </a:cubicBezTo>
                <a:cubicBezTo>
                  <a:pt x="444400" y="3120861"/>
                  <a:pt x="451782" y="3123327"/>
                  <a:pt x="459164" y="3125678"/>
                </a:cubicBezTo>
                <a:cubicBezTo>
                  <a:pt x="467216" y="3128850"/>
                  <a:pt x="474598" y="3131904"/>
                  <a:pt x="482650" y="3135077"/>
                </a:cubicBezTo>
                <a:cubicBezTo>
                  <a:pt x="490032" y="3137075"/>
                  <a:pt x="498084" y="3138954"/>
                  <a:pt x="505466" y="3140952"/>
                </a:cubicBezTo>
                <a:cubicBezTo>
                  <a:pt x="513518" y="3143301"/>
                  <a:pt x="520900" y="3145651"/>
                  <a:pt x="528952" y="3148001"/>
                </a:cubicBezTo>
                <a:lnTo>
                  <a:pt x="551098" y="3155051"/>
                </a:lnTo>
                <a:cubicBezTo>
                  <a:pt x="559150" y="3157047"/>
                  <a:pt x="567874" y="3159045"/>
                  <a:pt x="575926" y="3161043"/>
                </a:cubicBezTo>
                <a:cubicBezTo>
                  <a:pt x="583980" y="3163392"/>
                  <a:pt x="592704" y="3165742"/>
                  <a:pt x="600756" y="3168093"/>
                </a:cubicBezTo>
                <a:lnTo>
                  <a:pt x="624914" y="3175142"/>
                </a:lnTo>
                <a:cubicBezTo>
                  <a:pt x="632966" y="3177492"/>
                  <a:pt x="641690" y="3179841"/>
                  <a:pt x="649742" y="3182192"/>
                </a:cubicBezTo>
                <a:cubicBezTo>
                  <a:pt x="659136" y="3184894"/>
                  <a:pt x="667860" y="3187714"/>
                  <a:pt x="677256" y="3190416"/>
                </a:cubicBezTo>
                <a:cubicBezTo>
                  <a:pt x="684638" y="3191944"/>
                  <a:pt x="692018" y="3193589"/>
                  <a:pt x="699400" y="3195115"/>
                </a:cubicBezTo>
                <a:cubicBezTo>
                  <a:pt x="707452" y="3197466"/>
                  <a:pt x="716176" y="3199932"/>
                  <a:pt x="724228" y="3202283"/>
                </a:cubicBezTo>
                <a:cubicBezTo>
                  <a:pt x="732282" y="3203458"/>
                  <a:pt x="741004" y="3204632"/>
                  <a:pt x="749058" y="3205807"/>
                </a:cubicBezTo>
                <a:cubicBezTo>
                  <a:pt x="757780" y="3208156"/>
                  <a:pt x="767176" y="3210507"/>
                  <a:pt x="775900" y="3212857"/>
                </a:cubicBezTo>
                <a:cubicBezTo>
                  <a:pt x="783952" y="3214384"/>
                  <a:pt x="791334" y="3216029"/>
                  <a:pt x="799386" y="3217557"/>
                </a:cubicBezTo>
                <a:cubicBezTo>
                  <a:pt x="807440" y="3219906"/>
                  <a:pt x="816162" y="3222256"/>
                  <a:pt x="824216" y="3224607"/>
                </a:cubicBezTo>
                <a:cubicBezTo>
                  <a:pt x="832268" y="3225781"/>
                  <a:pt x="840992" y="3226956"/>
                  <a:pt x="849044" y="3228131"/>
                </a:cubicBezTo>
                <a:cubicBezTo>
                  <a:pt x="857768" y="3230481"/>
                  <a:pt x="867162" y="3232831"/>
                  <a:pt x="875886" y="3235180"/>
                </a:cubicBezTo>
                <a:cubicBezTo>
                  <a:pt x="883268" y="3236003"/>
                  <a:pt x="891320" y="3236708"/>
                  <a:pt x="898702" y="3237531"/>
                </a:cubicBezTo>
                <a:cubicBezTo>
                  <a:pt x="906754" y="3239880"/>
                  <a:pt x="914808" y="3242347"/>
                  <a:pt x="922860" y="3244698"/>
                </a:cubicBezTo>
                <a:cubicBezTo>
                  <a:pt x="930912" y="3245519"/>
                  <a:pt x="939636" y="3246225"/>
                  <a:pt x="947688" y="3247047"/>
                </a:cubicBezTo>
                <a:cubicBezTo>
                  <a:pt x="955740" y="3249045"/>
                  <a:pt x="964464" y="3250924"/>
                  <a:pt x="972516" y="3252922"/>
                </a:cubicBezTo>
                <a:cubicBezTo>
                  <a:pt x="980570" y="3253744"/>
                  <a:pt x="989292" y="3254450"/>
                  <a:pt x="997346" y="3255271"/>
                </a:cubicBezTo>
                <a:lnTo>
                  <a:pt x="1022176" y="3259972"/>
                </a:lnTo>
                <a:lnTo>
                  <a:pt x="1047004" y="3264670"/>
                </a:lnTo>
                <a:cubicBezTo>
                  <a:pt x="1055056" y="3266198"/>
                  <a:pt x="1062438" y="3267843"/>
                  <a:pt x="1070490" y="3269371"/>
                </a:cubicBezTo>
                <a:cubicBezTo>
                  <a:pt x="1077872" y="3270194"/>
                  <a:pt x="1085254" y="3270898"/>
                  <a:pt x="1092636" y="3271720"/>
                </a:cubicBezTo>
                <a:cubicBezTo>
                  <a:pt x="1100016" y="3272543"/>
                  <a:pt x="1107398" y="3273248"/>
                  <a:pt x="1114780" y="3274071"/>
                </a:cubicBezTo>
                <a:cubicBezTo>
                  <a:pt x="1122162" y="3274422"/>
                  <a:pt x="1130214" y="3274893"/>
                  <a:pt x="1137596" y="3275246"/>
                </a:cubicBezTo>
                <a:cubicBezTo>
                  <a:pt x="1145648" y="3276890"/>
                  <a:pt x="1154372" y="3278418"/>
                  <a:pt x="1162424" y="3280063"/>
                </a:cubicBezTo>
                <a:lnTo>
                  <a:pt x="1183228" y="3280063"/>
                </a:lnTo>
                <a:lnTo>
                  <a:pt x="1206044" y="3284762"/>
                </a:lnTo>
                <a:lnTo>
                  <a:pt x="1228188" y="3284762"/>
                </a:lnTo>
                <a:cubicBezTo>
                  <a:pt x="1235568" y="3286289"/>
                  <a:pt x="1242950" y="3287934"/>
                  <a:pt x="1250332" y="3289462"/>
                </a:cubicBezTo>
                <a:lnTo>
                  <a:pt x="1268450" y="3289462"/>
                </a:lnTo>
                <a:cubicBezTo>
                  <a:pt x="1275162" y="3290285"/>
                  <a:pt x="1281200" y="3290990"/>
                  <a:pt x="1287910" y="3291811"/>
                </a:cubicBezTo>
                <a:lnTo>
                  <a:pt x="1308042" y="3291811"/>
                </a:lnTo>
                <a:cubicBezTo>
                  <a:pt x="1314752" y="3292634"/>
                  <a:pt x="1321464" y="3293339"/>
                  <a:pt x="1328174" y="3294162"/>
                </a:cubicBezTo>
                <a:lnTo>
                  <a:pt x="1345622" y="3294162"/>
                </a:lnTo>
                <a:cubicBezTo>
                  <a:pt x="1351660" y="3294984"/>
                  <a:pt x="1357700" y="3295690"/>
                  <a:pt x="1363738" y="3296511"/>
                </a:cubicBezTo>
                <a:lnTo>
                  <a:pt x="1382530" y="3296511"/>
                </a:lnTo>
                <a:cubicBezTo>
                  <a:pt x="1388568" y="3296864"/>
                  <a:pt x="1393936" y="3297335"/>
                  <a:pt x="1399976" y="3297686"/>
                </a:cubicBezTo>
                <a:lnTo>
                  <a:pt x="2268844" y="3292571"/>
                </a:lnTo>
                <a:lnTo>
                  <a:pt x="2382300" y="3166222"/>
                </a:lnTo>
                <a:lnTo>
                  <a:pt x="2373598" y="3162206"/>
                </a:lnTo>
                <a:lnTo>
                  <a:pt x="2358278" y="3156313"/>
                </a:lnTo>
                <a:lnTo>
                  <a:pt x="2344136" y="3149241"/>
                </a:lnTo>
                <a:lnTo>
                  <a:pt x="2333528" y="3142170"/>
                </a:lnTo>
                <a:lnTo>
                  <a:pt x="2319384" y="3133920"/>
                </a:lnTo>
                <a:lnTo>
                  <a:pt x="2306420" y="3124491"/>
                </a:lnTo>
                <a:lnTo>
                  <a:pt x="2292278" y="3115063"/>
                </a:lnTo>
                <a:lnTo>
                  <a:pt x="2284028" y="3106812"/>
                </a:lnTo>
                <a:lnTo>
                  <a:pt x="2269886" y="3097383"/>
                </a:lnTo>
                <a:lnTo>
                  <a:pt x="2261636" y="3089134"/>
                </a:lnTo>
                <a:lnTo>
                  <a:pt x="2252208" y="3079703"/>
                </a:lnTo>
                <a:lnTo>
                  <a:pt x="2245136" y="3072633"/>
                </a:lnTo>
                <a:lnTo>
                  <a:pt x="2229814" y="3052596"/>
                </a:lnTo>
                <a:lnTo>
                  <a:pt x="2219208" y="3032560"/>
                </a:lnTo>
                <a:lnTo>
                  <a:pt x="2207422" y="3012524"/>
                </a:lnTo>
                <a:lnTo>
                  <a:pt x="2200350" y="2992487"/>
                </a:lnTo>
                <a:lnTo>
                  <a:pt x="2194458" y="2967737"/>
                </a:lnTo>
                <a:lnTo>
                  <a:pt x="2189742" y="2945344"/>
                </a:lnTo>
                <a:lnTo>
                  <a:pt x="2189742" y="2922951"/>
                </a:lnTo>
                <a:lnTo>
                  <a:pt x="2192100" y="2900558"/>
                </a:lnTo>
                <a:lnTo>
                  <a:pt x="2192100" y="2887593"/>
                </a:lnTo>
                <a:lnTo>
                  <a:pt x="2194458" y="2875806"/>
                </a:lnTo>
                <a:lnTo>
                  <a:pt x="2196814" y="2862842"/>
                </a:lnTo>
                <a:lnTo>
                  <a:pt x="2202708" y="2851056"/>
                </a:lnTo>
                <a:lnTo>
                  <a:pt x="2205064" y="2838092"/>
                </a:lnTo>
                <a:lnTo>
                  <a:pt x="2212136" y="2826306"/>
                </a:lnTo>
                <a:lnTo>
                  <a:pt x="2219208" y="2815699"/>
                </a:lnTo>
                <a:lnTo>
                  <a:pt x="2225100" y="2803912"/>
                </a:lnTo>
                <a:lnTo>
                  <a:pt x="2229814" y="2790947"/>
                </a:lnTo>
                <a:lnTo>
                  <a:pt x="2236886" y="2776805"/>
                </a:lnTo>
                <a:lnTo>
                  <a:pt x="2245136" y="2763841"/>
                </a:lnTo>
                <a:lnTo>
                  <a:pt x="2254564" y="2750876"/>
                </a:lnTo>
                <a:lnTo>
                  <a:pt x="2261636" y="2736732"/>
                </a:lnTo>
                <a:lnTo>
                  <a:pt x="2272242" y="2723768"/>
                </a:lnTo>
                <a:lnTo>
                  <a:pt x="2284028" y="2709624"/>
                </a:lnTo>
                <a:lnTo>
                  <a:pt x="2296992" y="2699018"/>
                </a:lnTo>
                <a:lnTo>
                  <a:pt x="2308778" y="2686053"/>
                </a:lnTo>
                <a:lnTo>
                  <a:pt x="2319384" y="2671910"/>
                </a:lnTo>
                <a:lnTo>
                  <a:pt x="2333528" y="2658945"/>
                </a:lnTo>
                <a:lnTo>
                  <a:pt x="2348850" y="2647160"/>
                </a:lnTo>
                <a:lnTo>
                  <a:pt x="2361814" y="2634195"/>
                </a:lnTo>
                <a:lnTo>
                  <a:pt x="2378314" y="2620051"/>
                </a:lnTo>
                <a:lnTo>
                  <a:pt x="2393636" y="2607087"/>
                </a:lnTo>
                <a:lnTo>
                  <a:pt x="2413670" y="2596479"/>
                </a:lnTo>
                <a:lnTo>
                  <a:pt x="2428992" y="2582337"/>
                </a:lnTo>
                <a:lnTo>
                  <a:pt x="2447848" y="2569372"/>
                </a:lnTo>
                <a:lnTo>
                  <a:pt x="2463170" y="2555229"/>
                </a:lnTo>
                <a:lnTo>
                  <a:pt x="2483206" y="2542264"/>
                </a:lnTo>
                <a:lnTo>
                  <a:pt x="2500884" y="2529300"/>
                </a:lnTo>
                <a:lnTo>
                  <a:pt x="2520920" y="2517514"/>
                </a:lnTo>
                <a:lnTo>
                  <a:pt x="2540956" y="2504550"/>
                </a:lnTo>
                <a:lnTo>
                  <a:pt x="2560992" y="2492763"/>
                </a:lnTo>
                <a:lnTo>
                  <a:pt x="2582206" y="2479798"/>
                </a:lnTo>
                <a:lnTo>
                  <a:pt x="2602240" y="2468013"/>
                </a:lnTo>
                <a:lnTo>
                  <a:pt x="2619920" y="2457405"/>
                </a:lnTo>
                <a:lnTo>
                  <a:pt x="2642312" y="2445620"/>
                </a:lnTo>
                <a:lnTo>
                  <a:pt x="2662348" y="2435012"/>
                </a:lnTo>
                <a:lnTo>
                  <a:pt x="2687098" y="2425583"/>
                </a:lnTo>
                <a:lnTo>
                  <a:pt x="2709490" y="2414975"/>
                </a:lnTo>
                <a:lnTo>
                  <a:pt x="2734240" y="2405547"/>
                </a:lnTo>
                <a:lnTo>
                  <a:pt x="2754276" y="2392582"/>
                </a:lnTo>
                <a:lnTo>
                  <a:pt x="2779026" y="2383154"/>
                </a:lnTo>
                <a:lnTo>
                  <a:pt x="2801418" y="2371368"/>
                </a:lnTo>
                <a:lnTo>
                  <a:pt x="2826168" y="2363117"/>
                </a:lnTo>
                <a:lnTo>
                  <a:pt x="2848562" y="2353689"/>
                </a:lnTo>
                <a:lnTo>
                  <a:pt x="2873312" y="2345439"/>
                </a:lnTo>
                <a:lnTo>
                  <a:pt x="2898062" y="2336009"/>
                </a:lnTo>
                <a:lnTo>
                  <a:pt x="2923990" y="2328939"/>
                </a:lnTo>
                <a:lnTo>
                  <a:pt x="2946382" y="2320688"/>
                </a:lnTo>
                <a:lnTo>
                  <a:pt x="2971132" y="2311259"/>
                </a:lnTo>
                <a:lnTo>
                  <a:pt x="2995882" y="2303010"/>
                </a:lnTo>
                <a:lnTo>
                  <a:pt x="3022988" y="2295938"/>
                </a:lnTo>
                <a:lnTo>
                  <a:pt x="3047738" y="2288866"/>
                </a:lnTo>
                <a:lnTo>
                  <a:pt x="3074846" y="2281794"/>
                </a:lnTo>
                <a:lnTo>
                  <a:pt x="3087902" y="2278956"/>
                </a:lnTo>
                <a:lnTo>
                  <a:pt x="3047092" y="2227665"/>
                </a:lnTo>
                <a:lnTo>
                  <a:pt x="3043272" y="2228678"/>
                </a:lnTo>
                <a:lnTo>
                  <a:pt x="3025612" y="2233361"/>
                </a:lnTo>
                <a:lnTo>
                  <a:pt x="3007954" y="2239215"/>
                </a:lnTo>
                <a:lnTo>
                  <a:pt x="2987940" y="2243899"/>
                </a:lnTo>
                <a:lnTo>
                  <a:pt x="2969104" y="2248583"/>
                </a:lnTo>
                <a:lnTo>
                  <a:pt x="2951444" y="2255607"/>
                </a:lnTo>
                <a:lnTo>
                  <a:pt x="2933786" y="2261461"/>
                </a:lnTo>
                <a:lnTo>
                  <a:pt x="2913772" y="2266145"/>
                </a:lnTo>
                <a:lnTo>
                  <a:pt x="2898466" y="2273169"/>
                </a:lnTo>
                <a:lnTo>
                  <a:pt x="2878452" y="2280195"/>
                </a:lnTo>
                <a:lnTo>
                  <a:pt x="2861972" y="2286049"/>
                </a:lnTo>
                <a:lnTo>
                  <a:pt x="2844312" y="2293074"/>
                </a:lnTo>
                <a:lnTo>
                  <a:pt x="2829008" y="2300100"/>
                </a:lnTo>
                <a:lnTo>
                  <a:pt x="2810170" y="2305954"/>
                </a:lnTo>
                <a:lnTo>
                  <a:pt x="2794866" y="2312978"/>
                </a:lnTo>
                <a:lnTo>
                  <a:pt x="2774852" y="2320004"/>
                </a:lnTo>
                <a:lnTo>
                  <a:pt x="2759548" y="2327028"/>
                </a:lnTo>
                <a:lnTo>
                  <a:pt x="2741888" y="2332883"/>
                </a:lnTo>
                <a:lnTo>
                  <a:pt x="2725406" y="2339908"/>
                </a:lnTo>
                <a:lnTo>
                  <a:pt x="2707748" y="2346933"/>
                </a:lnTo>
                <a:lnTo>
                  <a:pt x="2692442" y="2352787"/>
                </a:lnTo>
                <a:lnTo>
                  <a:pt x="2674784" y="2362153"/>
                </a:lnTo>
                <a:lnTo>
                  <a:pt x="2660656" y="2371521"/>
                </a:lnTo>
                <a:lnTo>
                  <a:pt x="2642996" y="2377375"/>
                </a:lnTo>
                <a:lnTo>
                  <a:pt x="2627692" y="2384400"/>
                </a:lnTo>
                <a:lnTo>
                  <a:pt x="2613564" y="2393766"/>
                </a:lnTo>
                <a:lnTo>
                  <a:pt x="2595904" y="2401962"/>
                </a:lnTo>
                <a:lnTo>
                  <a:pt x="2582956" y="2408988"/>
                </a:lnTo>
                <a:lnTo>
                  <a:pt x="2564118" y="2417184"/>
                </a:lnTo>
                <a:lnTo>
                  <a:pt x="2553522" y="2426550"/>
                </a:lnTo>
                <a:lnTo>
                  <a:pt x="2539396" y="2435917"/>
                </a:lnTo>
                <a:lnTo>
                  <a:pt x="1235476" y="2435917"/>
                </a:lnTo>
                <a:lnTo>
                  <a:pt x="1230972" y="2439450"/>
                </a:lnTo>
                <a:lnTo>
                  <a:pt x="1217996" y="2453577"/>
                </a:lnTo>
                <a:lnTo>
                  <a:pt x="1202662" y="2464173"/>
                </a:lnTo>
                <a:lnTo>
                  <a:pt x="1186146" y="2478300"/>
                </a:lnTo>
                <a:lnTo>
                  <a:pt x="1170810" y="2488895"/>
                </a:lnTo>
                <a:lnTo>
                  <a:pt x="1157834" y="2503022"/>
                </a:lnTo>
                <a:lnTo>
                  <a:pt x="1141318" y="2513618"/>
                </a:lnTo>
                <a:lnTo>
                  <a:pt x="1125982" y="2527745"/>
                </a:lnTo>
                <a:lnTo>
                  <a:pt x="1110648" y="2540695"/>
                </a:lnTo>
                <a:lnTo>
                  <a:pt x="1096490" y="2553646"/>
                </a:lnTo>
                <a:lnTo>
                  <a:pt x="1078796" y="2565418"/>
                </a:lnTo>
                <a:lnTo>
                  <a:pt x="1063460" y="2578368"/>
                </a:lnTo>
                <a:lnTo>
                  <a:pt x="1048124" y="2590141"/>
                </a:lnTo>
                <a:lnTo>
                  <a:pt x="1033968" y="2603091"/>
                </a:lnTo>
                <a:lnTo>
                  <a:pt x="1016274" y="2614863"/>
                </a:lnTo>
                <a:lnTo>
                  <a:pt x="1000938" y="2627814"/>
                </a:lnTo>
                <a:lnTo>
                  <a:pt x="984422" y="2641942"/>
                </a:lnTo>
                <a:lnTo>
                  <a:pt x="971446" y="2654891"/>
                </a:lnTo>
                <a:lnTo>
                  <a:pt x="953752" y="2665487"/>
                </a:lnTo>
                <a:lnTo>
                  <a:pt x="934876" y="2677259"/>
                </a:lnTo>
                <a:lnTo>
                  <a:pt x="917182" y="2687855"/>
                </a:lnTo>
                <a:lnTo>
                  <a:pt x="901846" y="2701983"/>
                </a:lnTo>
                <a:lnTo>
                  <a:pt x="884152" y="2712579"/>
                </a:lnTo>
                <a:lnTo>
                  <a:pt x="867634" y="2726706"/>
                </a:lnTo>
                <a:lnTo>
                  <a:pt x="849940" y="2737300"/>
                </a:lnTo>
                <a:lnTo>
                  <a:pt x="834604" y="2751428"/>
                </a:lnTo>
                <a:lnTo>
                  <a:pt x="816910" y="2762024"/>
                </a:lnTo>
                <a:lnTo>
                  <a:pt x="799214" y="2773797"/>
                </a:lnTo>
                <a:lnTo>
                  <a:pt x="780340" y="2784392"/>
                </a:lnTo>
                <a:lnTo>
                  <a:pt x="765004" y="2798519"/>
                </a:lnTo>
                <a:lnTo>
                  <a:pt x="744950" y="2809115"/>
                </a:lnTo>
                <a:lnTo>
                  <a:pt x="729614" y="2820888"/>
                </a:lnTo>
                <a:lnTo>
                  <a:pt x="709560" y="2831483"/>
                </a:lnTo>
                <a:lnTo>
                  <a:pt x="693044" y="2844434"/>
                </a:lnTo>
                <a:lnTo>
                  <a:pt x="672990" y="2853852"/>
                </a:lnTo>
                <a:lnTo>
                  <a:pt x="655296" y="2867980"/>
                </a:lnTo>
                <a:lnTo>
                  <a:pt x="635240" y="2876220"/>
                </a:lnTo>
                <a:lnTo>
                  <a:pt x="617546" y="2890348"/>
                </a:lnTo>
                <a:lnTo>
                  <a:pt x="596312" y="2898588"/>
                </a:lnTo>
                <a:lnTo>
                  <a:pt x="576258" y="2912715"/>
                </a:lnTo>
                <a:lnTo>
                  <a:pt x="556202" y="2920956"/>
                </a:lnTo>
                <a:lnTo>
                  <a:pt x="538508" y="2935083"/>
                </a:lnTo>
                <a:lnTo>
                  <a:pt x="516094" y="2943326"/>
                </a:lnTo>
                <a:lnTo>
                  <a:pt x="496040" y="2955098"/>
                </a:lnTo>
                <a:lnTo>
                  <a:pt x="484898" y="2960984"/>
                </a:lnTo>
                <a:lnTo>
                  <a:pt x="2069548" y="2960984"/>
                </a:lnTo>
                <a:lnTo>
                  <a:pt x="2069548" y="2975035"/>
                </a:lnTo>
                <a:lnTo>
                  <a:pt x="2074260" y="2990254"/>
                </a:lnTo>
                <a:lnTo>
                  <a:pt x="2078972" y="3005474"/>
                </a:lnTo>
                <a:lnTo>
                  <a:pt x="2086040" y="3021865"/>
                </a:lnTo>
                <a:lnTo>
                  <a:pt x="2091930" y="3034743"/>
                </a:lnTo>
                <a:lnTo>
                  <a:pt x="2101354" y="3047622"/>
                </a:lnTo>
                <a:lnTo>
                  <a:pt x="2109600" y="3061672"/>
                </a:lnTo>
                <a:lnTo>
                  <a:pt x="2123734" y="3076891"/>
                </a:lnTo>
                <a:lnTo>
                  <a:pt x="2134336" y="3088600"/>
                </a:lnTo>
                <a:lnTo>
                  <a:pt x="2148472" y="3101478"/>
                </a:lnTo>
                <a:lnTo>
                  <a:pt x="2161432" y="3114357"/>
                </a:lnTo>
                <a:lnTo>
                  <a:pt x="2179100" y="3128406"/>
                </a:lnTo>
                <a:lnTo>
                  <a:pt x="2195592" y="3138944"/>
                </a:lnTo>
                <a:lnTo>
                  <a:pt x="2215618" y="3150650"/>
                </a:lnTo>
                <a:lnTo>
                  <a:pt x="2235644" y="3161188"/>
                </a:lnTo>
                <a:lnTo>
                  <a:pt x="2258026" y="3172895"/>
                </a:lnTo>
                <a:lnTo>
                  <a:pt x="893914" y="3172895"/>
                </a:lnTo>
                <a:lnTo>
                  <a:pt x="878602" y="3170555"/>
                </a:lnTo>
                <a:lnTo>
                  <a:pt x="863288" y="3168213"/>
                </a:lnTo>
                <a:lnTo>
                  <a:pt x="844440" y="3165871"/>
                </a:lnTo>
                <a:lnTo>
                  <a:pt x="829126" y="3165871"/>
                </a:lnTo>
                <a:lnTo>
                  <a:pt x="811456" y="3163529"/>
                </a:lnTo>
                <a:lnTo>
                  <a:pt x="793786" y="3161188"/>
                </a:lnTo>
                <a:lnTo>
                  <a:pt x="776118" y="3158846"/>
                </a:lnTo>
                <a:lnTo>
                  <a:pt x="757268" y="3157675"/>
                </a:lnTo>
                <a:lnTo>
                  <a:pt x="737242" y="3152992"/>
                </a:lnTo>
                <a:lnTo>
                  <a:pt x="717216" y="3148310"/>
                </a:lnTo>
                <a:lnTo>
                  <a:pt x="697190" y="3143626"/>
                </a:lnTo>
                <a:lnTo>
                  <a:pt x="677166" y="3141284"/>
                </a:lnTo>
                <a:lnTo>
                  <a:pt x="654784" y="3135431"/>
                </a:lnTo>
                <a:lnTo>
                  <a:pt x="634758" y="3133089"/>
                </a:lnTo>
                <a:lnTo>
                  <a:pt x="614732" y="3126065"/>
                </a:lnTo>
                <a:lnTo>
                  <a:pt x="594706" y="3123723"/>
                </a:lnTo>
                <a:lnTo>
                  <a:pt x="572324" y="3116699"/>
                </a:lnTo>
                <a:lnTo>
                  <a:pt x="549942" y="3110845"/>
                </a:lnTo>
                <a:lnTo>
                  <a:pt x="527562" y="3103820"/>
                </a:lnTo>
                <a:lnTo>
                  <a:pt x="506358" y="3096796"/>
                </a:lnTo>
                <a:lnTo>
                  <a:pt x="486332" y="3090942"/>
                </a:lnTo>
                <a:lnTo>
                  <a:pt x="466306" y="3083917"/>
                </a:lnTo>
                <a:lnTo>
                  <a:pt x="448636" y="3076891"/>
                </a:lnTo>
                <a:lnTo>
                  <a:pt x="430966" y="3069867"/>
                </a:lnTo>
                <a:lnTo>
                  <a:pt x="410940" y="3061672"/>
                </a:lnTo>
                <a:lnTo>
                  <a:pt x="390914" y="3052306"/>
                </a:lnTo>
                <a:lnTo>
                  <a:pt x="372066" y="3044110"/>
                </a:lnTo>
                <a:lnTo>
                  <a:pt x="356754" y="3034743"/>
                </a:lnTo>
                <a:lnTo>
                  <a:pt x="339082" y="3025377"/>
                </a:lnTo>
                <a:lnTo>
                  <a:pt x="323768" y="3017182"/>
                </a:lnTo>
                <a:lnTo>
                  <a:pt x="309634" y="3007816"/>
                </a:lnTo>
                <a:lnTo>
                  <a:pt x="297256" y="2999988"/>
                </a:lnTo>
                <a:lnTo>
                  <a:pt x="296676" y="2999833"/>
                </a:lnTo>
                <a:lnTo>
                  <a:pt x="296848" y="2999728"/>
                </a:lnTo>
                <a:lnTo>
                  <a:pt x="296676" y="2999620"/>
                </a:lnTo>
                <a:lnTo>
                  <a:pt x="297238" y="2999489"/>
                </a:lnTo>
                <a:lnTo>
                  <a:pt x="312012" y="2990415"/>
                </a:lnTo>
                <a:lnTo>
                  <a:pt x="329706" y="2980997"/>
                </a:lnTo>
                <a:lnTo>
                  <a:pt x="346220" y="2972756"/>
                </a:lnTo>
                <a:lnTo>
                  <a:pt x="363916" y="2965693"/>
                </a:lnTo>
                <a:lnTo>
                  <a:pt x="379252" y="2957453"/>
                </a:lnTo>
                <a:lnTo>
                  <a:pt x="399308" y="2950388"/>
                </a:lnTo>
                <a:lnTo>
                  <a:pt x="414642" y="2940970"/>
                </a:lnTo>
                <a:lnTo>
                  <a:pt x="433516" y="2935083"/>
                </a:lnTo>
                <a:lnTo>
                  <a:pt x="451212" y="2923311"/>
                </a:lnTo>
                <a:lnTo>
                  <a:pt x="466548" y="2913893"/>
                </a:lnTo>
                <a:lnTo>
                  <a:pt x="483062" y="2903297"/>
                </a:lnTo>
                <a:lnTo>
                  <a:pt x="503118" y="2893879"/>
                </a:lnTo>
                <a:lnTo>
                  <a:pt x="516094" y="2883283"/>
                </a:lnTo>
                <a:lnTo>
                  <a:pt x="536148" y="2873865"/>
                </a:lnTo>
                <a:lnTo>
                  <a:pt x="551484" y="2865624"/>
                </a:lnTo>
                <a:lnTo>
                  <a:pt x="572718" y="2856206"/>
                </a:lnTo>
                <a:lnTo>
                  <a:pt x="588054" y="2844434"/>
                </a:lnTo>
                <a:lnTo>
                  <a:pt x="605750" y="2833838"/>
                </a:lnTo>
                <a:lnTo>
                  <a:pt x="623444" y="2822065"/>
                </a:lnTo>
                <a:lnTo>
                  <a:pt x="641138" y="2813824"/>
                </a:lnTo>
                <a:lnTo>
                  <a:pt x="657654" y="2799697"/>
                </a:lnTo>
                <a:lnTo>
                  <a:pt x="675350" y="2791456"/>
                </a:lnTo>
                <a:lnTo>
                  <a:pt x="693044" y="2777329"/>
                </a:lnTo>
                <a:lnTo>
                  <a:pt x="710740" y="2769088"/>
                </a:lnTo>
                <a:lnTo>
                  <a:pt x="727256" y="2754961"/>
                </a:lnTo>
                <a:lnTo>
                  <a:pt x="744950" y="2744365"/>
                </a:lnTo>
                <a:lnTo>
                  <a:pt x="762644" y="2732591"/>
                </a:lnTo>
                <a:lnTo>
                  <a:pt x="780340" y="2721997"/>
                </a:lnTo>
                <a:lnTo>
                  <a:pt x="796856" y="2709046"/>
                </a:lnTo>
                <a:lnTo>
                  <a:pt x="816910" y="2697274"/>
                </a:lnTo>
                <a:lnTo>
                  <a:pt x="832246" y="2686678"/>
                </a:lnTo>
                <a:lnTo>
                  <a:pt x="852300" y="2674906"/>
                </a:lnTo>
                <a:lnTo>
                  <a:pt x="867634" y="2661954"/>
                </a:lnTo>
                <a:lnTo>
                  <a:pt x="884152" y="2647827"/>
                </a:lnTo>
                <a:lnTo>
                  <a:pt x="899486" y="2634877"/>
                </a:lnTo>
                <a:lnTo>
                  <a:pt x="917182" y="2623105"/>
                </a:lnTo>
                <a:lnTo>
                  <a:pt x="933698" y="2610156"/>
                </a:lnTo>
                <a:lnTo>
                  <a:pt x="951392" y="2598382"/>
                </a:lnTo>
                <a:lnTo>
                  <a:pt x="966728" y="2585432"/>
                </a:lnTo>
                <a:lnTo>
                  <a:pt x="984422" y="2574836"/>
                </a:lnTo>
                <a:lnTo>
                  <a:pt x="1000938" y="2560709"/>
                </a:lnTo>
                <a:lnTo>
                  <a:pt x="1016274" y="2547759"/>
                </a:lnTo>
                <a:lnTo>
                  <a:pt x="1031610" y="2533632"/>
                </a:lnTo>
                <a:lnTo>
                  <a:pt x="1049304" y="2523036"/>
                </a:lnTo>
                <a:lnTo>
                  <a:pt x="1065820" y="2508909"/>
                </a:lnTo>
                <a:lnTo>
                  <a:pt x="1083514" y="2495959"/>
                </a:lnTo>
                <a:lnTo>
                  <a:pt x="1098850" y="2483009"/>
                </a:lnTo>
                <a:lnTo>
                  <a:pt x="1116544" y="2471236"/>
                </a:lnTo>
                <a:lnTo>
                  <a:pt x="1130702" y="2458286"/>
                </a:lnTo>
                <a:lnTo>
                  <a:pt x="1148396" y="2444159"/>
                </a:lnTo>
                <a:lnTo>
                  <a:pt x="1161372" y="2431209"/>
                </a:lnTo>
                <a:lnTo>
                  <a:pt x="1180248" y="2417082"/>
                </a:lnTo>
                <a:lnTo>
                  <a:pt x="1195584" y="2404130"/>
                </a:lnTo>
                <a:lnTo>
                  <a:pt x="1210918" y="2391181"/>
                </a:lnTo>
                <a:lnTo>
                  <a:pt x="1227434" y="2377053"/>
                </a:lnTo>
                <a:lnTo>
                  <a:pt x="1245130" y="2366457"/>
                </a:lnTo>
                <a:lnTo>
                  <a:pt x="1258106" y="2352330"/>
                </a:lnTo>
                <a:lnTo>
                  <a:pt x="1275800" y="2339380"/>
                </a:lnTo>
                <a:lnTo>
                  <a:pt x="1289956" y="2326431"/>
                </a:lnTo>
                <a:lnTo>
                  <a:pt x="1296212" y="2322267"/>
                </a:lnTo>
                <a:lnTo>
                  <a:pt x="1405674" y="2221652"/>
                </a:lnTo>
                <a:lnTo>
                  <a:pt x="3042306" y="2221652"/>
                </a:lnTo>
                <a:close/>
                <a:moveTo>
                  <a:pt x="4742645" y="2120503"/>
                </a:moveTo>
                <a:lnTo>
                  <a:pt x="4511920" y="2120649"/>
                </a:lnTo>
                <a:cubicBezTo>
                  <a:pt x="4304727" y="2331630"/>
                  <a:pt x="4106824" y="2548586"/>
                  <a:pt x="3904354" y="2783741"/>
                </a:cubicBezTo>
                <a:cubicBezTo>
                  <a:pt x="3791201" y="2956610"/>
                  <a:pt x="3615816" y="3016738"/>
                  <a:pt x="3463059" y="2795016"/>
                </a:cubicBezTo>
                <a:cubicBezTo>
                  <a:pt x="3362750" y="2649534"/>
                  <a:pt x="3261400" y="2507423"/>
                  <a:pt x="3155651" y="2368626"/>
                </a:cubicBezTo>
                <a:cubicBezTo>
                  <a:pt x="2891338" y="2672175"/>
                  <a:pt x="2579518" y="3025677"/>
                  <a:pt x="2347038" y="3292111"/>
                </a:cubicBezTo>
                <a:lnTo>
                  <a:pt x="3709764" y="3284087"/>
                </a:lnTo>
                <a:close/>
                <a:moveTo>
                  <a:pt x="6776429" y="2120407"/>
                </a:moveTo>
                <a:lnTo>
                  <a:pt x="5635408" y="3272708"/>
                </a:lnTo>
                <a:lnTo>
                  <a:pt x="5635408" y="3693807"/>
                </a:lnTo>
                <a:lnTo>
                  <a:pt x="5980589" y="3351844"/>
                </a:lnTo>
                <a:lnTo>
                  <a:pt x="5980589" y="3436608"/>
                </a:lnTo>
                <a:lnTo>
                  <a:pt x="5635408" y="3777499"/>
                </a:lnTo>
                <a:lnTo>
                  <a:pt x="5635408" y="3880680"/>
                </a:lnTo>
                <a:lnTo>
                  <a:pt x="6776429" y="2739659"/>
                </a:lnTo>
                <a:lnTo>
                  <a:pt x="6776429" y="2352374"/>
                </a:lnTo>
                <a:lnTo>
                  <a:pt x="5933493" y="3178782"/>
                </a:lnTo>
                <a:lnTo>
                  <a:pt x="6776429" y="2322828"/>
                </a:lnTo>
                <a:close/>
                <a:moveTo>
                  <a:pt x="6751600" y="2119237"/>
                </a:moveTo>
                <a:lnTo>
                  <a:pt x="4806532" y="2120463"/>
                </a:lnTo>
                <a:lnTo>
                  <a:pt x="4716988" y="2221652"/>
                </a:lnTo>
                <a:lnTo>
                  <a:pt x="5942928" y="2221652"/>
                </a:lnTo>
                <a:lnTo>
                  <a:pt x="5957811" y="2217050"/>
                </a:lnTo>
                <a:lnTo>
                  <a:pt x="5975442" y="2213505"/>
                </a:lnTo>
                <a:lnTo>
                  <a:pt x="5991896" y="2206417"/>
                </a:lnTo>
                <a:lnTo>
                  <a:pt x="6009526" y="2204054"/>
                </a:lnTo>
                <a:lnTo>
                  <a:pt x="6024806" y="2199329"/>
                </a:lnTo>
                <a:lnTo>
                  <a:pt x="6044786" y="2196966"/>
                </a:lnTo>
                <a:lnTo>
                  <a:pt x="6061242" y="2192241"/>
                </a:lnTo>
                <a:lnTo>
                  <a:pt x="6078872" y="2191059"/>
                </a:lnTo>
                <a:lnTo>
                  <a:pt x="6094152" y="2188696"/>
                </a:lnTo>
                <a:lnTo>
                  <a:pt x="6114133" y="2188696"/>
                </a:lnTo>
                <a:lnTo>
                  <a:pt x="6130588" y="2186333"/>
                </a:lnTo>
                <a:lnTo>
                  <a:pt x="6148218" y="2186333"/>
                </a:lnTo>
                <a:lnTo>
                  <a:pt x="6165848" y="2186333"/>
                </a:lnTo>
                <a:lnTo>
                  <a:pt x="6185829" y="2186333"/>
                </a:lnTo>
                <a:lnTo>
                  <a:pt x="6201108" y="2186333"/>
                </a:lnTo>
                <a:lnTo>
                  <a:pt x="6217563" y="2186333"/>
                </a:lnTo>
                <a:lnTo>
                  <a:pt x="6232843" y="2186333"/>
                </a:lnTo>
                <a:lnTo>
                  <a:pt x="6250472" y="2188696"/>
                </a:lnTo>
                <a:lnTo>
                  <a:pt x="6264577" y="2188696"/>
                </a:lnTo>
                <a:lnTo>
                  <a:pt x="6277506" y="2191059"/>
                </a:lnTo>
                <a:lnTo>
                  <a:pt x="6290435" y="2192241"/>
                </a:lnTo>
                <a:lnTo>
                  <a:pt x="6306890" y="2196966"/>
                </a:lnTo>
                <a:lnTo>
                  <a:pt x="6317468" y="2199329"/>
                </a:lnTo>
                <a:lnTo>
                  <a:pt x="6331572" y="2204054"/>
                </a:lnTo>
                <a:lnTo>
                  <a:pt x="6342150" y="2206417"/>
                </a:lnTo>
                <a:lnTo>
                  <a:pt x="6353904" y="2213505"/>
                </a:lnTo>
                <a:lnTo>
                  <a:pt x="6371533" y="2221775"/>
                </a:lnTo>
                <a:lnTo>
                  <a:pt x="6389164" y="2235953"/>
                </a:lnTo>
                <a:lnTo>
                  <a:pt x="6400918" y="2244222"/>
                </a:lnTo>
                <a:lnTo>
                  <a:pt x="6411496" y="2258400"/>
                </a:lnTo>
                <a:lnTo>
                  <a:pt x="6418547" y="2271395"/>
                </a:lnTo>
                <a:lnTo>
                  <a:pt x="6425600" y="2286752"/>
                </a:lnTo>
                <a:lnTo>
                  <a:pt x="6423248" y="2300930"/>
                </a:lnTo>
                <a:lnTo>
                  <a:pt x="6423248" y="2318651"/>
                </a:lnTo>
                <a:lnTo>
                  <a:pt x="6413847" y="2334010"/>
                </a:lnTo>
                <a:lnTo>
                  <a:pt x="6406794" y="2354094"/>
                </a:lnTo>
                <a:lnTo>
                  <a:pt x="6391514" y="2370633"/>
                </a:lnTo>
                <a:lnTo>
                  <a:pt x="6373884" y="2385991"/>
                </a:lnTo>
                <a:lnTo>
                  <a:pt x="6362131" y="2393081"/>
                </a:lnTo>
                <a:lnTo>
                  <a:pt x="6353904" y="2401349"/>
                </a:lnTo>
                <a:lnTo>
                  <a:pt x="6342150" y="2410802"/>
                </a:lnTo>
                <a:lnTo>
                  <a:pt x="6333922" y="2419071"/>
                </a:lnTo>
                <a:lnTo>
                  <a:pt x="6319818" y="2426160"/>
                </a:lnTo>
                <a:lnTo>
                  <a:pt x="6306890" y="2433248"/>
                </a:lnTo>
                <a:lnTo>
                  <a:pt x="6292786" y="2439154"/>
                </a:lnTo>
                <a:lnTo>
                  <a:pt x="6282208" y="2446244"/>
                </a:lnTo>
                <a:lnTo>
                  <a:pt x="6266928" y="2453332"/>
                </a:lnTo>
                <a:lnTo>
                  <a:pt x="6252823" y="2460420"/>
                </a:lnTo>
                <a:lnTo>
                  <a:pt x="6237544" y="2466328"/>
                </a:lnTo>
                <a:lnTo>
                  <a:pt x="6223440" y="2473416"/>
                </a:lnTo>
                <a:lnTo>
                  <a:pt x="6205810" y="2478141"/>
                </a:lnTo>
                <a:lnTo>
                  <a:pt x="6196356" y="2481065"/>
                </a:lnTo>
                <a:lnTo>
                  <a:pt x="5499197" y="3172895"/>
                </a:lnTo>
                <a:lnTo>
                  <a:pt x="5439174" y="3172895"/>
                </a:lnTo>
                <a:lnTo>
                  <a:pt x="5415492" y="3172895"/>
                </a:lnTo>
                <a:lnTo>
                  <a:pt x="3875223" y="3172895"/>
                </a:lnTo>
                <a:lnTo>
                  <a:pt x="3777180" y="3283691"/>
                </a:lnTo>
                <a:lnTo>
                  <a:pt x="5590683" y="3273013"/>
                </a:lnTo>
                <a:close/>
                <a:moveTo>
                  <a:pt x="2112844" y="510"/>
                </a:moveTo>
                <a:cubicBezTo>
                  <a:pt x="2064192" y="4407"/>
                  <a:pt x="2011858" y="31095"/>
                  <a:pt x="1953160" y="96624"/>
                </a:cubicBezTo>
                <a:lnTo>
                  <a:pt x="1726854" y="412297"/>
                </a:lnTo>
                <a:cubicBezTo>
                  <a:pt x="1694796" y="468666"/>
                  <a:pt x="1526950" y="558861"/>
                  <a:pt x="1732512" y="767430"/>
                </a:cubicBezTo>
                <a:cubicBezTo>
                  <a:pt x="2511380" y="1361195"/>
                  <a:pt x="3001710" y="1966236"/>
                  <a:pt x="3469409" y="2644557"/>
                </a:cubicBezTo>
                <a:cubicBezTo>
                  <a:pt x="3622166" y="2866279"/>
                  <a:pt x="3797551" y="2806151"/>
                  <a:pt x="3910704" y="2633282"/>
                </a:cubicBezTo>
                <a:cubicBezTo>
                  <a:pt x="4229418" y="2263118"/>
                  <a:pt x="4536816" y="1938049"/>
                  <a:pt x="4883818" y="1607344"/>
                </a:cubicBezTo>
                <a:cubicBezTo>
                  <a:pt x="4964913" y="1475813"/>
                  <a:pt x="4978111" y="1423203"/>
                  <a:pt x="4804613" y="1212754"/>
                </a:cubicBezTo>
                <a:lnTo>
                  <a:pt x="4600937" y="1009822"/>
                </a:lnTo>
                <a:cubicBezTo>
                  <a:pt x="4500985" y="925266"/>
                  <a:pt x="4321827" y="902718"/>
                  <a:pt x="4216218" y="1077466"/>
                </a:cubicBezTo>
                <a:lnTo>
                  <a:pt x="3752290" y="1539700"/>
                </a:lnTo>
                <a:cubicBezTo>
                  <a:pt x="3410947" y="1143228"/>
                  <a:pt x="3092232" y="583288"/>
                  <a:pt x="2337880" y="96624"/>
                </a:cubicBezTo>
                <a:cubicBezTo>
                  <a:pt x="2264802" y="50824"/>
                  <a:pt x="2193934" y="-5986"/>
                  <a:pt x="2112844" y="510"/>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defTabSz="914400"/>
            <a:endParaRPr lang="en-US" sz="1800" dirty="0"/>
          </a:p>
        </p:txBody>
      </p:sp>
      <p:pic>
        <p:nvPicPr>
          <p:cNvPr id="125" name="Picture 2" descr="\\MAGNUM\Projects\Microsoft\Cloud Power FY12\Design\ICONS_PNG\Pie.png"/>
          <p:cNvPicPr>
            <a:picLocks noChangeAspect="1" noChangeArrowheads="1"/>
          </p:cNvPicPr>
          <p:nvPr/>
        </p:nvPicPr>
        <p:blipFill>
          <a:blip r:embed="rId5" cstate="print">
            <a:duotone>
              <a:schemeClr val="accent5">
                <a:shade val="45000"/>
                <a:satMod val="135000"/>
              </a:schemeClr>
              <a:prstClr val="white"/>
            </a:duotone>
            <a:extLst>
              <a:ext uri="{BEBA8EAE-BF5A-486C-A8C5-ECC9F3942E4B}">
                <a14:imgProps xmlns:a14="http://schemas.microsoft.com/office/drawing/2010/main">
                  <a14:imgLayer r:embed="rId6">
                    <a14:imgEffect>
                      <a14:sharpenSoften amount="50000"/>
                    </a14:imgEffect>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5970604" y="2123725"/>
            <a:ext cx="325948" cy="331131"/>
          </a:xfrm>
          <a:prstGeom prst="rect">
            <a:avLst/>
          </a:prstGeom>
          <a:noFill/>
        </p:spPr>
      </p:pic>
      <p:pic>
        <p:nvPicPr>
          <p:cNvPr id="126" name="Picture 2" descr="\\MAGNUM\Projects\Microsoft\Cloud Power FY12\Design\ICONS_PNG\Devices.png"/>
          <p:cNvPicPr>
            <a:picLocks noChangeAspect="1" noChangeArrowheads="1"/>
          </p:cNvPicPr>
          <p:nvPr/>
        </p:nvPicPr>
        <p:blipFill>
          <a:blip r:embed="rId7" cstate="print">
            <a:duotone>
              <a:schemeClr val="accent5">
                <a:shade val="45000"/>
                <a:satMod val="135000"/>
              </a:schemeClr>
              <a:prstClr val="white"/>
            </a:duotone>
            <a:extLst>
              <a:ext uri="{BEBA8EAE-BF5A-486C-A8C5-ECC9F3942E4B}">
                <a14:imgProps xmlns:a14="http://schemas.microsoft.com/office/drawing/2010/main">
                  <a14:imgLayer r:embed="rId8">
                    <a14:imgEffect>
                      <a14:sharpenSoften amount="50000"/>
                    </a14:imgEffect>
                    <a14:imgEffect>
                      <a14:brightnessContrast bright="-40000" contrast="40000"/>
                    </a14:imgEffect>
                  </a14:imgLayer>
                </a14:imgProps>
              </a:ext>
              <a:ext uri="{28A0092B-C50C-407E-A947-70E740481C1C}">
                <a14:useLocalDpi xmlns:a14="http://schemas.microsoft.com/office/drawing/2010/main"/>
              </a:ext>
            </a:extLst>
          </a:blip>
          <a:stretch>
            <a:fillRect/>
          </a:stretch>
        </p:blipFill>
        <p:spPr bwMode="auto">
          <a:xfrm>
            <a:off x="6795876" y="2836421"/>
            <a:ext cx="293353" cy="298018"/>
          </a:xfrm>
          <a:prstGeom prst="rect">
            <a:avLst/>
          </a:prstGeom>
          <a:noFill/>
          <a:ln>
            <a:noFill/>
          </a:ln>
        </p:spPr>
      </p:pic>
      <p:sp>
        <p:nvSpPr>
          <p:cNvPr id="127" name="Freeform 18"/>
          <p:cNvSpPr>
            <a:spLocks noChangeAspect="1" noEditPoints="1"/>
          </p:cNvSpPr>
          <p:nvPr/>
        </p:nvSpPr>
        <p:spPr bwMode="black">
          <a:xfrm>
            <a:off x="5956944" y="2790363"/>
            <a:ext cx="213737" cy="264905"/>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bg1">
              <a:lumMod val="50000"/>
            </a:schemeClr>
          </a:solidFill>
          <a:ln>
            <a:noFill/>
          </a:ln>
        </p:spPr>
        <p:txBody>
          <a:bodyPr vert="horz" wrap="square" lIns="82305" tIns="41153" rIns="82305" bIns="41153" numCol="1" anchor="t" anchorCtr="0" compatLnSpc="1">
            <a:prstTxWarp prst="textNoShape">
              <a:avLst/>
            </a:prstTxWarp>
          </a:bodyPr>
          <a:lstStyle/>
          <a:p>
            <a:pPr defTabSz="914400"/>
            <a:endParaRPr lang="en-US" sz="1600" dirty="0"/>
          </a:p>
        </p:txBody>
      </p:sp>
      <p:pic>
        <p:nvPicPr>
          <p:cNvPr id="128" name="Picture 3" descr="\\MAGNUM\Projects\Microsoft\Cloud Power FY12\Design\Icons\PNGs\Scalable_Elastic_4.png"/>
          <p:cNvPicPr>
            <a:picLocks noChangeAspect="1" noChangeArrowheads="1"/>
          </p:cNvPicPr>
          <p:nvPr/>
        </p:nvPicPr>
        <p:blipFill>
          <a:blip r:embed="rId9" cstate="print">
            <a:duotone>
              <a:schemeClr val="accent5">
                <a:shade val="45000"/>
                <a:satMod val="135000"/>
              </a:schemeClr>
              <a:prstClr val="white"/>
            </a:duotone>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6975729" y="2453848"/>
            <a:ext cx="322518" cy="327646"/>
          </a:xfrm>
          <a:prstGeom prst="rect">
            <a:avLst/>
          </a:prstGeom>
          <a:noFill/>
        </p:spPr>
      </p:pic>
      <p:sp>
        <p:nvSpPr>
          <p:cNvPr id="131" name="TextBox 130"/>
          <p:cNvSpPr txBox="1"/>
          <p:nvPr/>
        </p:nvSpPr>
        <p:spPr>
          <a:xfrm>
            <a:off x="6174650" y="3768399"/>
            <a:ext cx="738985" cy="307777"/>
          </a:xfrm>
          <a:prstGeom prst="rect">
            <a:avLst/>
          </a:prstGeom>
        </p:spPr>
        <p:txBody>
          <a:bodyPr vert="horz" wrap="none" lIns="0" tIns="0" rIns="0" bIns="0" rtlCol="0" anchor="t">
            <a:spAutoFit/>
          </a:bodyPr>
          <a:lstStyle/>
          <a:p>
            <a:pPr algn="ctr" defTabSz="1088105"/>
            <a:r>
              <a:rPr lang="en-US" sz="1000" dirty="0">
                <a:latin typeface="Segoe UI Semibold" panose="020B0702040204020203" pitchFamily="34" charset="0"/>
                <a:ea typeface="Segoe UI" pitchFamily="34" charset="0"/>
                <a:cs typeface="Segoe UI Semibold" panose="020B0702040204020203" pitchFamily="34" charset="0"/>
              </a:rPr>
              <a:t>Personalized</a:t>
            </a:r>
            <a:br>
              <a:rPr lang="en-US" sz="1000" dirty="0">
                <a:latin typeface="Segoe UI Semibold" panose="020B0702040204020203" pitchFamily="34" charset="0"/>
                <a:ea typeface="Segoe UI" pitchFamily="34" charset="0"/>
                <a:cs typeface="Segoe UI Semibold" panose="020B0702040204020203" pitchFamily="34" charset="0"/>
              </a:rPr>
            </a:br>
            <a:r>
              <a:rPr lang="en-US" sz="1000" dirty="0">
                <a:latin typeface="Segoe UI Semibold" panose="020B0702040204020203" pitchFamily="34" charset="0"/>
                <a:ea typeface="Segoe UI" pitchFamily="34" charset="0"/>
                <a:cs typeface="Segoe UI Semibold" panose="020B0702040204020203" pitchFamily="34" charset="0"/>
              </a:rPr>
              <a:t>experience</a:t>
            </a:r>
          </a:p>
        </p:txBody>
      </p:sp>
      <p:cxnSp>
        <p:nvCxnSpPr>
          <p:cNvPr id="132" name="Straight Arrow Connector 131"/>
          <p:cNvCxnSpPr/>
          <p:nvPr/>
        </p:nvCxnSpPr>
        <p:spPr>
          <a:xfrm>
            <a:off x="4373022" y="3142863"/>
            <a:ext cx="0" cy="411576"/>
          </a:xfrm>
          <a:prstGeom prst="straightConnector1">
            <a:avLst/>
          </a:prstGeom>
          <a:ln w="19050">
            <a:solidFill>
              <a:schemeClr val="bg1">
                <a:lumMod val="50000"/>
              </a:schemeClr>
            </a:solidFill>
            <a:tailEnd type="triangle" w="lg" len="med"/>
          </a:ln>
        </p:spPr>
        <p:style>
          <a:lnRef idx="1">
            <a:schemeClr val="accent1"/>
          </a:lnRef>
          <a:fillRef idx="0">
            <a:schemeClr val="accent1"/>
          </a:fillRef>
          <a:effectRef idx="0">
            <a:schemeClr val="accent1"/>
          </a:effectRef>
          <a:fontRef idx="minor">
            <a:schemeClr val="tx1"/>
          </a:fontRef>
        </p:style>
      </p:cxnSp>
      <p:sp>
        <p:nvSpPr>
          <p:cNvPr id="134" name="TextBox 133"/>
          <p:cNvSpPr txBox="1"/>
          <p:nvPr/>
        </p:nvSpPr>
        <p:spPr>
          <a:xfrm>
            <a:off x="3500573" y="3122789"/>
            <a:ext cx="588303" cy="307777"/>
          </a:xfrm>
          <a:prstGeom prst="rect">
            <a:avLst/>
          </a:prstGeom>
        </p:spPr>
        <p:txBody>
          <a:bodyPr vert="horz" wrap="none" lIns="0" tIns="0" rIns="0" bIns="0" rtlCol="0" anchor="t">
            <a:spAutoFit/>
          </a:bodyPr>
          <a:lstStyle/>
          <a:p>
            <a:pPr algn="ctr" defTabSz="1088105"/>
            <a:r>
              <a:rPr lang="en-US" sz="1000" dirty="0">
                <a:latin typeface="Segoe UI Semibold" panose="020B0702040204020203" pitchFamily="34" charset="0"/>
                <a:ea typeface="Segoe UI" pitchFamily="34" charset="0"/>
                <a:cs typeface="Segoe UI Semibold" panose="020B0702040204020203" pitchFamily="34" charset="0"/>
              </a:rPr>
              <a:t>Services </a:t>
            </a:r>
            <a:br>
              <a:rPr lang="en-US" sz="1000" dirty="0">
                <a:latin typeface="Segoe UI Semibold" panose="020B0702040204020203" pitchFamily="34" charset="0"/>
                <a:ea typeface="Segoe UI" pitchFamily="34" charset="0"/>
                <a:cs typeface="Segoe UI Semibold" panose="020B0702040204020203" pitchFamily="34" charset="0"/>
              </a:rPr>
            </a:br>
            <a:r>
              <a:rPr lang="en-US" sz="1000" dirty="0">
                <a:latin typeface="Segoe UI Semibold" panose="020B0702040204020203" pitchFamily="34" charset="0"/>
                <a:ea typeface="Segoe UI" pitchFamily="34" charset="0"/>
                <a:cs typeface="Segoe UI Semibold" panose="020B0702040204020203" pitchFamily="34" charset="0"/>
              </a:rPr>
              <a:t>to devices</a:t>
            </a:r>
          </a:p>
        </p:txBody>
      </p:sp>
      <p:sp>
        <p:nvSpPr>
          <p:cNvPr id="135" name="TextBox 134"/>
          <p:cNvSpPr txBox="1"/>
          <p:nvPr/>
        </p:nvSpPr>
        <p:spPr>
          <a:xfrm>
            <a:off x="4563365" y="3052659"/>
            <a:ext cx="705322" cy="461665"/>
          </a:xfrm>
          <a:prstGeom prst="rect">
            <a:avLst/>
          </a:prstGeom>
        </p:spPr>
        <p:txBody>
          <a:bodyPr vert="horz" wrap="none" lIns="0" tIns="0" rIns="0" bIns="0" rtlCol="0" anchor="t">
            <a:spAutoFit/>
          </a:bodyPr>
          <a:lstStyle/>
          <a:p>
            <a:pPr algn="ctr" defTabSz="1088105"/>
            <a:r>
              <a:rPr lang="en-US" sz="1000" dirty="0">
                <a:latin typeface="Segoe UI Semibold" panose="020B0702040204020203" pitchFamily="34" charset="0"/>
                <a:ea typeface="Segoe UI" pitchFamily="34" charset="0"/>
                <a:cs typeface="Segoe UI Semibold" panose="020B0702040204020203" pitchFamily="34" charset="0"/>
              </a:rPr>
              <a:t>Telemetry, </a:t>
            </a:r>
            <a:br>
              <a:rPr lang="en-US" sz="1000" dirty="0">
                <a:latin typeface="Segoe UI Semibold" panose="020B0702040204020203" pitchFamily="34" charset="0"/>
                <a:ea typeface="Segoe UI" pitchFamily="34" charset="0"/>
                <a:cs typeface="Segoe UI Semibold" panose="020B0702040204020203" pitchFamily="34" charset="0"/>
              </a:rPr>
            </a:br>
            <a:r>
              <a:rPr lang="en-US" sz="1000" dirty="0">
                <a:latin typeface="Segoe UI Semibold" panose="020B0702040204020203" pitchFamily="34" charset="0"/>
                <a:ea typeface="Segoe UI" pitchFamily="34" charset="0"/>
                <a:cs typeface="Segoe UI Semibold" panose="020B0702040204020203" pitchFamily="34" charset="0"/>
              </a:rPr>
              <a:t>social, and</a:t>
            </a:r>
            <a:br>
              <a:rPr lang="en-US" sz="1000" dirty="0">
                <a:latin typeface="Segoe UI Semibold" panose="020B0702040204020203" pitchFamily="34" charset="0"/>
                <a:ea typeface="Segoe UI" pitchFamily="34" charset="0"/>
                <a:cs typeface="Segoe UI Semibold" panose="020B0702040204020203" pitchFamily="34" charset="0"/>
              </a:rPr>
            </a:br>
            <a:r>
              <a:rPr lang="en-US" sz="1000" dirty="0">
                <a:latin typeface="Segoe UI Semibold" panose="020B0702040204020203" pitchFamily="34" charset="0"/>
                <a:ea typeface="Segoe UI" pitchFamily="34" charset="0"/>
                <a:cs typeface="Segoe UI Semibold" panose="020B0702040204020203" pitchFamily="34" charset="0"/>
              </a:rPr>
              <a:t>market data</a:t>
            </a:r>
          </a:p>
        </p:txBody>
      </p:sp>
      <p:sp>
        <p:nvSpPr>
          <p:cNvPr id="136" name="Rounded Rectangle 24"/>
          <p:cNvSpPr>
            <a:spLocks noChangeAspect="1"/>
          </p:cNvSpPr>
          <p:nvPr/>
        </p:nvSpPr>
        <p:spPr>
          <a:xfrm>
            <a:off x="6410325" y="3491362"/>
            <a:ext cx="273080" cy="268020"/>
          </a:xfrm>
          <a:custGeom>
            <a:avLst/>
            <a:gdLst/>
            <a:ahLst/>
            <a:cxnLst/>
            <a:rect l="l" t="t" r="r" b="b"/>
            <a:pathLst>
              <a:path w="3822882" h="3752059">
                <a:moveTo>
                  <a:pt x="2604943" y="2461449"/>
                </a:moveTo>
                <a:lnTo>
                  <a:pt x="2630879" y="2470525"/>
                </a:lnTo>
                <a:lnTo>
                  <a:pt x="2894956" y="2554885"/>
                </a:lnTo>
                <a:lnTo>
                  <a:pt x="3410638" y="2728005"/>
                </a:lnTo>
                <a:cubicBezTo>
                  <a:pt x="3419198" y="2761012"/>
                  <a:pt x="3557344" y="2838035"/>
                  <a:pt x="3577150" y="2920925"/>
                </a:cubicBezTo>
                <a:cubicBezTo>
                  <a:pt x="3656617" y="3048682"/>
                  <a:pt x="3706860" y="3281093"/>
                  <a:pt x="3822882" y="3570839"/>
                </a:cubicBezTo>
                <a:cubicBezTo>
                  <a:pt x="3805767" y="3641748"/>
                  <a:pt x="3080550" y="3625614"/>
                  <a:pt x="3058543" y="3679407"/>
                </a:cubicBezTo>
                <a:cubicBezTo>
                  <a:pt x="3022354" y="3635396"/>
                  <a:pt x="3009638" y="3556178"/>
                  <a:pt x="2949975" y="3547376"/>
                </a:cubicBezTo>
                <a:lnTo>
                  <a:pt x="2994719" y="3677943"/>
                </a:lnTo>
                <a:cubicBezTo>
                  <a:pt x="2182996" y="3772392"/>
                  <a:pt x="1751312" y="3776865"/>
                  <a:pt x="816080" y="3689680"/>
                </a:cubicBezTo>
                <a:lnTo>
                  <a:pt x="776278" y="3679175"/>
                </a:lnTo>
                <a:cubicBezTo>
                  <a:pt x="760130" y="3663903"/>
                  <a:pt x="805875" y="3632123"/>
                  <a:pt x="831814" y="3564035"/>
                </a:cubicBezTo>
                <a:cubicBezTo>
                  <a:pt x="732053" y="3577727"/>
                  <a:pt x="767263" y="3644235"/>
                  <a:pt x="702710" y="3681400"/>
                </a:cubicBezTo>
                <a:lnTo>
                  <a:pt x="1119" y="3652995"/>
                </a:lnTo>
                <a:cubicBezTo>
                  <a:pt x="-13552" y="3579639"/>
                  <a:pt x="119464" y="3256395"/>
                  <a:pt x="197708" y="3016286"/>
                </a:cubicBezTo>
                <a:cubicBezTo>
                  <a:pt x="194039" y="2969828"/>
                  <a:pt x="311651" y="2866151"/>
                  <a:pt x="327543" y="2834366"/>
                </a:cubicBezTo>
                <a:lnTo>
                  <a:pt x="548340" y="2730937"/>
                </a:lnTo>
                <a:lnTo>
                  <a:pt x="778672" y="2657580"/>
                </a:lnTo>
                <a:lnTo>
                  <a:pt x="1086761" y="2536545"/>
                </a:lnTo>
                <a:lnTo>
                  <a:pt x="1169485" y="2505031"/>
                </a:lnTo>
                <a:cubicBezTo>
                  <a:pt x="1272474" y="2674804"/>
                  <a:pt x="1481574" y="2992820"/>
                  <a:pt x="1618157" y="3135652"/>
                </a:cubicBezTo>
                <a:cubicBezTo>
                  <a:pt x="1767799" y="3292139"/>
                  <a:pt x="1921350" y="3411461"/>
                  <a:pt x="2040672" y="3399726"/>
                </a:cubicBezTo>
                <a:cubicBezTo>
                  <a:pt x="2159994" y="3387991"/>
                  <a:pt x="2226503" y="3257907"/>
                  <a:pt x="2334086" y="3065233"/>
                </a:cubicBezTo>
                <a:cubicBezTo>
                  <a:pt x="2407845" y="2933141"/>
                  <a:pt x="2524811" y="2664523"/>
                  <a:pt x="2604943" y="2461449"/>
                </a:cubicBezTo>
                <a:close/>
                <a:moveTo>
                  <a:pt x="2267850" y="2101353"/>
                </a:moveTo>
                <a:cubicBezTo>
                  <a:pt x="2269703" y="2150001"/>
                  <a:pt x="2247364" y="2261996"/>
                  <a:pt x="2256770" y="2275399"/>
                </a:cubicBezTo>
                <a:cubicBezTo>
                  <a:pt x="2320188" y="2359599"/>
                  <a:pt x="2448156" y="2355777"/>
                  <a:pt x="2523310" y="2410636"/>
                </a:cubicBezTo>
                <a:cubicBezTo>
                  <a:pt x="2468874" y="2575788"/>
                  <a:pt x="2403443" y="2783807"/>
                  <a:pt x="2339954" y="2900922"/>
                </a:cubicBezTo>
                <a:cubicBezTo>
                  <a:pt x="2239216" y="3086749"/>
                  <a:pt x="2134567" y="3299966"/>
                  <a:pt x="1999596" y="3305833"/>
                </a:cubicBezTo>
                <a:cubicBezTo>
                  <a:pt x="1864625" y="3311701"/>
                  <a:pt x="1682710" y="3119028"/>
                  <a:pt x="1530135" y="2936132"/>
                </a:cubicBezTo>
                <a:cubicBezTo>
                  <a:pt x="1443963" y="2832838"/>
                  <a:pt x="1333459" y="2639383"/>
                  <a:pt x="1242021" y="2476255"/>
                </a:cubicBezTo>
                <a:cubicBezTo>
                  <a:pt x="1271310" y="2451589"/>
                  <a:pt x="1478555" y="2354846"/>
                  <a:pt x="1518086" y="2295208"/>
                </a:cubicBezTo>
                <a:cubicBezTo>
                  <a:pt x="1520752" y="2238782"/>
                  <a:pt x="1523195" y="2205155"/>
                  <a:pt x="1514557" y="2115191"/>
                </a:cubicBezTo>
                <a:cubicBezTo>
                  <a:pt x="1572565" y="2150194"/>
                  <a:pt x="1615563" y="2196830"/>
                  <a:pt x="1688578" y="2220200"/>
                </a:cubicBezTo>
                <a:cubicBezTo>
                  <a:pt x="1761595" y="2243569"/>
                  <a:pt x="1870497" y="2266169"/>
                  <a:pt x="1952653" y="2255411"/>
                </a:cubicBezTo>
                <a:cubicBezTo>
                  <a:pt x="2034807" y="2244654"/>
                  <a:pt x="2128980" y="2181327"/>
                  <a:pt x="2181513" y="2155651"/>
                </a:cubicBezTo>
                <a:cubicBezTo>
                  <a:pt x="2234046" y="2129975"/>
                  <a:pt x="2241173" y="2107598"/>
                  <a:pt x="2267850" y="2101353"/>
                </a:cubicBezTo>
                <a:close/>
                <a:moveTo>
                  <a:pt x="864552" y="1475582"/>
                </a:moveTo>
                <a:lnTo>
                  <a:pt x="914366" y="1565290"/>
                </a:lnTo>
                <a:cubicBezTo>
                  <a:pt x="1025722" y="1673305"/>
                  <a:pt x="1079954" y="1706803"/>
                  <a:pt x="1205720" y="1714301"/>
                </a:cubicBezTo>
                <a:cubicBezTo>
                  <a:pt x="1203848" y="1728293"/>
                  <a:pt x="1191911" y="1750231"/>
                  <a:pt x="1213910" y="1795664"/>
                </a:cubicBezTo>
                <a:cubicBezTo>
                  <a:pt x="1235909" y="1841097"/>
                  <a:pt x="1315706" y="1937993"/>
                  <a:pt x="1337712" y="1986896"/>
                </a:cubicBezTo>
                <a:cubicBezTo>
                  <a:pt x="1359717" y="2035799"/>
                  <a:pt x="1362506" y="2067160"/>
                  <a:pt x="1345948" y="2089081"/>
                </a:cubicBezTo>
                <a:cubicBezTo>
                  <a:pt x="1329390" y="2111002"/>
                  <a:pt x="1282372" y="2110274"/>
                  <a:pt x="1238362" y="2118424"/>
                </a:cubicBezTo>
                <a:cubicBezTo>
                  <a:pt x="1194348" y="2126574"/>
                  <a:pt x="1131589" y="2140431"/>
                  <a:pt x="1081872" y="2137984"/>
                </a:cubicBezTo>
                <a:cubicBezTo>
                  <a:pt x="1032153" y="2135540"/>
                  <a:pt x="974285" y="2127389"/>
                  <a:pt x="940053" y="2103754"/>
                </a:cubicBezTo>
                <a:cubicBezTo>
                  <a:pt x="905821" y="2080116"/>
                  <a:pt x="891963" y="2045883"/>
                  <a:pt x="876477" y="1996165"/>
                </a:cubicBezTo>
                <a:cubicBezTo>
                  <a:pt x="860991" y="1946449"/>
                  <a:pt x="850398" y="1878799"/>
                  <a:pt x="847137" y="1805442"/>
                </a:cubicBezTo>
                <a:cubicBezTo>
                  <a:pt x="843876" y="1732089"/>
                  <a:pt x="854015" y="1611013"/>
                  <a:pt x="856917" y="1556036"/>
                </a:cubicBezTo>
                <a:cubicBezTo>
                  <a:pt x="859820" y="1501060"/>
                  <a:pt x="858522" y="1527380"/>
                  <a:pt x="864552" y="1475582"/>
                </a:cubicBezTo>
                <a:close/>
                <a:moveTo>
                  <a:pt x="2887321" y="1462498"/>
                </a:moveTo>
                <a:cubicBezTo>
                  <a:pt x="2900003" y="1567686"/>
                  <a:pt x="2894907" y="1656391"/>
                  <a:pt x="2894956" y="1736980"/>
                </a:cubicBezTo>
                <a:cubicBezTo>
                  <a:pt x="2895006" y="1817570"/>
                  <a:pt x="2899234" y="1886133"/>
                  <a:pt x="2887619" y="1946039"/>
                </a:cubicBezTo>
                <a:cubicBezTo>
                  <a:pt x="2876005" y="2005948"/>
                  <a:pt x="2854609" y="2067688"/>
                  <a:pt x="2825269" y="2096417"/>
                </a:cubicBezTo>
                <a:cubicBezTo>
                  <a:pt x="2795926" y="2125147"/>
                  <a:pt x="2760473" y="2117202"/>
                  <a:pt x="2711568" y="2118424"/>
                </a:cubicBezTo>
                <a:cubicBezTo>
                  <a:pt x="2662665" y="2119646"/>
                  <a:pt x="2584419" y="2114146"/>
                  <a:pt x="2531850" y="2103754"/>
                </a:cubicBezTo>
                <a:cubicBezTo>
                  <a:pt x="2479279" y="2093362"/>
                  <a:pt x="2415707" y="2072577"/>
                  <a:pt x="2396144" y="2056073"/>
                </a:cubicBezTo>
                <a:cubicBezTo>
                  <a:pt x="2376582" y="2039567"/>
                  <a:pt x="2399200" y="2029787"/>
                  <a:pt x="2414481" y="2004724"/>
                </a:cubicBezTo>
                <a:cubicBezTo>
                  <a:pt x="2429764" y="1979661"/>
                  <a:pt x="2465065" y="1955513"/>
                  <a:pt x="2487836" y="1905695"/>
                </a:cubicBezTo>
                <a:cubicBezTo>
                  <a:pt x="2510607" y="1855878"/>
                  <a:pt x="2536106" y="1748272"/>
                  <a:pt x="2551107" y="1705821"/>
                </a:cubicBezTo>
                <a:cubicBezTo>
                  <a:pt x="2674231" y="1695933"/>
                  <a:pt x="2790473" y="1647787"/>
                  <a:pt x="2850919" y="1511681"/>
                </a:cubicBezTo>
                <a:close/>
                <a:moveTo>
                  <a:pt x="2725207" y="774572"/>
                </a:moveTo>
                <a:lnTo>
                  <a:pt x="2740910" y="790703"/>
                </a:lnTo>
                <a:cubicBezTo>
                  <a:pt x="2757236" y="822871"/>
                  <a:pt x="2775069" y="904440"/>
                  <a:pt x="2792635" y="987426"/>
                </a:cubicBezTo>
                <a:cubicBezTo>
                  <a:pt x="2752116" y="934386"/>
                  <a:pt x="2701043" y="894859"/>
                  <a:pt x="2644236" y="872837"/>
                </a:cubicBezTo>
                <a:cubicBezTo>
                  <a:pt x="2643982" y="869631"/>
                  <a:pt x="2644720" y="866757"/>
                  <a:pt x="2645550" y="864058"/>
                </a:cubicBezTo>
                <a:cubicBezTo>
                  <a:pt x="2652886" y="840218"/>
                  <a:pt x="2666335" y="821270"/>
                  <a:pt x="2682228" y="809043"/>
                </a:cubicBezTo>
                <a:cubicBezTo>
                  <a:pt x="2694147" y="799873"/>
                  <a:pt x="2709504" y="771104"/>
                  <a:pt x="2725207" y="774572"/>
                </a:cubicBezTo>
                <a:close/>
                <a:moveTo>
                  <a:pt x="2521733" y="389743"/>
                </a:moveTo>
                <a:cubicBezTo>
                  <a:pt x="2566478" y="443277"/>
                  <a:pt x="2609083" y="497174"/>
                  <a:pt x="2636991" y="533961"/>
                </a:cubicBezTo>
                <a:cubicBezTo>
                  <a:pt x="2690784" y="604871"/>
                  <a:pt x="2716865" y="640734"/>
                  <a:pt x="2725015" y="680672"/>
                </a:cubicBezTo>
                <a:cubicBezTo>
                  <a:pt x="2733165" y="720609"/>
                  <a:pt x="2706270" y="750767"/>
                  <a:pt x="2685894" y="773586"/>
                </a:cubicBezTo>
                <a:cubicBezTo>
                  <a:pt x="2672847" y="788201"/>
                  <a:pt x="2652111" y="802480"/>
                  <a:pt x="2632455" y="810122"/>
                </a:cubicBezTo>
                <a:cubicBezTo>
                  <a:pt x="2624524" y="643811"/>
                  <a:pt x="2584245" y="503902"/>
                  <a:pt x="2521733" y="389743"/>
                </a:cubicBezTo>
                <a:close/>
                <a:moveTo>
                  <a:pt x="1743075" y="297656"/>
                </a:moveTo>
                <a:cubicBezTo>
                  <a:pt x="1852613" y="544512"/>
                  <a:pt x="2371725" y="517526"/>
                  <a:pt x="2471738" y="916781"/>
                </a:cubicBezTo>
                <a:cubicBezTo>
                  <a:pt x="2386013" y="474662"/>
                  <a:pt x="1912144" y="534987"/>
                  <a:pt x="1743075" y="297656"/>
                </a:cubicBezTo>
                <a:close/>
                <a:moveTo>
                  <a:pt x="1676846" y="236727"/>
                </a:moveTo>
                <a:cubicBezTo>
                  <a:pt x="1864628" y="706186"/>
                  <a:pt x="1406907" y="817686"/>
                  <a:pt x="1412774" y="1064151"/>
                </a:cubicBezTo>
                <a:cubicBezTo>
                  <a:pt x="1477326" y="759005"/>
                  <a:pt x="1841158" y="735526"/>
                  <a:pt x="1770738" y="453849"/>
                </a:cubicBezTo>
                <a:close/>
                <a:moveTo>
                  <a:pt x="1472593" y="96505"/>
                </a:moveTo>
                <a:cubicBezTo>
                  <a:pt x="1244666" y="225442"/>
                  <a:pt x="1081525" y="478905"/>
                  <a:pt x="1105095" y="846218"/>
                </a:cubicBezTo>
                <a:lnTo>
                  <a:pt x="1106315" y="873140"/>
                </a:lnTo>
                <a:cubicBezTo>
                  <a:pt x="1038208" y="901745"/>
                  <a:pt x="978198" y="954650"/>
                  <a:pt x="934614" y="1025702"/>
                </a:cubicBezTo>
                <a:cubicBezTo>
                  <a:pt x="934731" y="1024782"/>
                  <a:pt x="934945" y="1023887"/>
                  <a:pt x="935162" y="1022993"/>
                </a:cubicBezTo>
                <a:cubicBezTo>
                  <a:pt x="978359" y="843683"/>
                  <a:pt x="1060678" y="612207"/>
                  <a:pt x="1116102" y="480168"/>
                </a:cubicBezTo>
                <a:cubicBezTo>
                  <a:pt x="1171528" y="348131"/>
                  <a:pt x="1217986" y="292705"/>
                  <a:pt x="1267702" y="230764"/>
                </a:cubicBezTo>
                <a:cubicBezTo>
                  <a:pt x="1317421" y="168818"/>
                  <a:pt x="1367955" y="132141"/>
                  <a:pt x="1414413" y="108503"/>
                </a:cubicBezTo>
                <a:cubicBezTo>
                  <a:pt x="1434160" y="98457"/>
                  <a:pt x="1453614" y="96362"/>
                  <a:pt x="1472593" y="96505"/>
                </a:cubicBezTo>
                <a:close/>
                <a:moveTo>
                  <a:pt x="1825923" y="91201"/>
                </a:moveTo>
                <a:cubicBezTo>
                  <a:pt x="2135956" y="87199"/>
                  <a:pt x="2458209" y="314634"/>
                  <a:pt x="2508361" y="706119"/>
                </a:cubicBezTo>
                <a:lnTo>
                  <a:pt x="2509839" y="707231"/>
                </a:lnTo>
                <a:lnTo>
                  <a:pt x="2510597" y="717679"/>
                </a:lnTo>
                <a:cubicBezTo>
                  <a:pt x="2512640" y="723049"/>
                  <a:pt x="2513245" y="728616"/>
                  <a:pt x="2513795" y="734215"/>
                </a:cubicBezTo>
                <a:lnTo>
                  <a:pt x="2511610" y="731650"/>
                </a:lnTo>
                <a:cubicBezTo>
                  <a:pt x="2513320" y="753373"/>
                  <a:pt x="2514497" y="771732"/>
                  <a:pt x="2515051" y="789484"/>
                </a:cubicBezTo>
                <a:cubicBezTo>
                  <a:pt x="2515942" y="790378"/>
                  <a:pt x="2516777" y="791315"/>
                  <a:pt x="2517609" y="792251"/>
                </a:cubicBezTo>
                <a:cubicBezTo>
                  <a:pt x="2517932" y="809950"/>
                  <a:pt x="2518255" y="827651"/>
                  <a:pt x="2518578" y="845350"/>
                </a:cubicBezTo>
                <a:cubicBezTo>
                  <a:pt x="2518506" y="846580"/>
                  <a:pt x="2518434" y="847809"/>
                  <a:pt x="2518362" y="849038"/>
                </a:cubicBezTo>
                <a:lnTo>
                  <a:pt x="2516075" y="848928"/>
                </a:lnTo>
                <a:cubicBezTo>
                  <a:pt x="2515937" y="865978"/>
                  <a:pt x="2515432" y="884823"/>
                  <a:pt x="2514601" y="907256"/>
                </a:cubicBezTo>
                <a:lnTo>
                  <a:pt x="2512918" y="906169"/>
                </a:lnTo>
                <a:lnTo>
                  <a:pt x="2508589" y="1016247"/>
                </a:lnTo>
                <a:lnTo>
                  <a:pt x="2470675" y="1664816"/>
                </a:lnTo>
                <a:cubicBezTo>
                  <a:pt x="2472968" y="1666152"/>
                  <a:pt x="2475192" y="1667415"/>
                  <a:pt x="2477521" y="1668311"/>
                </a:cubicBezTo>
                <a:lnTo>
                  <a:pt x="2471891" y="1688712"/>
                </a:lnTo>
                <a:cubicBezTo>
                  <a:pt x="2326817" y="1810204"/>
                  <a:pt x="2143990" y="1903249"/>
                  <a:pt x="2037270" y="1929145"/>
                </a:cubicBezTo>
                <a:lnTo>
                  <a:pt x="2034920" y="1922197"/>
                </a:lnTo>
                <a:cubicBezTo>
                  <a:pt x="2026869" y="1898414"/>
                  <a:pt x="2001060" y="1885659"/>
                  <a:pt x="1977277" y="1893710"/>
                </a:cubicBezTo>
                <a:lnTo>
                  <a:pt x="1785695" y="1958561"/>
                </a:lnTo>
                <a:cubicBezTo>
                  <a:pt x="1761911" y="1966612"/>
                  <a:pt x="1749156" y="1992419"/>
                  <a:pt x="1757207" y="2016203"/>
                </a:cubicBezTo>
                <a:lnTo>
                  <a:pt x="1778033" y="2077723"/>
                </a:lnTo>
                <a:cubicBezTo>
                  <a:pt x="1786084" y="2101508"/>
                  <a:pt x="1811890" y="2114262"/>
                  <a:pt x="1835675" y="2106211"/>
                </a:cubicBezTo>
                <a:lnTo>
                  <a:pt x="2027257" y="2041359"/>
                </a:lnTo>
                <a:cubicBezTo>
                  <a:pt x="2051041" y="2033309"/>
                  <a:pt x="2063795" y="2007502"/>
                  <a:pt x="2055744" y="1983718"/>
                </a:cubicBezTo>
                <a:lnTo>
                  <a:pt x="2053617" y="1977433"/>
                </a:lnTo>
                <a:cubicBezTo>
                  <a:pt x="2219167" y="1921374"/>
                  <a:pt x="2336955" y="1853107"/>
                  <a:pt x="2449571" y="1759626"/>
                </a:cubicBezTo>
                <a:cubicBezTo>
                  <a:pt x="2393537" y="1905843"/>
                  <a:pt x="2294866" y="1993793"/>
                  <a:pt x="2239957" y="2053707"/>
                </a:cubicBezTo>
                <a:cubicBezTo>
                  <a:pt x="2147337" y="2147552"/>
                  <a:pt x="2079757" y="2177782"/>
                  <a:pt x="2005466" y="2202597"/>
                </a:cubicBezTo>
                <a:cubicBezTo>
                  <a:pt x="1931175" y="2227412"/>
                  <a:pt x="1879141" y="2232093"/>
                  <a:pt x="1794209" y="2202597"/>
                </a:cubicBezTo>
                <a:cubicBezTo>
                  <a:pt x="1709278" y="2173101"/>
                  <a:pt x="1583436" y="2128314"/>
                  <a:pt x="1495871" y="2025623"/>
                </a:cubicBezTo>
                <a:cubicBezTo>
                  <a:pt x="1472168" y="1985334"/>
                  <a:pt x="1274277" y="1806037"/>
                  <a:pt x="1268806" y="1586454"/>
                </a:cubicBezTo>
                <a:lnTo>
                  <a:pt x="1267622" y="1585942"/>
                </a:lnTo>
                <a:lnTo>
                  <a:pt x="1238626" y="848883"/>
                </a:lnTo>
                <a:lnTo>
                  <a:pt x="1214876" y="849628"/>
                </a:lnTo>
                <a:lnTo>
                  <a:pt x="1214341" y="837692"/>
                </a:lnTo>
                <a:cubicBezTo>
                  <a:pt x="1228424" y="322534"/>
                  <a:pt x="1521273" y="95133"/>
                  <a:pt x="1825923" y="91201"/>
                </a:cubicBezTo>
                <a:close/>
                <a:moveTo>
                  <a:pt x="1905282" y="5199"/>
                </a:moveTo>
                <a:cubicBezTo>
                  <a:pt x="2312327" y="29922"/>
                  <a:pt x="2628640" y="447901"/>
                  <a:pt x="2603911" y="853166"/>
                </a:cubicBezTo>
                <a:lnTo>
                  <a:pt x="2600905" y="920993"/>
                </a:lnTo>
                <a:cubicBezTo>
                  <a:pt x="2712585" y="938794"/>
                  <a:pt x="2810054" y="1018284"/>
                  <a:pt x="2858389" y="1134307"/>
                </a:cubicBezTo>
                <a:cubicBezTo>
                  <a:pt x="2906511" y="1249815"/>
                  <a:pt x="2898731" y="1384615"/>
                  <a:pt x="2837727" y="1492317"/>
                </a:cubicBezTo>
                <a:cubicBezTo>
                  <a:pt x="2768709" y="1614166"/>
                  <a:pt x="2643368" y="1680939"/>
                  <a:pt x="2515534" y="1664359"/>
                </a:cubicBezTo>
                <a:lnTo>
                  <a:pt x="2540726" y="1668803"/>
                </a:lnTo>
                <a:cubicBezTo>
                  <a:pt x="2391386" y="1816870"/>
                  <a:pt x="2108017" y="1963020"/>
                  <a:pt x="2031430" y="1961743"/>
                </a:cubicBezTo>
                <a:lnTo>
                  <a:pt x="2028761" y="1955738"/>
                </a:lnTo>
                <a:lnTo>
                  <a:pt x="2037609" y="1981874"/>
                </a:lnTo>
                <a:cubicBezTo>
                  <a:pt x="2043938" y="2000572"/>
                  <a:pt x="2033912" y="2020859"/>
                  <a:pt x="2015215" y="2027188"/>
                </a:cubicBezTo>
                <a:lnTo>
                  <a:pt x="1838934" y="2086860"/>
                </a:lnTo>
                <a:cubicBezTo>
                  <a:pt x="1820236" y="2093188"/>
                  <a:pt x="1799949" y="2083163"/>
                  <a:pt x="1793620" y="2064465"/>
                </a:cubicBezTo>
                <a:lnTo>
                  <a:pt x="1777250" y="2016105"/>
                </a:lnTo>
                <a:cubicBezTo>
                  <a:pt x="1770922" y="1997408"/>
                  <a:pt x="1780947" y="1977121"/>
                  <a:pt x="1799645" y="1970791"/>
                </a:cubicBezTo>
                <a:lnTo>
                  <a:pt x="1975926" y="1911120"/>
                </a:lnTo>
                <a:cubicBezTo>
                  <a:pt x="1980600" y="1909538"/>
                  <a:pt x="1985373" y="1908978"/>
                  <a:pt x="1990003" y="1909320"/>
                </a:cubicBezTo>
                <a:cubicBezTo>
                  <a:pt x="2003895" y="1910346"/>
                  <a:pt x="2016493" y="1919491"/>
                  <a:pt x="2021239" y="1933515"/>
                </a:cubicBezTo>
                <a:lnTo>
                  <a:pt x="2024847" y="1944172"/>
                </a:lnTo>
                <a:cubicBezTo>
                  <a:pt x="2213660" y="1894300"/>
                  <a:pt x="2451303" y="1742341"/>
                  <a:pt x="2507587" y="1663724"/>
                </a:cubicBezTo>
                <a:cubicBezTo>
                  <a:pt x="2506384" y="1663812"/>
                  <a:pt x="2505220" y="1663630"/>
                  <a:pt x="2504057" y="1663441"/>
                </a:cubicBezTo>
                <a:lnTo>
                  <a:pt x="2513198" y="1528561"/>
                </a:lnTo>
                <a:lnTo>
                  <a:pt x="2542642" y="914436"/>
                </a:lnTo>
                <a:cubicBezTo>
                  <a:pt x="2561363" y="574055"/>
                  <a:pt x="2404788" y="129007"/>
                  <a:pt x="1884006" y="56678"/>
                </a:cubicBezTo>
                <a:cubicBezTo>
                  <a:pt x="1189629" y="66038"/>
                  <a:pt x="1180269" y="757860"/>
                  <a:pt x="1194736" y="909329"/>
                </a:cubicBezTo>
                <a:lnTo>
                  <a:pt x="1211177" y="1211447"/>
                </a:lnTo>
                <a:lnTo>
                  <a:pt x="1243376" y="1663441"/>
                </a:lnTo>
                <a:lnTo>
                  <a:pt x="1194310" y="1667373"/>
                </a:lnTo>
                <a:lnTo>
                  <a:pt x="1179418" y="1670080"/>
                </a:lnTo>
                <a:lnTo>
                  <a:pt x="1179145" y="1666144"/>
                </a:lnTo>
                <a:cubicBezTo>
                  <a:pt x="1070665" y="1661389"/>
                  <a:pt x="969621" y="1597582"/>
                  <a:pt x="910103" y="1493017"/>
                </a:cubicBezTo>
                <a:cubicBezTo>
                  <a:pt x="849020" y="1385701"/>
                  <a:pt x="840867" y="1251257"/>
                  <a:pt x="888437" y="1135772"/>
                </a:cubicBezTo>
                <a:cubicBezTo>
                  <a:pt x="933813" y="1025611"/>
                  <a:pt x="1023453" y="948016"/>
                  <a:pt x="1127888" y="925245"/>
                </a:cubicBezTo>
                <a:lnTo>
                  <a:pt x="1123255" y="858272"/>
                </a:lnTo>
                <a:cubicBezTo>
                  <a:pt x="1105385" y="260905"/>
                  <a:pt x="1524904" y="1364"/>
                  <a:pt x="1822737" y="5619"/>
                </a:cubicBezTo>
                <a:cubicBezTo>
                  <a:pt x="1850606" y="3652"/>
                  <a:pt x="1878146" y="3552"/>
                  <a:pt x="1905282" y="5199"/>
                </a:cubicBezTo>
                <a:close/>
                <a:moveTo>
                  <a:pt x="1764375" y="0"/>
                </a:moveTo>
                <a:lnTo>
                  <a:pt x="1784561" y="169"/>
                </a:lnTo>
                <a:cubicBezTo>
                  <a:pt x="1727259" y="4527"/>
                  <a:pt x="1670664" y="15855"/>
                  <a:pt x="1616014" y="33313"/>
                </a:cubicBezTo>
                <a:cubicBezTo>
                  <a:pt x="1627407" y="23458"/>
                  <a:pt x="1641157" y="15402"/>
                  <a:pt x="1658927" y="10698"/>
                </a:cubicBezTo>
                <a:cubicBezTo>
                  <a:pt x="1686640" y="3364"/>
                  <a:pt x="1725153" y="715"/>
                  <a:pt x="1764375" y="0"/>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US" sz="1800" dirty="0">
              <a:solidFill>
                <a:schemeClr val="tx1"/>
              </a:solidFill>
            </a:endParaRPr>
          </a:p>
        </p:txBody>
      </p:sp>
      <p:sp>
        <p:nvSpPr>
          <p:cNvPr id="137" name="TextBox 136"/>
          <p:cNvSpPr txBox="1"/>
          <p:nvPr/>
        </p:nvSpPr>
        <p:spPr>
          <a:xfrm>
            <a:off x="7841915" y="3133546"/>
            <a:ext cx="795089" cy="307777"/>
          </a:xfrm>
          <a:prstGeom prst="rect">
            <a:avLst/>
          </a:prstGeom>
        </p:spPr>
        <p:txBody>
          <a:bodyPr vert="horz" wrap="none" lIns="0" tIns="0" rIns="0" bIns="0" rtlCol="0" anchor="t">
            <a:spAutoFit/>
          </a:bodyPr>
          <a:lstStyle/>
          <a:p>
            <a:pPr algn="ctr" defTabSz="1088105"/>
            <a:r>
              <a:rPr lang="en-US" sz="1000" dirty="0">
                <a:latin typeface="Segoe UI Semibold" panose="020B0702040204020203" pitchFamily="34" charset="0"/>
                <a:ea typeface="Segoe UI" pitchFamily="34" charset="0"/>
                <a:cs typeface="Segoe UI Semibold" panose="020B0702040204020203" pitchFamily="34" charset="0"/>
              </a:rPr>
              <a:t>Develop new </a:t>
            </a:r>
            <a:br>
              <a:rPr lang="en-US" sz="1000" dirty="0">
                <a:latin typeface="Segoe UI Semibold" panose="020B0702040204020203" pitchFamily="34" charset="0"/>
                <a:ea typeface="Segoe UI" pitchFamily="34" charset="0"/>
                <a:cs typeface="Segoe UI Semibold" panose="020B0702040204020203" pitchFamily="34" charset="0"/>
              </a:rPr>
            </a:br>
            <a:r>
              <a:rPr lang="en-US" sz="1000" dirty="0">
                <a:latin typeface="Segoe UI Semibold" panose="020B0702040204020203" pitchFamily="34" charset="0"/>
                <a:ea typeface="Segoe UI" pitchFamily="34" charset="0"/>
                <a:cs typeface="Segoe UI Semibold" panose="020B0702040204020203" pitchFamily="34" charset="0"/>
              </a:rPr>
              <a:t>offers</a:t>
            </a:r>
          </a:p>
        </p:txBody>
      </p:sp>
      <p:sp>
        <p:nvSpPr>
          <p:cNvPr id="138" name="Freeform 25"/>
          <p:cNvSpPr>
            <a:spLocks noChangeAspect="1" noEditPoints="1"/>
          </p:cNvSpPr>
          <p:nvPr/>
        </p:nvSpPr>
        <p:spPr bwMode="black">
          <a:xfrm>
            <a:off x="8001186" y="2730770"/>
            <a:ext cx="411480" cy="350364"/>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bg1">
              <a:lumMod val="50000"/>
            </a:schemeClr>
          </a:solidFill>
          <a:ln>
            <a:noFill/>
          </a:ln>
        </p:spPr>
        <p:txBody>
          <a:bodyPr vert="horz" wrap="square" lIns="82305" tIns="41153" rIns="82305" bIns="41153" numCol="1" anchor="t" anchorCtr="0" compatLnSpc="1">
            <a:prstTxWarp prst="textNoShape">
              <a:avLst/>
            </a:prstTxWarp>
          </a:bodyPr>
          <a:lstStyle/>
          <a:p>
            <a:pPr defTabSz="914400"/>
            <a:endParaRPr lang="en-US" sz="1600" dirty="0"/>
          </a:p>
        </p:txBody>
      </p:sp>
      <p:sp>
        <p:nvSpPr>
          <p:cNvPr id="139" name="TextBox 138"/>
          <p:cNvSpPr txBox="1"/>
          <p:nvPr/>
        </p:nvSpPr>
        <p:spPr>
          <a:xfrm>
            <a:off x="7954421" y="2356929"/>
            <a:ext cx="597921" cy="307777"/>
          </a:xfrm>
          <a:prstGeom prst="rect">
            <a:avLst/>
          </a:prstGeom>
        </p:spPr>
        <p:txBody>
          <a:bodyPr vert="horz" wrap="none" lIns="0" tIns="0" rIns="0" bIns="0" rtlCol="0" anchor="t">
            <a:spAutoFit/>
          </a:bodyPr>
          <a:lstStyle/>
          <a:p>
            <a:pPr algn="ctr" defTabSz="1088105"/>
            <a:r>
              <a:rPr lang="en-US" sz="1000" dirty="0">
                <a:latin typeface="Segoe UI Semibold" panose="020B0702040204020203" pitchFamily="34" charset="0"/>
                <a:ea typeface="Segoe UI" pitchFamily="34" charset="0"/>
                <a:cs typeface="Segoe UI Semibold" panose="020B0702040204020203" pitchFamily="34" charset="0"/>
              </a:rPr>
              <a:t>Target</a:t>
            </a:r>
            <a:br>
              <a:rPr lang="en-US" sz="1000" dirty="0">
                <a:latin typeface="Segoe UI Semibold" panose="020B0702040204020203" pitchFamily="34" charset="0"/>
                <a:ea typeface="Segoe UI" pitchFamily="34" charset="0"/>
                <a:cs typeface="Segoe UI Semibold" panose="020B0702040204020203" pitchFamily="34" charset="0"/>
              </a:rPr>
            </a:br>
            <a:r>
              <a:rPr lang="en-US" sz="1000" dirty="0">
                <a:latin typeface="Segoe UI Semibold" panose="020B0702040204020203" pitchFamily="34" charset="0"/>
                <a:ea typeface="Segoe UI" pitchFamily="34" charset="0"/>
                <a:cs typeface="Segoe UI Semibold" panose="020B0702040204020203" pitchFamily="34" charset="0"/>
              </a:rPr>
              <a:t>marketing</a:t>
            </a:r>
          </a:p>
        </p:txBody>
      </p:sp>
      <p:sp>
        <p:nvSpPr>
          <p:cNvPr id="140" name="TextBox 139"/>
          <p:cNvSpPr txBox="1"/>
          <p:nvPr/>
        </p:nvSpPr>
        <p:spPr>
          <a:xfrm>
            <a:off x="7916454" y="3801481"/>
            <a:ext cx="646011" cy="307777"/>
          </a:xfrm>
          <a:prstGeom prst="rect">
            <a:avLst/>
          </a:prstGeom>
        </p:spPr>
        <p:txBody>
          <a:bodyPr vert="horz" wrap="none" lIns="0" tIns="0" rIns="0" bIns="0" rtlCol="0" anchor="t">
            <a:spAutoFit/>
          </a:bodyPr>
          <a:lstStyle/>
          <a:p>
            <a:pPr algn="ctr" defTabSz="1088105"/>
            <a:r>
              <a:rPr lang="en-US" sz="1000" dirty="0">
                <a:latin typeface="Segoe UI Semibold" panose="020B0702040204020203" pitchFamily="34" charset="0"/>
                <a:ea typeface="Segoe UI" pitchFamily="34" charset="0"/>
                <a:cs typeface="Segoe UI Semibold" panose="020B0702040204020203" pitchFamily="34" charset="0"/>
              </a:rPr>
              <a:t>Adapt </a:t>
            </a:r>
            <a:br>
              <a:rPr lang="en-US" sz="1000" dirty="0">
                <a:latin typeface="Segoe UI Semibold" panose="020B0702040204020203" pitchFamily="34" charset="0"/>
                <a:ea typeface="Segoe UI" pitchFamily="34" charset="0"/>
                <a:cs typeface="Segoe UI Semibold" panose="020B0702040204020203" pitchFamily="34" charset="0"/>
              </a:rPr>
            </a:br>
            <a:r>
              <a:rPr lang="en-US" sz="1000" dirty="0">
                <a:latin typeface="Segoe UI Semibold" panose="020B0702040204020203" pitchFamily="34" charset="0"/>
                <a:ea typeface="Segoe UI" pitchFamily="34" charset="0"/>
                <a:cs typeface="Segoe UI Semibold" panose="020B0702040204020203" pitchFamily="34" charset="0"/>
              </a:rPr>
              <a:t>Campaigns</a:t>
            </a:r>
          </a:p>
        </p:txBody>
      </p:sp>
      <p:pic>
        <p:nvPicPr>
          <p:cNvPr id="141" name="Picture 8" descr="\\MAGNUM\Projects\Microsoft\Cloud Power FY12\Design\Icons\PNGs\Cross Platform.png"/>
          <p:cNvPicPr>
            <a:picLocks noChangeAspect="1" noChangeArrowheads="1"/>
          </p:cNvPicPr>
          <p:nvPr/>
        </p:nvPicPr>
        <p:blipFill>
          <a:blip r:embed="rId11" cstate="print">
            <a:grayscl/>
            <a:extLst>
              <a:ext uri="{BEBA8EAE-BF5A-486C-A8C5-ECC9F3942E4B}">
                <a14:imgProps xmlns:a14="http://schemas.microsoft.com/office/drawing/2010/main">
                  <a14:imgLayer r:embed="rId12">
                    <a14:imgEffect>
                      <a14:brightnessContrast bright="-31000" contrast="-40000"/>
                    </a14:imgEffect>
                  </a14:imgLayer>
                </a14:imgProps>
              </a:ext>
              <a:ext uri="{28A0092B-C50C-407E-A947-70E740481C1C}">
                <a14:useLocalDpi xmlns:a14="http://schemas.microsoft.com/office/drawing/2010/main"/>
              </a:ext>
            </a:extLst>
          </a:blip>
          <a:srcRect/>
          <a:stretch>
            <a:fillRect/>
          </a:stretch>
        </p:blipFill>
        <p:spPr bwMode="auto">
          <a:xfrm>
            <a:off x="8008135" y="3438550"/>
            <a:ext cx="457200" cy="457200"/>
          </a:xfrm>
          <a:prstGeom prst="rect">
            <a:avLst/>
          </a:prstGeom>
          <a:noFill/>
        </p:spPr>
      </p:pic>
      <p:sp>
        <p:nvSpPr>
          <p:cNvPr id="142" name="Freeform 22"/>
          <p:cNvSpPr>
            <a:spLocks noChangeAspect="1" noEditPoints="1"/>
          </p:cNvSpPr>
          <p:nvPr/>
        </p:nvSpPr>
        <p:spPr bwMode="black">
          <a:xfrm>
            <a:off x="8074935" y="2001292"/>
            <a:ext cx="365856" cy="365760"/>
          </a:xfrm>
          <a:custGeom>
            <a:avLst/>
            <a:gdLst>
              <a:gd name="T0" fmla="*/ 300 w 300"/>
              <a:gd name="T1" fmla="*/ 141 h 300"/>
              <a:gd name="T2" fmla="*/ 285 w 300"/>
              <a:gd name="T3" fmla="*/ 141 h 300"/>
              <a:gd name="T4" fmla="*/ 159 w 300"/>
              <a:gd name="T5" fmla="*/ 15 h 300"/>
              <a:gd name="T6" fmla="*/ 159 w 300"/>
              <a:gd name="T7" fmla="*/ 0 h 300"/>
              <a:gd name="T8" fmla="*/ 141 w 300"/>
              <a:gd name="T9" fmla="*/ 0 h 300"/>
              <a:gd name="T10" fmla="*/ 141 w 300"/>
              <a:gd name="T11" fmla="*/ 15 h 300"/>
              <a:gd name="T12" fmla="*/ 15 w 300"/>
              <a:gd name="T13" fmla="*/ 141 h 300"/>
              <a:gd name="T14" fmla="*/ 0 w 300"/>
              <a:gd name="T15" fmla="*/ 141 h 300"/>
              <a:gd name="T16" fmla="*/ 0 w 300"/>
              <a:gd name="T17" fmla="*/ 159 h 300"/>
              <a:gd name="T18" fmla="*/ 15 w 300"/>
              <a:gd name="T19" fmla="*/ 159 h 300"/>
              <a:gd name="T20" fmla="*/ 141 w 300"/>
              <a:gd name="T21" fmla="*/ 285 h 300"/>
              <a:gd name="T22" fmla="*/ 141 w 300"/>
              <a:gd name="T23" fmla="*/ 300 h 300"/>
              <a:gd name="T24" fmla="*/ 159 w 300"/>
              <a:gd name="T25" fmla="*/ 300 h 300"/>
              <a:gd name="T26" fmla="*/ 159 w 300"/>
              <a:gd name="T27" fmla="*/ 285 h 300"/>
              <a:gd name="T28" fmla="*/ 285 w 300"/>
              <a:gd name="T29" fmla="*/ 159 h 300"/>
              <a:gd name="T30" fmla="*/ 300 w 300"/>
              <a:gd name="T31" fmla="*/ 159 h 300"/>
              <a:gd name="T32" fmla="*/ 300 w 300"/>
              <a:gd name="T33" fmla="*/ 141 h 300"/>
              <a:gd name="T34" fmla="*/ 258 w 300"/>
              <a:gd name="T35" fmla="*/ 141 h 300"/>
              <a:gd name="T36" fmla="*/ 230 w 300"/>
              <a:gd name="T37" fmla="*/ 141 h 300"/>
              <a:gd name="T38" fmla="*/ 159 w 300"/>
              <a:gd name="T39" fmla="*/ 70 h 300"/>
              <a:gd name="T40" fmla="*/ 159 w 300"/>
              <a:gd name="T41" fmla="*/ 42 h 300"/>
              <a:gd name="T42" fmla="*/ 258 w 300"/>
              <a:gd name="T43" fmla="*/ 141 h 300"/>
              <a:gd name="T44" fmla="*/ 141 w 300"/>
              <a:gd name="T45" fmla="*/ 125 h 300"/>
              <a:gd name="T46" fmla="*/ 125 w 300"/>
              <a:gd name="T47" fmla="*/ 141 h 300"/>
              <a:gd name="T48" fmla="*/ 97 w 300"/>
              <a:gd name="T49" fmla="*/ 141 h 300"/>
              <a:gd name="T50" fmla="*/ 141 w 300"/>
              <a:gd name="T51" fmla="*/ 97 h 300"/>
              <a:gd name="T52" fmla="*/ 141 w 300"/>
              <a:gd name="T53" fmla="*/ 125 h 300"/>
              <a:gd name="T54" fmla="*/ 125 w 300"/>
              <a:gd name="T55" fmla="*/ 159 h 300"/>
              <a:gd name="T56" fmla="*/ 141 w 300"/>
              <a:gd name="T57" fmla="*/ 175 h 300"/>
              <a:gd name="T58" fmla="*/ 141 w 300"/>
              <a:gd name="T59" fmla="*/ 203 h 300"/>
              <a:gd name="T60" fmla="*/ 97 w 300"/>
              <a:gd name="T61" fmla="*/ 159 h 300"/>
              <a:gd name="T62" fmla="*/ 125 w 300"/>
              <a:gd name="T63" fmla="*/ 159 h 300"/>
              <a:gd name="T64" fmla="*/ 159 w 300"/>
              <a:gd name="T65" fmla="*/ 175 h 300"/>
              <a:gd name="T66" fmla="*/ 175 w 300"/>
              <a:gd name="T67" fmla="*/ 159 h 300"/>
              <a:gd name="T68" fmla="*/ 203 w 300"/>
              <a:gd name="T69" fmla="*/ 159 h 300"/>
              <a:gd name="T70" fmla="*/ 159 w 300"/>
              <a:gd name="T71" fmla="*/ 203 h 300"/>
              <a:gd name="T72" fmla="*/ 159 w 300"/>
              <a:gd name="T73" fmla="*/ 175 h 300"/>
              <a:gd name="T74" fmla="*/ 175 w 300"/>
              <a:gd name="T75" fmla="*/ 141 h 300"/>
              <a:gd name="T76" fmla="*/ 159 w 300"/>
              <a:gd name="T77" fmla="*/ 125 h 300"/>
              <a:gd name="T78" fmla="*/ 159 w 300"/>
              <a:gd name="T79" fmla="*/ 97 h 300"/>
              <a:gd name="T80" fmla="*/ 203 w 300"/>
              <a:gd name="T81" fmla="*/ 141 h 300"/>
              <a:gd name="T82" fmla="*/ 175 w 300"/>
              <a:gd name="T83" fmla="*/ 141 h 300"/>
              <a:gd name="T84" fmla="*/ 141 w 300"/>
              <a:gd name="T85" fmla="*/ 42 h 300"/>
              <a:gd name="T86" fmla="*/ 141 w 300"/>
              <a:gd name="T87" fmla="*/ 70 h 300"/>
              <a:gd name="T88" fmla="*/ 70 w 300"/>
              <a:gd name="T89" fmla="*/ 141 h 300"/>
              <a:gd name="T90" fmla="*/ 42 w 300"/>
              <a:gd name="T91" fmla="*/ 141 h 300"/>
              <a:gd name="T92" fmla="*/ 141 w 300"/>
              <a:gd name="T93" fmla="*/ 42 h 300"/>
              <a:gd name="T94" fmla="*/ 42 w 300"/>
              <a:gd name="T95" fmla="*/ 159 h 300"/>
              <a:gd name="T96" fmla="*/ 70 w 300"/>
              <a:gd name="T97" fmla="*/ 159 h 300"/>
              <a:gd name="T98" fmla="*/ 141 w 300"/>
              <a:gd name="T99" fmla="*/ 230 h 300"/>
              <a:gd name="T100" fmla="*/ 141 w 300"/>
              <a:gd name="T101" fmla="*/ 258 h 300"/>
              <a:gd name="T102" fmla="*/ 42 w 300"/>
              <a:gd name="T103" fmla="*/ 159 h 300"/>
              <a:gd name="T104" fmla="*/ 159 w 300"/>
              <a:gd name="T105" fmla="*/ 258 h 300"/>
              <a:gd name="T106" fmla="*/ 159 w 300"/>
              <a:gd name="T107" fmla="*/ 230 h 300"/>
              <a:gd name="T108" fmla="*/ 230 w 300"/>
              <a:gd name="T109" fmla="*/ 159 h 300"/>
              <a:gd name="T110" fmla="*/ 258 w 300"/>
              <a:gd name="T111" fmla="*/ 159 h 300"/>
              <a:gd name="T112" fmla="*/ 159 w 300"/>
              <a:gd name="T113" fmla="*/ 2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300">
                <a:moveTo>
                  <a:pt x="300" y="141"/>
                </a:moveTo>
                <a:cubicBezTo>
                  <a:pt x="285" y="141"/>
                  <a:pt x="285" y="141"/>
                  <a:pt x="285" y="141"/>
                </a:cubicBezTo>
                <a:cubicBezTo>
                  <a:pt x="280" y="74"/>
                  <a:pt x="226" y="20"/>
                  <a:pt x="159" y="15"/>
                </a:cubicBezTo>
                <a:cubicBezTo>
                  <a:pt x="159" y="0"/>
                  <a:pt x="159" y="0"/>
                  <a:pt x="159" y="0"/>
                </a:cubicBezTo>
                <a:cubicBezTo>
                  <a:pt x="141" y="0"/>
                  <a:pt x="141" y="0"/>
                  <a:pt x="141" y="0"/>
                </a:cubicBezTo>
                <a:cubicBezTo>
                  <a:pt x="141" y="15"/>
                  <a:pt x="141" y="15"/>
                  <a:pt x="141" y="15"/>
                </a:cubicBezTo>
                <a:cubicBezTo>
                  <a:pt x="74" y="20"/>
                  <a:pt x="20" y="74"/>
                  <a:pt x="15" y="141"/>
                </a:cubicBezTo>
                <a:cubicBezTo>
                  <a:pt x="0" y="141"/>
                  <a:pt x="0" y="141"/>
                  <a:pt x="0" y="141"/>
                </a:cubicBezTo>
                <a:cubicBezTo>
                  <a:pt x="0" y="159"/>
                  <a:pt x="0" y="159"/>
                  <a:pt x="0" y="159"/>
                </a:cubicBezTo>
                <a:cubicBezTo>
                  <a:pt x="15" y="159"/>
                  <a:pt x="15" y="159"/>
                  <a:pt x="15" y="159"/>
                </a:cubicBezTo>
                <a:cubicBezTo>
                  <a:pt x="20" y="226"/>
                  <a:pt x="74" y="280"/>
                  <a:pt x="141" y="285"/>
                </a:cubicBezTo>
                <a:cubicBezTo>
                  <a:pt x="141" y="300"/>
                  <a:pt x="141" y="300"/>
                  <a:pt x="141" y="300"/>
                </a:cubicBezTo>
                <a:cubicBezTo>
                  <a:pt x="159" y="300"/>
                  <a:pt x="159" y="300"/>
                  <a:pt x="159" y="300"/>
                </a:cubicBezTo>
                <a:cubicBezTo>
                  <a:pt x="159" y="285"/>
                  <a:pt x="159" y="285"/>
                  <a:pt x="159" y="285"/>
                </a:cubicBezTo>
                <a:cubicBezTo>
                  <a:pt x="226" y="280"/>
                  <a:pt x="280" y="226"/>
                  <a:pt x="285" y="159"/>
                </a:cubicBezTo>
                <a:cubicBezTo>
                  <a:pt x="300" y="159"/>
                  <a:pt x="300" y="159"/>
                  <a:pt x="300" y="159"/>
                </a:cubicBezTo>
                <a:lnTo>
                  <a:pt x="300" y="141"/>
                </a:lnTo>
                <a:close/>
                <a:moveTo>
                  <a:pt x="258" y="141"/>
                </a:moveTo>
                <a:cubicBezTo>
                  <a:pt x="230" y="141"/>
                  <a:pt x="230" y="141"/>
                  <a:pt x="230" y="141"/>
                </a:cubicBezTo>
                <a:cubicBezTo>
                  <a:pt x="226" y="103"/>
                  <a:pt x="197" y="74"/>
                  <a:pt x="159" y="70"/>
                </a:cubicBezTo>
                <a:cubicBezTo>
                  <a:pt x="159" y="42"/>
                  <a:pt x="159" y="42"/>
                  <a:pt x="159" y="42"/>
                </a:cubicBezTo>
                <a:cubicBezTo>
                  <a:pt x="211" y="47"/>
                  <a:pt x="253" y="89"/>
                  <a:pt x="258" y="141"/>
                </a:cubicBezTo>
                <a:close/>
                <a:moveTo>
                  <a:pt x="141" y="125"/>
                </a:moveTo>
                <a:cubicBezTo>
                  <a:pt x="133" y="127"/>
                  <a:pt x="127" y="133"/>
                  <a:pt x="125" y="141"/>
                </a:cubicBezTo>
                <a:cubicBezTo>
                  <a:pt x="97" y="141"/>
                  <a:pt x="97" y="141"/>
                  <a:pt x="97" y="141"/>
                </a:cubicBezTo>
                <a:cubicBezTo>
                  <a:pt x="101" y="118"/>
                  <a:pt x="118" y="101"/>
                  <a:pt x="141" y="97"/>
                </a:cubicBezTo>
                <a:lnTo>
                  <a:pt x="141" y="125"/>
                </a:lnTo>
                <a:close/>
                <a:moveTo>
                  <a:pt x="125" y="159"/>
                </a:moveTo>
                <a:cubicBezTo>
                  <a:pt x="127" y="167"/>
                  <a:pt x="133" y="173"/>
                  <a:pt x="141" y="175"/>
                </a:cubicBezTo>
                <a:cubicBezTo>
                  <a:pt x="141" y="203"/>
                  <a:pt x="141" y="203"/>
                  <a:pt x="141" y="203"/>
                </a:cubicBezTo>
                <a:cubicBezTo>
                  <a:pt x="118" y="199"/>
                  <a:pt x="101" y="182"/>
                  <a:pt x="97" y="159"/>
                </a:cubicBezTo>
                <a:lnTo>
                  <a:pt x="125" y="159"/>
                </a:lnTo>
                <a:close/>
                <a:moveTo>
                  <a:pt x="159" y="175"/>
                </a:moveTo>
                <a:cubicBezTo>
                  <a:pt x="167" y="173"/>
                  <a:pt x="173" y="167"/>
                  <a:pt x="175" y="159"/>
                </a:cubicBezTo>
                <a:cubicBezTo>
                  <a:pt x="203" y="159"/>
                  <a:pt x="203" y="159"/>
                  <a:pt x="203" y="159"/>
                </a:cubicBezTo>
                <a:cubicBezTo>
                  <a:pt x="199" y="182"/>
                  <a:pt x="182" y="199"/>
                  <a:pt x="159" y="203"/>
                </a:cubicBezTo>
                <a:lnTo>
                  <a:pt x="159" y="175"/>
                </a:lnTo>
                <a:close/>
                <a:moveTo>
                  <a:pt x="175" y="141"/>
                </a:moveTo>
                <a:cubicBezTo>
                  <a:pt x="173" y="133"/>
                  <a:pt x="167" y="127"/>
                  <a:pt x="159" y="125"/>
                </a:cubicBezTo>
                <a:cubicBezTo>
                  <a:pt x="159" y="97"/>
                  <a:pt x="159" y="97"/>
                  <a:pt x="159" y="97"/>
                </a:cubicBezTo>
                <a:cubicBezTo>
                  <a:pt x="182" y="101"/>
                  <a:pt x="199" y="118"/>
                  <a:pt x="203" y="141"/>
                </a:cubicBezTo>
                <a:lnTo>
                  <a:pt x="175" y="141"/>
                </a:lnTo>
                <a:close/>
                <a:moveTo>
                  <a:pt x="141" y="42"/>
                </a:moveTo>
                <a:cubicBezTo>
                  <a:pt x="141" y="70"/>
                  <a:pt x="141" y="70"/>
                  <a:pt x="141" y="70"/>
                </a:cubicBezTo>
                <a:cubicBezTo>
                  <a:pt x="103" y="74"/>
                  <a:pt x="74" y="103"/>
                  <a:pt x="70" y="141"/>
                </a:cubicBezTo>
                <a:cubicBezTo>
                  <a:pt x="42" y="141"/>
                  <a:pt x="42" y="141"/>
                  <a:pt x="42" y="141"/>
                </a:cubicBezTo>
                <a:cubicBezTo>
                  <a:pt x="47" y="89"/>
                  <a:pt x="89" y="47"/>
                  <a:pt x="141" y="42"/>
                </a:cubicBezTo>
                <a:close/>
                <a:moveTo>
                  <a:pt x="42" y="159"/>
                </a:moveTo>
                <a:cubicBezTo>
                  <a:pt x="70" y="159"/>
                  <a:pt x="70" y="159"/>
                  <a:pt x="70" y="159"/>
                </a:cubicBezTo>
                <a:cubicBezTo>
                  <a:pt x="74" y="197"/>
                  <a:pt x="103" y="226"/>
                  <a:pt x="141" y="230"/>
                </a:cubicBezTo>
                <a:cubicBezTo>
                  <a:pt x="141" y="258"/>
                  <a:pt x="141" y="258"/>
                  <a:pt x="141" y="258"/>
                </a:cubicBezTo>
                <a:cubicBezTo>
                  <a:pt x="89" y="253"/>
                  <a:pt x="47" y="211"/>
                  <a:pt x="42" y="159"/>
                </a:cubicBezTo>
                <a:close/>
                <a:moveTo>
                  <a:pt x="159" y="258"/>
                </a:moveTo>
                <a:cubicBezTo>
                  <a:pt x="159" y="230"/>
                  <a:pt x="159" y="230"/>
                  <a:pt x="159" y="230"/>
                </a:cubicBezTo>
                <a:cubicBezTo>
                  <a:pt x="197" y="226"/>
                  <a:pt x="226" y="197"/>
                  <a:pt x="230" y="159"/>
                </a:cubicBezTo>
                <a:cubicBezTo>
                  <a:pt x="258" y="159"/>
                  <a:pt x="258" y="159"/>
                  <a:pt x="258" y="159"/>
                </a:cubicBezTo>
                <a:cubicBezTo>
                  <a:pt x="253" y="211"/>
                  <a:pt x="211" y="253"/>
                  <a:pt x="159" y="258"/>
                </a:cubicBezTo>
                <a:close/>
              </a:path>
            </a:pathLst>
          </a:custGeom>
          <a:solidFill>
            <a:schemeClr val="bg1">
              <a:lumMod val="50000"/>
            </a:schemeClr>
          </a:solidFill>
          <a:ln>
            <a:noFill/>
          </a:ln>
          <a:extLst/>
        </p:spPr>
        <p:txBody>
          <a:bodyPr vert="horz" wrap="square" lIns="82305" tIns="41153" rIns="82305" bIns="41153" numCol="1" anchor="t" anchorCtr="0" compatLnSpc="1">
            <a:prstTxWarp prst="textNoShape">
              <a:avLst/>
            </a:prstTxWarp>
          </a:bodyPr>
          <a:lstStyle/>
          <a:p>
            <a:pPr defTabSz="914400"/>
            <a:endParaRPr lang="en-US" sz="1600" dirty="0"/>
          </a:p>
        </p:txBody>
      </p:sp>
      <p:grpSp>
        <p:nvGrpSpPr>
          <p:cNvPr id="144" name="Group 143"/>
          <p:cNvGrpSpPr/>
          <p:nvPr/>
        </p:nvGrpSpPr>
        <p:grpSpPr>
          <a:xfrm>
            <a:off x="2393727" y="3194191"/>
            <a:ext cx="221808" cy="449696"/>
            <a:chOff x="2209287" y="3149579"/>
            <a:chExt cx="285893" cy="579618"/>
          </a:xfrm>
        </p:grpSpPr>
        <p:sp>
          <p:nvSpPr>
            <p:cNvPr id="145" name="Round Same Side Corner Rectangle 2"/>
            <p:cNvSpPr>
              <a:spLocks noChangeAspect="1"/>
            </p:cNvSpPr>
            <p:nvPr/>
          </p:nvSpPr>
          <p:spPr>
            <a:xfrm>
              <a:off x="2209287" y="3149579"/>
              <a:ext cx="285893" cy="579618"/>
            </a:xfrm>
            <a:custGeom>
              <a:avLst/>
              <a:gdLst/>
              <a:ahLst/>
              <a:cxnLst/>
              <a:rect l="l" t="t" r="r" b="b"/>
              <a:pathLst>
                <a:path w="639317" h="1296147">
                  <a:moveTo>
                    <a:pt x="319659" y="1176926"/>
                  </a:moveTo>
                  <a:cubicBezTo>
                    <a:pt x="302977" y="1176926"/>
                    <a:pt x="289454" y="1190449"/>
                    <a:pt x="289454" y="1207131"/>
                  </a:cubicBezTo>
                  <a:cubicBezTo>
                    <a:pt x="289454" y="1223812"/>
                    <a:pt x="302977" y="1237335"/>
                    <a:pt x="319659" y="1237335"/>
                  </a:cubicBezTo>
                  <a:cubicBezTo>
                    <a:pt x="336340" y="1237335"/>
                    <a:pt x="349863" y="1223812"/>
                    <a:pt x="349863" y="1207131"/>
                  </a:cubicBezTo>
                  <a:cubicBezTo>
                    <a:pt x="349863" y="1190449"/>
                    <a:pt x="336340" y="1176926"/>
                    <a:pt x="319659" y="1176926"/>
                  </a:cubicBezTo>
                  <a:close/>
                  <a:moveTo>
                    <a:pt x="66614" y="178851"/>
                  </a:moveTo>
                  <a:lnTo>
                    <a:pt x="66614" y="1092553"/>
                  </a:lnTo>
                  <a:lnTo>
                    <a:pt x="79934" y="1092553"/>
                  </a:lnTo>
                  <a:lnTo>
                    <a:pt x="79934" y="1094228"/>
                  </a:lnTo>
                  <a:lnTo>
                    <a:pt x="518084" y="1094228"/>
                  </a:lnTo>
                  <a:lnTo>
                    <a:pt x="518084" y="1092553"/>
                  </a:lnTo>
                  <a:lnTo>
                    <a:pt x="572703" y="1092553"/>
                  </a:lnTo>
                  <a:lnTo>
                    <a:pt x="572703" y="178851"/>
                  </a:lnTo>
                  <a:close/>
                  <a:moveTo>
                    <a:pt x="240430" y="73898"/>
                  </a:moveTo>
                  <a:cubicBezTo>
                    <a:pt x="234747" y="73898"/>
                    <a:pt x="230141" y="78505"/>
                    <a:pt x="230141" y="84188"/>
                  </a:cubicBezTo>
                  <a:cubicBezTo>
                    <a:pt x="230141" y="89870"/>
                    <a:pt x="234747" y="94477"/>
                    <a:pt x="240430" y="94477"/>
                  </a:cubicBezTo>
                  <a:lnTo>
                    <a:pt x="398887" y="94478"/>
                  </a:lnTo>
                  <a:cubicBezTo>
                    <a:pt x="404570" y="94478"/>
                    <a:pt x="409177" y="89871"/>
                    <a:pt x="409177" y="84188"/>
                  </a:cubicBezTo>
                  <a:lnTo>
                    <a:pt x="409177" y="84188"/>
                  </a:lnTo>
                  <a:cubicBezTo>
                    <a:pt x="409177" y="78505"/>
                    <a:pt x="404571" y="73898"/>
                    <a:pt x="398888" y="73898"/>
                  </a:cubicBezTo>
                  <a:close/>
                  <a:moveTo>
                    <a:pt x="313485" y="119"/>
                  </a:moveTo>
                  <a:cubicBezTo>
                    <a:pt x="467512" y="-2326"/>
                    <a:pt x="623597" y="32935"/>
                    <a:pt x="639317" y="113230"/>
                  </a:cubicBezTo>
                  <a:lnTo>
                    <a:pt x="639317" y="540401"/>
                  </a:lnTo>
                  <a:lnTo>
                    <a:pt x="639317" y="755746"/>
                  </a:lnTo>
                  <a:lnTo>
                    <a:pt x="639317" y="1182917"/>
                  </a:lnTo>
                  <a:cubicBezTo>
                    <a:pt x="607877" y="1343508"/>
                    <a:pt x="14977" y="1323958"/>
                    <a:pt x="0" y="1182917"/>
                  </a:cubicBezTo>
                  <a:lnTo>
                    <a:pt x="0" y="755746"/>
                  </a:lnTo>
                  <a:lnTo>
                    <a:pt x="0" y="540401"/>
                  </a:lnTo>
                  <a:lnTo>
                    <a:pt x="0" y="113230"/>
                  </a:lnTo>
                  <a:cubicBezTo>
                    <a:pt x="7489" y="42710"/>
                    <a:pt x="159458" y="2562"/>
                    <a:pt x="313485" y="119"/>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dirty="0">
                <a:solidFill>
                  <a:schemeClr val="tx1"/>
                </a:solidFill>
              </a:endParaRPr>
            </a:p>
          </p:txBody>
        </p:sp>
        <p:sp>
          <p:nvSpPr>
            <p:cNvPr id="146" name="Freeform 61"/>
            <p:cNvSpPr>
              <a:spLocks noChangeAspect="1" noEditPoints="1"/>
            </p:cNvSpPr>
            <p:nvPr/>
          </p:nvSpPr>
          <p:spPr bwMode="black">
            <a:xfrm>
              <a:off x="2229091" y="3290153"/>
              <a:ext cx="238215" cy="298469"/>
            </a:xfrm>
            <a:custGeom>
              <a:avLst/>
              <a:gdLst>
                <a:gd name="T0" fmla="*/ 91 w 162"/>
                <a:gd name="T1" fmla="*/ 100 h 203"/>
                <a:gd name="T2" fmla="*/ 128 w 162"/>
                <a:gd name="T3" fmla="*/ 203 h 203"/>
                <a:gd name="T4" fmla="*/ 108 w 162"/>
                <a:gd name="T5" fmla="*/ 203 h 203"/>
                <a:gd name="T6" fmla="*/ 81 w 162"/>
                <a:gd name="T7" fmla="*/ 180 h 203"/>
                <a:gd name="T8" fmla="*/ 54 w 162"/>
                <a:gd name="T9" fmla="*/ 203 h 203"/>
                <a:gd name="T10" fmla="*/ 34 w 162"/>
                <a:gd name="T11" fmla="*/ 203 h 203"/>
                <a:gd name="T12" fmla="*/ 71 w 162"/>
                <a:gd name="T13" fmla="*/ 100 h 203"/>
                <a:gd name="T14" fmla="*/ 64 w 162"/>
                <a:gd name="T15" fmla="*/ 86 h 203"/>
                <a:gd name="T16" fmla="*/ 81 w 162"/>
                <a:gd name="T17" fmla="*/ 69 h 203"/>
                <a:gd name="T18" fmla="*/ 98 w 162"/>
                <a:gd name="T19" fmla="*/ 86 h 203"/>
                <a:gd name="T20" fmla="*/ 91 w 162"/>
                <a:gd name="T21" fmla="*/ 100 h 203"/>
                <a:gd name="T22" fmla="*/ 81 w 162"/>
                <a:gd name="T23" fmla="*/ 34 h 203"/>
                <a:gd name="T24" fmla="*/ 130 w 162"/>
                <a:gd name="T25" fmla="*/ 83 h 203"/>
                <a:gd name="T26" fmla="*/ 107 w 162"/>
                <a:gd name="T27" fmla="*/ 123 h 203"/>
                <a:gd name="T28" fmla="*/ 106 w 162"/>
                <a:gd name="T29" fmla="*/ 117 h 203"/>
                <a:gd name="T30" fmla="*/ 121 w 162"/>
                <a:gd name="T31" fmla="*/ 86 h 203"/>
                <a:gd name="T32" fmla="*/ 81 w 162"/>
                <a:gd name="T33" fmla="*/ 47 h 203"/>
                <a:gd name="T34" fmla="*/ 42 w 162"/>
                <a:gd name="T35" fmla="*/ 86 h 203"/>
                <a:gd name="T36" fmla="*/ 56 w 162"/>
                <a:gd name="T37" fmla="*/ 117 h 203"/>
                <a:gd name="T38" fmla="*/ 55 w 162"/>
                <a:gd name="T39" fmla="*/ 123 h 203"/>
                <a:gd name="T40" fmla="*/ 33 w 162"/>
                <a:gd name="T41" fmla="*/ 83 h 203"/>
                <a:gd name="T42" fmla="*/ 81 w 162"/>
                <a:gd name="T43" fmla="*/ 34 h 203"/>
                <a:gd name="T44" fmla="*/ 81 w 162"/>
                <a:gd name="T45" fmla="*/ 0 h 203"/>
                <a:gd name="T46" fmla="*/ 162 w 162"/>
                <a:gd name="T47" fmla="*/ 81 h 203"/>
                <a:gd name="T48" fmla="*/ 118 w 162"/>
                <a:gd name="T49" fmla="*/ 154 h 203"/>
                <a:gd name="T50" fmla="*/ 115 w 162"/>
                <a:gd name="T51" fmla="*/ 148 h 203"/>
                <a:gd name="T52" fmla="*/ 153 w 162"/>
                <a:gd name="T53" fmla="*/ 85 h 203"/>
                <a:gd name="T54" fmla="*/ 81 w 162"/>
                <a:gd name="T55" fmla="*/ 13 h 203"/>
                <a:gd name="T56" fmla="*/ 10 w 162"/>
                <a:gd name="T57" fmla="*/ 85 h 203"/>
                <a:gd name="T58" fmla="*/ 47 w 162"/>
                <a:gd name="T59" fmla="*/ 148 h 203"/>
                <a:gd name="T60" fmla="*/ 45 w 162"/>
                <a:gd name="T61" fmla="*/ 154 h 203"/>
                <a:gd name="T62" fmla="*/ 0 w 162"/>
                <a:gd name="T63" fmla="*/ 81 h 203"/>
                <a:gd name="T64" fmla="*/ 81 w 162"/>
                <a:gd name="T65" fmla="*/ 0 h 203"/>
                <a:gd name="T66" fmla="*/ 81 w 162"/>
                <a:gd name="T67" fmla="*/ 124 h 203"/>
                <a:gd name="T68" fmla="*/ 89 w 162"/>
                <a:gd name="T69" fmla="*/ 132 h 203"/>
                <a:gd name="T70" fmla="*/ 81 w 162"/>
                <a:gd name="T71" fmla="*/ 139 h 203"/>
                <a:gd name="T72" fmla="*/ 73 w 162"/>
                <a:gd name="T73" fmla="*/ 132 h 203"/>
                <a:gd name="T74" fmla="*/ 81 w 162"/>
                <a:gd name="T75" fmla="*/ 124 h 203"/>
                <a:gd name="T76" fmla="*/ 81 w 162"/>
                <a:gd name="T77" fmla="*/ 171 h 203"/>
                <a:gd name="T78" fmla="*/ 95 w 162"/>
                <a:gd name="T79" fmla="*/ 160 h 203"/>
                <a:gd name="T80" fmla="*/ 81 w 162"/>
                <a:gd name="T81" fmla="*/ 149 h 203"/>
                <a:gd name="T82" fmla="*/ 68 w 162"/>
                <a:gd name="T83" fmla="*/ 160 h 203"/>
                <a:gd name="T84" fmla="*/ 81 w 162"/>
                <a:gd name="T85" fmla="*/ 17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2" h="203">
                  <a:moveTo>
                    <a:pt x="91" y="100"/>
                  </a:moveTo>
                  <a:cubicBezTo>
                    <a:pt x="98" y="144"/>
                    <a:pt x="114" y="181"/>
                    <a:pt x="128" y="203"/>
                  </a:cubicBezTo>
                  <a:cubicBezTo>
                    <a:pt x="108" y="203"/>
                    <a:pt x="108" y="203"/>
                    <a:pt x="108" y="203"/>
                  </a:cubicBezTo>
                  <a:cubicBezTo>
                    <a:pt x="108" y="190"/>
                    <a:pt x="100" y="180"/>
                    <a:pt x="81" y="180"/>
                  </a:cubicBezTo>
                  <a:cubicBezTo>
                    <a:pt x="63" y="180"/>
                    <a:pt x="55" y="190"/>
                    <a:pt x="54" y="203"/>
                  </a:cubicBezTo>
                  <a:cubicBezTo>
                    <a:pt x="34" y="203"/>
                    <a:pt x="34" y="203"/>
                    <a:pt x="34" y="203"/>
                  </a:cubicBezTo>
                  <a:cubicBezTo>
                    <a:pt x="49" y="181"/>
                    <a:pt x="64" y="144"/>
                    <a:pt x="71" y="100"/>
                  </a:cubicBezTo>
                  <a:cubicBezTo>
                    <a:pt x="67" y="97"/>
                    <a:pt x="64" y="92"/>
                    <a:pt x="64" y="86"/>
                  </a:cubicBezTo>
                  <a:cubicBezTo>
                    <a:pt x="64" y="77"/>
                    <a:pt x="72" y="69"/>
                    <a:pt x="81" y="69"/>
                  </a:cubicBezTo>
                  <a:cubicBezTo>
                    <a:pt x="91" y="69"/>
                    <a:pt x="98" y="77"/>
                    <a:pt x="98" y="86"/>
                  </a:cubicBezTo>
                  <a:cubicBezTo>
                    <a:pt x="98" y="92"/>
                    <a:pt x="96" y="97"/>
                    <a:pt x="91" y="100"/>
                  </a:cubicBezTo>
                  <a:close/>
                  <a:moveTo>
                    <a:pt x="81" y="34"/>
                  </a:moveTo>
                  <a:cubicBezTo>
                    <a:pt x="108" y="34"/>
                    <a:pt x="130" y="56"/>
                    <a:pt x="130" y="83"/>
                  </a:cubicBezTo>
                  <a:cubicBezTo>
                    <a:pt x="130" y="100"/>
                    <a:pt x="121" y="115"/>
                    <a:pt x="107" y="123"/>
                  </a:cubicBezTo>
                  <a:cubicBezTo>
                    <a:pt x="107" y="121"/>
                    <a:pt x="106" y="119"/>
                    <a:pt x="106" y="117"/>
                  </a:cubicBezTo>
                  <a:cubicBezTo>
                    <a:pt x="115" y="110"/>
                    <a:pt x="121" y="99"/>
                    <a:pt x="121" y="86"/>
                  </a:cubicBezTo>
                  <a:cubicBezTo>
                    <a:pt x="121" y="64"/>
                    <a:pt x="103" y="47"/>
                    <a:pt x="81" y="47"/>
                  </a:cubicBezTo>
                  <a:cubicBezTo>
                    <a:pt x="59" y="47"/>
                    <a:pt x="42" y="64"/>
                    <a:pt x="42" y="86"/>
                  </a:cubicBezTo>
                  <a:cubicBezTo>
                    <a:pt x="42" y="99"/>
                    <a:pt x="47" y="110"/>
                    <a:pt x="56" y="117"/>
                  </a:cubicBezTo>
                  <a:cubicBezTo>
                    <a:pt x="56" y="119"/>
                    <a:pt x="55" y="121"/>
                    <a:pt x="55" y="123"/>
                  </a:cubicBezTo>
                  <a:cubicBezTo>
                    <a:pt x="42" y="115"/>
                    <a:pt x="33" y="100"/>
                    <a:pt x="33" y="83"/>
                  </a:cubicBezTo>
                  <a:cubicBezTo>
                    <a:pt x="33" y="56"/>
                    <a:pt x="54" y="34"/>
                    <a:pt x="81" y="34"/>
                  </a:cubicBezTo>
                  <a:close/>
                  <a:moveTo>
                    <a:pt x="81" y="0"/>
                  </a:moveTo>
                  <a:cubicBezTo>
                    <a:pt x="126" y="0"/>
                    <a:pt x="162" y="37"/>
                    <a:pt x="162" y="81"/>
                  </a:cubicBezTo>
                  <a:cubicBezTo>
                    <a:pt x="162" y="113"/>
                    <a:pt x="144" y="141"/>
                    <a:pt x="118" y="154"/>
                  </a:cubicBezTo>
                  <a:cubicBezTo>
                    <a:pt x="117" y="152"/>
                    <a:pt x="116" y="150"/>
                    <a:pt x="115" y="148"/>
                  </a:cubicBezTo>
                  <a:cubicBezTo>
                    <a:pt x="138" y="136"/>
                    <a:pt x="153" y="112"/>
                    <a:pt x="153" y="85"/>
                  </a:cubicBezTo>
                  <a:cubicBezTo>
                    <a:pt x="153" y="45"/>
                    <a:pt x="121" y="13"/>
                    <a:pt x="81" y="13"/>
                  </a:cubicBezTo>
                  <a:cubicBezTo>
                    <a:pt x="42" y="13"/>
                    <a:pt x="10" y="45"/>
                    <a:pt x="10" y="85"/>
                  </a:cubicBezTo>
                  <a:cubicBezTo>
                    <a:pt x="10" y="112"/>
                    <a:pt x="25" y="136"/>
                    <a:pt x="47" y="148"/>
                  </a:cubicBezTo>
                  <a:cubicBezTo>
                    <a:pt x="46" y="150"/>
                    <a:pt x="46" y="152"/>
                    <a:pt x="45" y="154"/>
                  </a:cubicBezTo>
                  <a:cubicBezTo>
                    <a:pt x="18" y="141"/>
                    <a:pt x="0" y="113"/>
                    <a:pt x="0" y="81"/>
                  </a:cubicBezTo>
                  <a:cubicBezTo>
                    <a:pt x="0" y="37"/>
                    <a:pt x="36" y="0"/>
                    <a:pt x="81" y="0"/>
                  </a:cubicBezTo>
                  <a:close/>
                  <a:moveTo>
                    <a:pt x="81" y="124"/>
                  </a:moveTo>
                  <a:cubicBezTo>
                    <a:pt x="87" y="124"/>
                    <a:pt x="89" y="128"/>
                    <a:pt x="89" y="132"/>
                  </a:cubicBezTo>
                  <a:cubicBezTo>
                    <a:pt x="89" y="135"/>
                    <a:pt x="87" y="139"/>
                    <a:pt x="81" y="139"/>
                  </a:cubicBezTo>
                  <a:cubicBezTo>
                    <a:pt x="75" y="139"/>
                    <a:pt x="73" y="135"/>
                    <a:pt x="73" y="132"/>
                  </a:cubicBezTo>
                  <a:cubicBezTo>
                    <a:pt x="73" y="128"/>
                    <a:pt x="75" y="124"/>
                    <a:pt x="81" y="124"/>
                  </a:cubicBezTo>
                  <a:close/>
                  <a:moveTo>
                    <a:pt x="81" y="171"/>
                  </a:moveTo>
                  <a:cubicBezTo>
                    <a:pt x="91" y="171"/>
                    <a:pt x="95" y="166"/>
                    <a:pt x="95" y="160"/>
                  </a:cubicBezTo>
                  <a:cubicBezTo>
                    <a:pt x="95" y="154"/>
                    <a:pt x="91" y="149"/>
                    <a:pt x="81" y="149"/>
                  </a:cubicBezTo>
                  <a:cubicBezTo>
                    <a:pt x="71" y="149"/>
                    <a:pt x="68" y="154"/>
                    <a:pt x="68" y="160"/>
                  </a:cubicBezTo>
                  <a:cubicBezTo>
                    <a:pt x="68" y="166"/>
                    <a:pt x="71" y="171"/>
                    <a:pt x="81" y="171"/>
                  </a:cubicBezTo>
                  <a:close/>
                </a:path>
              </a:pathLst>
            </a:custGeom>
            <a:solidFill>
              <a:schemeClr val="bg1">
                <a:lumMod val="50000"/>
              </a:schemeClr>
            </a:solidFill>
            <a:ln>
              <a:noFill/>
            </a:ln>
          </p:spPr>
          <p:txBody>
            <a:bodyPr vert="horz" wrap="square" lIns="82305" tIns="41153" rIns="82305" bIns="41153" numCol="1" anchor="t" anchorCtr="0" compatLnSpc="1">
              <a:prstTxWarp prst="textNoShape">
                <a:avLst/>
              </a:prstTxWarp>
            </a:bodyPr>
            <a:lstStyle/>
            <a:p>
              <a:pPr defTabSz="914400"/>
              <a:endParaRPr lang="en-US" sz="1600" dirty="0"/>
            </a:p>
          </p:txBody>
        </p:sp>
      </p:grpSp>
      <p:sp>
        <p:nvSpPr>
          <p:cNvPr id="150" name="TextBox 149"/>
          <p:cNvSpPr txBox="1"/>
          <p:nvPr/>
        </p:nvSpPr>
        <p:spPr>
          <a:xfrm>
            <a:off x="508771" y="3791598"/>
            <a:ext cx="1580561" cy="307777"/>
          </a:xfrm>
          <a:prstGeom prst="rect">
            <a:avLst/>
          </a:prstGeom>
        </p:spPr>
        <p:txBody>
          <a:bodyPr vert="horz" wrap="none" lIns="0" tIns="0" rIns="0" bIns="0" rtlCol="0" anchor="t">
            <a:spAutoFit/>
          </a:bodyPr>
          <a:lstStyle/>
          <a:p>
            <a:pPr algn="ctr" defTabSz="1088105"/>
            <a:r>
              <a:rPr lang="en-US" sz="1000" dirty="0">
                <a:latin typeface="Segoe UI Semibold" panose="020B0702040204020203" pitchFamily="34" charset="0"/>
                <a:ea typeface="Segoe UI" pitchFamily="34" charset="0"/>
                <a:cs typeface="Segoe UI Semibold" panose="020B0702040204020203" pitchFamily="34" charset="0"/>
              </a:rPr>
              <a:t>Sales, inventory, marketing</a:t>
            </a:r>
            <a:br>
              <a:rPr lang="en-US" sz="1000" dirty="0">
                <a:latin typeface="Segoe UI Semibold" panose="020B0702040204020203" pitchFamily="34" charset="0"/>
                <a:ea typeface="Segoe UI" pitchFamily="34" charset="0"/>
                <a:cs typeface="Segoe UI Semibold" panose="020B0702040204020203" pitchFamily="34" charset="0"/>
              </a:rPr>
            </a:br>
            <a:r>
              <a:rPr lang="en-US" sz="1000" dirty="0">
                <a:latin typeface="Segoe UI Semibold" panose="020B0702040204020203" pitchFamily="34" charset="0"/>
                <a:ea typeface="Segoe UI" pitchFamily="34" charset="0"/>
                <a:cs typeface="Segoe UI Semibold" panose="020B0702040204020203" pitchFamily="34" charset="0"/>
              </a:rPr>
              <a:t>Databases</a:t>
            </a:r>
          </a:p>
        </p:txBody>
      </p:sp>
      <p:sp>
        <p:nvSpPr>
          <p:cNvPr id="151" name="TextBox 150"/>
          <p:cNvSpPr txBox="1"/>
          <p:nvPr/>
        </p:nvSpPr>
        <p:spPr>
          <a:xfrm>
            <a:off x="940271" y="2844886"/>
            <a:ext cx="738985" cy="153888"/>
          </a:xfrm>
          <a:prstGeom prst="rect">
            <a:avLst/>
          </a:prstGeom>
        </p:spPr>
        <p:txBody>
          <a:bodyPr vert="horz" wrap="none" lIns="0" tIns="0" rIns="0" bIns="0" rtlCol="0" anchor="t">
            <a:spAutoFit/>
          </a:bodyPr>
          <a:lstStyle/>
          <a:p>
            <a:pPr algn="ctr" defTabSz="1088105"/>
            <a:r>
              <a:rPr lang="en-US" sz="1000" dirty="0">
                <a:latin typeface="Segoe UI Semibold" panose="020B0702040204020203" pitchFamily="34" charset="0"/>
                <a:ea typeface="Segoe UI" pitchFamily="34" charset="0"/>
                <a:cs typeface="Segoe UI Semibold" panose="020B0702040204020203" pitchFamily="34" charset="0"/>
              </a:rPr>
              <a:t>Social media</a:t>
            </a:r>
          </a:p>
        </p:txBody>
      </p:sp>
      <p:sp>
        <p:nvSpPr>
          <p:cNvPr id="152" name="TextBox 151"/>
          <p:cNvSpPr txBox="1"/>
          <p:nvPr/>
        </p:nvSpPr>
        <p:spPr>
          <a:xfrm>
            <a:off x="2226518" y="2830838"/>
            <a:ext cx="278924" cy="153888"/>
          </a:xfrm>
          <a:prstGeom prst="rect">
            <a:avLst/>
          </a:prstGeom>
        </p:spPr>
        <p:txBody>
          <a:bodyPr vert="horz" wrap="none" lIns="0" tIns="0" rIns="0" bIns="0" rtlCol="0" anchor="t">
            <a:spAutoFit/>
          </a:bodyPr>
          <a:lstStyle/>
          <a:p>
            <a:pPr algn="ctr" defTabSz="1088105"/>
            <a:r>
              <a:rPr lang="en-US" sz="1000" dirty="0">
                <a:latin typeface="Segoe UI Semibold" panose="020B0702040204020203" pitchFamily="34" charset="0"/>
                <a:ea typeface="Segoe UI" pitchFamily="34" charset="0"/>
                <a:cs typeface="Segoe UI Semibold" panose="020B0702040204020203" pitchFamily="34" charset="0"/>
              </a:rPr>
              <a:t>CRM</a:t>
            </a:r>
          </a:p>
        </p:txBody>
      </p:sp>
      <p:sp>
        <p:nvSpPr>
          <p:cNvPr id="153" name="TextBox 152"/>
          <p:cNvSpPr txBox="1"/>
          <p:nvPr/>
        </p:nvSpPr>
        <p:spPr>
          <a:xfrm>
            <a:off x="2313594" y="3728881"/>
            <a:ext cx="444032" cy="153888"/>
          </a:xfrm>
          <a:prstGeom prst="rect">
            <a:avLst/>
          </a:prstGeom>
        </p:spPr>
        <p:txBody>
          <a:bodyPr vert="horz" wrap="none" lIns="0" tIns="0" rIns="0" bIns="0" rtlCol="0" anchor="t">
            <a:spAutoFit/>
          </a:bodyPr>
          <a:lstStyle/>
          <a:p>
            <a:pPr algn="ctr" defTabSz="1088105"/>
            <a:r>
              <a:rPr lang="en-US" sz="1000" dirty="0">
                <a:latin typeface="Segoe UI Semibold" panose="020B0702040204020203" pitchFamily="34" charset="0"/>
                <a:ea typeface="Segoe UI" pitchFamily="34" charset="0"/>
                <a:cs typeface="Segoe UI Semibold" panose="020B0702040204020203" pitchFamily="34" charset="0"/>
              </a:rPr>
              <a:t>Devices</a:t>
            </a:r>
          </a:p>
        </p:txBody>
      </p:sp>
      <p:grpSp>
        <p:nvGrpSpPr>
          <p:cNvPr id="255" name="Group 254"/>
          <p:cNvGrpSpPr/>
          <p:nvPr/>
        </p:nvGrpSpPr>
        <p:grpSpPr>
          <a:xfrm>
            <a:off x="10187813" y="2144502"/>
            <a:ext cx="533528" cy="534764"/>
            <a:chOff x="10235665" y="2193363"/>
            <a:chExt cx="580477" cy="581821"/>
          </a:xfrm>
        </p:grpSpPr>
        <p:sp>
          <p:nvSpPr>
            <p:cNvPr id="154" name="Freeform 153"/>
            <p:cNvSpPr>
              <a:spLocks noChangeAspect="1"/>
            </p:cNvSpPr>
            <p:nvPr/>
          </p:nvSpPr>
          <p:spPr bwMode="auto">
            <a:xfrm>
              <a:off x="10235665" y="2193363"/>
              <a:ext cx="580477" cy="581821"/>
            </a:xfrm>
            <a:custGeom>
              <a:avLst/>
              <a:gdLst/>
              <a:ahLst/>
              <a:cxnLst/>
              <a:rect l="l" t="t" r="r" b="b"/>
              <a:pathLst>
                <a:path w="4302474" h="4244921">
                  <a:moveTo>
                    <a:pt x="662474" y="3031306"/>
                  </a:moveTo>
                  <a:lnTo>
                    <a:pt x="1339698" y="3086511"/>
                  </a:lnTo>
                  <a:lnTo>
                    <a:pt x="1189316" y="3212867"/>
                  </a:lnTo>
                  <a:cubicBezTo>
                    <a:pt x="1361738" y="3339494"/>
                    <a:pt x="1899676" y="3610086"/>
                    <a:pt x="2421111" y="3521876"/>
                  </a:cubicBezTo>
                  <a:lnTo>
                    <a:pt x="2206882" y="3794685"/>
                  </a:lnTo>
                  <a:lnTo>
                    <a:pt x="2512604" y="4104137"/>
                  </a:lnTo>
                  <a:cubicBezTo>
                    <a:pt x="1778146" y="4225364"/>
                    <a:pt x="1188060" y="3987486"/>
                    <a:pt x="709988" y="3532493"/>
                  </a:cubicBezTo>
                  <a:lnTo>
                    <a:pt x="551662" y="3684753"/>
                  </a:lnTo>
                  <a:close/>
                  <a:moveTo>
                    <a:pt x="3525512" y="2472932"/>
                  </a:moveTo>
                  <a:lnTo>
                    <a:pt x="3736350" y="2855417"/>
                  </a:lnTo>
                  <a:lnTo>
                    <a:pt x="4067130" y="2735505"/>
                  </a:lnTo>
                  <a:cubicBezTo>
                    <a:pt x="3910343" y="3276383"/>
                    <a:pt x="3434822" y="3814468"/>
                    <a:pt x="2761327" y="4046261"/>
                  </a:cubicBezTo>
                  <a:lnTo>
                    <a:pt x="2775115" y="4244921"/>
                  </a:lnTo>
                  <a:lnTo>
                    <a:pt x="2336714" y="3800527"/>
                  </a:lnTo>
                  <a:lnTo>
                    <a:pt x="2699735" y="3292318"/>
                  </a:lnTo>
                  <a:lnTo>
                    <a:pt x="2716265" y="3448052"/>
                  </a:lnTo>
                  <a:cubicBezTo>
                    <a:pt x="2913217" y="3364543"/>
                    <a:pt x="3450254" y="3000009"/>
                    <a:pt x="3525512" y="2472932"/>
                  </a:cubicBezTo>
                  <a:close/>
                  <a:moveTo>
                    <a:pt x="647776" y="1318635"/>
                  </a:moveTo>
                  <a:lnTo>
                    <a:pt x="912024" y="1889568"/>
                  </a:lnTo>
                  <a:lnTo>
                    <a:pt x="724354" y="1824308"/>
                  </a:lnTo>
                  <a:cubicBezTo>
                    <a:pt x="680520" y="2033694"/>
                    <a:pt x="670035" y="2536527"/>
                    <a:pt x="988263" y="2969836"/>
                  </a:cubicBezTo>
                  <a:lnTo>
                    <a:pt x="578667" y="2940790"/>
                  </a:lnTo>
                  <a:lnTo>
                    <a:pt x="519757" y="3323386"/>
                  </a:lnTo>
                  <a:cubicBezTo>
                    <a:pt x="142529" y="2837302"/>
                    <a:pt x="74113" y="2104852"/>
                    <a:pt x="196686" y="1642899"/>
                  </a:cubicBezTo>
                  <a:lnTo>
                    <a:pt x="0" y="1594841"/>
                  </a:lnTo>
                  <a:close/>
                  <a:moveTo>
                    <a:pt x="3620260" y="730478"/>
                  </a:moveTo>
                  <a:cubicBezTo>
                    <a:pt x="4033733" y="1098029"/>
                    <a:pt x="4275138" y="1844086"/>
                    <a:pt x="4120540" y="2491437"/>
                  </a:cubicBezTo>
                  <a:lnTo>
                    <a:pt x="4302474" y="2563960"/>
                  </a:lnTo>
                  <a:lnTo>
                    <a:pt x="3798677" y="2749109"/>
                  </a:lnTo>
                  <a:lnTo>
                    <a:pt x="3472387" y="2208919"/>
                  </a:lnTo>
                  <a:lnTo>
                    <a:pt x="3585155" y="2254985"/>
                  </a:lnTo>
                  <a:cubicBezTo>
                    <a:pt x="3611001" y="1852129"/>
                    <a:pt x="3432844" y="1328610"/>
                    <a:pt x="3114005" y="1104075"/>
                  </a:cubicBezTo>
                  <a:lnTo>
                    <a:pt x="3585698" y="1050994"/>
                  </a:lnTo>
                  <a:close/>
                  <a:moveTo>
                    <a:pt x="1892533" y="133349"/>
                  </a:moveTo>
                  <a:cubicBezTo>
                    <a:pt x="2384988" y="60439"/>
                    <a:pt x="2955319" y="178992"/>
                    <a:pt x="3438386" y="560947"/>
                  </a:cubicBezTo>
                  <a:lnTo>
                    <a:pt x="3550393" y="467694"/>
                  </a:lnTo>
                  <a:lnTo>
                    <a:pt x="3502246" y="970368"/>
                  </a:lnTo>
                  <a:cubicBezTo>
                    <a:pt x="3271583" y="1000546"/>
                    <a:pt x="3040920" y="1015483"/>
                    <a:pt x="2810256" y="1038041"/>
                  </a:cubicBezTo>
                  <a:lnTo>
                    <a:pt x="2933313" y="934789"/>
                  </a:lnTo>
                  <a:cubicBezTo>
                    <a:pt x="2656424" y="758977"/>
                    <a:pt x="2363689" y="669355"/>
                    <a:pt x="1969181" y="705095"/>
                  </a:cubicBezTo>
                  <a:lnTo>
                    <a:pt x="2154737" y="335131"/>
                  </a:lnTo>
                  <a:close/>
                  <a:moveTo>
                    <a:pt x="1460851" y="0"/>
                  </a:moveTo>
                  <a:cubicBezTo>
                    <a:pt x="1609533" y="83809"/>
                    <a:pt x="1867446" y="214583"/>
                    <a:pt x="2054478" y="354019"/>
                  </a:cubicBezTo>
                  <a:lnTo>
                    <a:pt x="1741070" y="954311"/>
                  </a:lnTo>
                  <a:lnTo>
                    <a:pt x="1656922" y="757789"/>
                  </a:lnTo>
                  <a:cubicBezTo>
                    <a:pt x="1340856" y="892862"/>
                    <a:pt x="931601" y="1317770"/>
                    <a:pt x="856671" y="1587702"/>
                  </a:cubicBezTo>
                  <a:lnTo>
                    <a:pt x="694928" y="1212887"/>
                  </a:lnTo>
                  <a:lnTo>
                    <a:pt x="269556" y="1396576"/>
                  </a:lnTo>
                  <a:cubicBezTo>
                    <a:pt x="520909" y="684763"/>
                    <a:pt x="1206237" y="294700"/>
                    <a:pt x="1528653" y="200296"/>
                  </a:cubicBezTo>
                  <a:close/>
                </a:path>
              </a:pathLst>
            </a:custGeom>
            <a:solidFill>
              <a:schemeClr val="bg1">
                <a:lumMod val="50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1800" dirty="0">
                <a:latin typeface="Arial" charset="0"/>
              </a:endParaRPr>
            </a:p>
          </p:txBody>
        </p:sp>
        <p:sp>
          <p:nvSpPr>
            <p:cNvPr id="155" name="Trapezoid 3"/>
            <p:cNvSpPr/>
            <p:nvPr/>
          </p:nvSpPr>
          <p:spPr>
            <a:xfrm>
              <a:off x="10486659" y="2319606"/>
              <a:ext cx="169700" cy="314706"/>
            </a:xfrm>
            <a:custGeom>
              <a:avLst/>
              <a:gdLst>
                <a:gd name="connsiteX0" fmla="*/ 2052754 w 6499195"/>
                <a:gd name="connsiteY0" fmla="*/ 2902312 h 3498714"/>
                <a:gd name="connsiteX1" fmla="*/ 4707054 w 6499195"/>
                <a:gd name="connsiteY1" fmla="*/ 2902312 h 3498714"/>
                <a:gd name="connsiteX2" fmla="*/ 4818179 w 6499195"/>
                <a:gd name="connsiteY2" fmla="*/ 3013437 h 3498714"/>
                <a:gd name="connsiteX3" fmla="*/ 4707054 w 6499195"/>
                <a:gd name="connsiteY3" fmla="*/ 3124562 h 3498714"/>
                <a:gd name="connsiteX4" fmla="*/ 4545125 w 6499195"/>
                <a:gd name="connsiteY4" fmla="*/ 3124562 h 3498714"/>
                <a:gd name="connsiteX5" fmla="*/ 4545125 w 6499195"/>
                <a:gd name="connsiteY5" fmla="*/ 3361625 h 3498714"/>
                <a:gd name="connsiteX6" fmla="*/ 4436113 w 6499195"/>
                <a:gd name="connsiteY6" fmla="*/ 3470637 h 3498714"/>
                <a:gd name="connsiteX7" fmla="*/ 4235039 w 6499195"/>
                <a:gd name="connsiteY7" fmla="*/ 3470637 h 3498714"/>
                <a:gd name="connsiteX8" fmla="*/ 4126027 w 6499195"/>
                <a:gd name="connsiteY8" fmla="*/ 3361625 h 3498714"/>
                <a:gd name="connsiteX9" fmla="*/ 4126027 w 6499195"/>
                <a:gd name="connsiteY9" fmla="*/ 3124562 h 3498714"/>
                <a:gd name="connsiteX10" fmla="*/ 2589325 w 6499195"/>
                <a:gd name="connsiteY10" fmla="*/ 3124562 h 3498714"/>
                <a:gd name="connsiteX11" fmla="*/ 2589325 w 6499195"/>
                <a:gd name="connsiteY11" fmla="*/ 3361625 h 3498714"/>
                <a:gd name="connsiteX12" fmla="*/ 2480313 w 6499195"/>
                <a:gd name="connsiteY12" fmla="*/ 3470637 h 3498714"/>
                <a:gd name="connsiteX13" fmla="*/ 2279239 w 6499195"/>
                <a:gd name="connsiteY13" fmla="*/ 3470637 h 3498714"/>
                <a:gd name="connsiteX14" fmla="*/ 2170227 w 6499195"/>
                <a:gd name="connsiteY14" fmla="*/ 3361625 h 3498714"/>
                <a:gd name="connsiteX15" fmla="*/ 2170227 w 6499195"/>
                <a:gd name="connsiteY15" fmla="*/ 3124562 h 3498714"/>
                <a:gd name="connsiteX16" fmla="*/ 2052754 w 6499195"/>
                <a:gd name="connsiteY16" fmla="*/ 3124562 h 3498714"/>
                <a:gd name="connsiteX17" fmla="*/ 1941629 w 6499195"/>
                <a:gd name="connsiteY17" fmla="*/ 3013437 h 3498714"/>
                <a:gd name="connsiteX18" fmla="*/ 2052754 w 6499195"/>
                <a:gd name="connsiteY18" fmla="*/ 2902312 h 3498714"/>
                <a:gd name="connsiteX19" fmla="*/ 4492583 w 6499195"/>
                <a:gd name="connsiteY19" fmla="*/ 2089512 h 3498714"/>
                <a:gd name="connsiteX20" fmla="*/ 4311608 w 6499195"/>
                <a:gd name="connsiteY20" fmla="*/ 2270487 h 3498714"/>
                <a:gd name="connsiteX21" fmla="*/ 4492583 w 6499195"/>
                <a:gd name="connsiteY21" fmla="*/ 2451462 h 3498714"/>
                <a:gd name="connsiteX22" fmla="*/ 6498753 w 6499195"/>
                <a:gd name="connsiteY22" fmla="*/ 2404799 h 3498714"/>
                <a:gd name="connsiteX23" fmla="*/ 4673558 w 6499195"/>
                <a:gd name="connsiteY23" fmla="*/ 2270487 h 3498714"/>
                <a:gd name="connsiteX24" fmla="*/ 4492583 w 6499195"/>
                <a:gd name="connsiteY24" fmla="*/ 2089512 h 3498714"/>
                <a:gd name="connsiteX25" fmla="*/ 2979061 w 6499195"/>
                <a:gd name="connsiteY25" fmla="*/ 2089512 h 3498714"/>
                <a:gd name="connsiteX26" fmla="*/ 2671086 w 6499195"/>
                <a:gd name="connsiteY26" fmla="*/ 2397487 h 3498714"/>
                <a:gd name="connsiteX27" fmla="*/ 2671086 w 6499195"/>
                <a:gd name="connsiteY27" fmla="*/ 2584811 h 3498714"/>
                <a:gd name="connsiteX28" fmla="*/ 4083961 w 6499195"/>
                <a:gd name="connsiteY28" fmla="*/ 2584811 h 3498714"/>
                <a:gd name="connsiteX29" fmla="*/ 4083961 w 6499195"/>
                <a:gd name="connsiteY29" fmla="*/ 2397487 h 3498714"/>
                <a:gd name="connsiteX30" fmla="*/ 3775986 w 6499195"/>
                <a:gd name="connsiteY30" fmla="*/ 2089512 h 3498714"/>
                <a:gd name="connsiteX31" fmla="*/ 2979061 w 6499195"/>
                <a:gd name="connsiteY31" fmla="*/ 2089512 h 3498714"/>
                <a:gd name="connsiteX32" fmla="*/ 2251033 w 6499195"/>
                <a:gd name="connsiteY32" fmla="*/ 2089512 h 3498714"/>
                <a:gd name="connsiteX33" fmla="*/ 2070058 w 6499195"/>
                <a:gd name="connsiteY33" fmla="*/ 2270487 h 3498714"/>
                <a:gd name="connsiteX34" fmla="*/ 2251033 w 6499195"/>
                <a:gd name="connsiteY34" fmla="*/ 2451462 h 3498714"/>
                <a:gd name="connsiteX35" fmla="*/ 2432008 w 6499195"/>
                <a:gd name="connsiteY35" fmla="*/ 2270487 h 3498714"/>
                <a:gd name="connsiteX36" fmla="*/ 2251033 w 6499195"/>
                <a:gd name="connsiteY36" fmla="*/ 2089512 h 3498714"/>
                <a:gd name="connsiteX37" fmla="*/ 2651061 w 6499195"/>
                <a:gd name="connsiteY37" fmla="*/ 1167548 h 3498714"/>
                <a:gd name="connsiteX38" fmla="*/ 2392797 w 6499195"/>
                <a:gd name="connsiteY38" fmla="*/ 1878907 h 3498714"/>
                <a:gd name="connsiteX39" fmla="*/ 2478781 w 6499195"/>
                <a:gd name="connsiteY39" fmla="*/ 1920808 h 3498714"/>
                <a:gd name="connsiteX40" fmla="*/ 2842751 w 6499195"/>
                <a:gd name="connsiteY40" fmla="*/ 1749356 h 3498714"/>
                <a:gd name="connsiteX41" fmla="*/ 3912296 w 6499195"/>
                <a:gd name="connsiteY41" fmla="*/ 1749356 h 3498714"/>
                <a:gd name="connsiteX42" fmla="*/ 4277738 w 6499195"/>
                <a:gd name="connsiteY42" fmla="*/ 1922593 h 3498714"/>
                <a:gd name="connsiteX43" fmla="*/ 4370569 w 6499195"/>
                <a:gd name="connsiteY43" fmla="*/ 1877441 h 3498714"/>
                <a:gd name="connsiteX44" fmla="*/ 4112835 w 6499195"/>
                <a:gd name="connsiteY44" fmla="*/ 1167548 h 3498714"/>
                <a:gd name="connsiteX45" fmla="*/ 2651061 w 6499195"/>
                <a:gd name="connsiteY45" fmla="*/ 1167548 h 3498714"/>
                <a:gd name="connsiteX46" fmla="*/ 2534724 w 6499195"/>
                <a:gd name="connsiteY46" fmla="*/ 982297 h 3498714"/>
                <a:gd name="connsiteX47" fmla="*/ 4229172 w 6499195"/>
                <a:gd name="connsiteY47" fmla="*/ 982297 h 3498714"/>
                <a:gd name="connsiteX48" fmla="*/ 4546612 w 6499195"/>
                <a:gd name="connsiteY48" fmla="*/ 1856643 h 3498714"/>
                <a:gd name="connsiteX49" fmla="*/ 4936448 w 6499195"/>
                <a:gd name="connsiteY49" fmla="*/ 2279217 h 3498714"/>
                <a:gd name="connsiteX50" fmla="*/ 4802103 w 6499195"/>
                <a:gd name="connsiteY50" fmla="*/ 2588456 h 3498714"/>
                <a:gd name="connsiteX51" fmla="*/ 4904699 w 6499195"/>
                <a:gd name="connsiteY51" fmla="*/ 2705462 h 3498714"/>
                <a:gd name="connsiteX52" fmla="*/ 4904698 w 6499195"/>
                <a:gd name="connsiteY52" fmla="*/ 2705462 h 3498714"/>
                <a:gd name="connsiteX53" fmla="*/ 4784047 w 6499195"/>
                <a:gd name="connsiteY53" fmla="*/ 2826113 h 3498714"/>
                <a:gd name="connsiteX54" fmla="*/ 1970999 w 6499195"/>
                <a:gd name="connsiteY54" fmla="*/ 2826112 h 3498714"/>
                <a:gd name="connsiteX55" fmla="*/ 1850348 w 6499195"/>
                <a:gd name="connsiteY55" fmla="*/ 2705462 h 3498714"/>
                <a:gd name="connsiteX56" fmla="*/ 1956769 w 6499195"/>
                <a:gd name="connsiteY56" fmla="*/ 2587684 h 3498714"/>
                <a:gd name="connsiteX57" fmla="*/ 1823360 w 6499195"/>
                <a:gd name="connsiteY57" fmla="*/ 2279217 h 3498714"/>
                <a:gd name="connsiteX58" fmla="*/ 2217440 w 6499195"/>
                <a:gd name="connsiteY58" fmla="*/ 1856216 h 3498714"/>
                <a:gd name="connsiteX59" fmla="*/ 2534724 w 6499195"/>
                <a:gd name="connsiteY59" fmla="*/ 982297 h 3498714"/>
                <a:gd name="connsiteX60" fmla="*/ 358791 w 6499195"/>
                <a:gd name="connsiteY60" fmla="*/ 644545 h 3498714"/>
                <a:gd name="connsiteX61" fmla="*/ 1006774 w 6499195"/>
                <a:gd name="connsiteY61" fmla="*/ 644545 h 3498714"/>
                <a:gd name="connsiteX62" fmla="*/ 1542636 w 6499195"/>
                <a:gd name="connsiteY62" fmla="*/ 1193969 h 3498714"/>
                <a:gd name="connsiteX63" fmla="*/ 1929878 w 6499195"/>
                <a:gd name="connsiteY63" fmla="*/ 1193970 h 3498714"/>
                <a:gd name="connsiteX64" fmla="*/ 2070059 w 6499195"/>
                <a:gd name="connsiteY64" fmla="*/ 1334152 h 3498714"/>
                <a:gd name="connsiteX65" fmla="*/ 1929878 w 6499195"/>
                <a:gd name="connsiteY65" fmla="*/ 1474333 h 3498714"/>
                <a:gd name="connsiteX66" fmla="*/ 1520943 w 6499195"/>
                <a:gd name="connsiteY66" fmla="*/ 1470388 h 3498714"/>
                <a:gd name="connsiteX67" fmla="*/ 1332825 w 6499195"/>
                <a:gd name="connsiteY67" fmla="*/ 1367201 h 3498714"/>
                <a:gd name="connsiteX68" fmla="*/ 1106501 w 6499195"/>
                <a:gd name="connsiteY68" fmla="*/ 1098289 h 3498714"/>
                <a:gd name="connsiteX69" fmla="*/ 1101049 w 6499195"/>
                <a:gd name="connsiteY69" fmla="*/ 1092836 h 3498714"/>
                <a:gd name="connsiteX70" fmla="*/ 1046523 w 6499195"/>
                <a:gd name="connsiteY70" fmla="*/ 1092836 h 3498714"/>
                <a:gd name="connsiteX71" fmla="*/ 1041071 w 6499195"/>
                <a:gd name="connsiteY71" fmla="*/ 1098289 h 3498714"/>
                <a:gd name="connsiteX72" fmla="*/ 1042136 w 6499195"/>
                <a:gd name="connsiteY72" fmla="*/ 1419754 h 3498714"/>
                <a:gd name="connsiteX73" fmla="*/ 1042136 w 6499195"/>
                <a:gd name="connsiteY73" fmla="*/ 3337652 h 3498714"/>
                <a:gd name="connsiteX74" fmla="*/ 881075 w 6499195"/>
                <a:gd name="connsiteY74" fmla="*/ 3498714 h 3498714"/>
                <a:gd name="connsiteX75" fmla="*/ 720012 w 6499195"/>
                <a:gd name="connsiteY75" fmla="*/ 3337652 h 3498714"/>
                <a:gd name="connsiteX76" fmla="*/ 720012 w 6499195"/>
                <a:gd name="connsiteY76" fmla="*/ 2125717 h 3498714"/>
                <a:gd name="connsiteX77" fmla="*/ 718947 w 6499195"/>
                <a:gd name="connsiteY77" fmla="*/ 2033194 h 3498714"/>
                <a:gd name="connsiteX78" fmla="*/ 714162 w 6499195"/>
                <a:gd name="connsiteY78" fmla="*/ 2028410 h 3498714"/>
                <a:gd name="connsiteX79" fmla="*/ 654759 w 6499195"/>
                <a:gd name="connsiteY79" fmla="*/ 2028410 h 3498714"/>
                <a:gd name="connsiteX80" fmla="*/ 649974 w 6499195"/>
                <a:gd name="connsiteY80" fmla="*/ 2033194 h 3498714"/>
                <a:gd name="connsiteX81" fmla="*/ 649974 w 6499195"/>
                <a:gd name="connsiteY81" fmla="*/ 2125717 h 3498714"/>
                <a:gd name="connsiteX82" fmla="*/ 649574 w 6499195"/>
                <a:gd name="connsiteY82" fmla="*/ 3337652 h 3498714"/>
                <a:gd name="connsiteX83" fmla="*/ 488511 w 6499195"/>
                <a:gd name="connsiteY83" fmla="*/ 3498714 h 3498714"/>
                <a:gd name="connsiteX84" fmla="*/ 327450 w 6499195"/>
                <a:gd name="connsiteY84" fmla="*/ 3337652 h 3498714"/>
                <a:gd name="connsiteX85" fmla="*/ 327450 w 6499195"/>
                <a:gd name="connsiteY85" fmla="*/ 1458216 h 3498714"/>
                <a:gd name="connsiteX86" fmla="*/ 322427 w 6499195"/>
                <a:gd name="connsiteY86" fmla="*/ 1098205 h 3498714"/>
                <a:gd name="connsiteX87" fmla="*/ 317058 w 6499195"/>
                <a:gd name="connsiteY87" fmla="*/ 1092836 h 3498714"/>
                <a:gd name="connsiteX88" fmla="*/ 263371 w 6499195"/>
                <a:gd name="connsiteY88" fmla="*/ 1092836 h 3498714"/>
                <a:gd name="connsiteX89" fmla="*/ 258001 w 6499195"/>
                <a:gd name="connsiteY89" fmla="*/ 1098205 h 3498714"/>
                <a:gd name="connsiteX90" fmla="*/ 258001 w 6499195"/>
                <a:gd name="connsiteY90" fmla="*/ 1444446 h 3498714"/>
                <a:gd name="connsiteX91" fmla="*/ 257700 w 6499195"/>
                <a:gd name="connsiteY91" fmla="*/ 1444370 h 3498714"/>
                <a:gd name="connsiteX92" fmla="*/ 257700 w 6499195"/>
                <a:gd name="connsiteY92" fmla="*/ 1912573 h 3498714"/>
                <a:gd name="connsiteX93" fmla="*/ 128850 w 6499195"/>
                <a:gd name="connsiteY93" fmla="*/ 2041423 h 3498714"/>
                <a:gd name="connsiteX94" fmla="*/ 0 w 6499195"/>
                <a:gd name="connsiteY94" fmla="*/ 1912573 h 3498714"/>
                <a:gd name="connsiteX95" fmla="*/ 0 w 6499195"/>
                <a:gd name="connsiteY95" fmla="*/ 1101802 h 3498714"/>
                <a:gd name="connsiteX96" fmla="*/ 0 w 6499195"/>
                <a:gd name="connsiteY96" fmla="*/ 1003338 h 3498714"/>
                <a:gd name="connsiteX97" fmla="*/ 0 w 6499195"/>
                <a:gd name="connsiteY97" fmla="*/ 982486 h 3498714"/>
                <a:gd name="connsiteX98" fmla="*/ 12733 w 6499195"/>
                <a:gd name="connsiteY98" fmla="*/ 894663 h 3498714"/>
                <a:gd name="connsiteX99" fmla="*/ 20539 w 6499195"/>
                <a:gd name="connsiteY99" fmla="*/ 868773 h 3498714"/>
                <a:gd name="connsiteX100" fmla="*/ 358791 w 6499195"/>
                <a:gd name="connsiteY100" fmla="*/ 644545 h 3498714"/>
                <a:gd name="connsiteX101" fmla="*/ 682782 w 6499195"/>
                <a:gd name="connsiteY101" fmla="*/ 0 h 3498714"/>
                <a:gd name="connsiteX102" fmla="*/ 966919 w 6499195"/>
                <a:gd name="connsiteY102" fmla="*/ 284138 h 3498714"/>
                <a:gd name="connsiteX103" fmla="*/ 682782 w 6499195"/>
                <a:gd name="connsiteY103" fmla="*/ 568275 h 3498714"/>
                <a:gd name="connsiteX104" fmla="*/ 398645 w 6499195"/>
                <a:gd name="connsiteY104" fmla="*/ 284138 h 3498714"/>
                <a:gd name="connsiteX105" fmla="*/ 682782 w 6499195"/>
                <a:gd name="connsiteY105" fmla="*/ 0 h 3498714"/>
                <a:gd name="connsiteX0" fmla="*/ 2052754 w 6499473"/>
                <a:gd name="connsiteY0" fmla="*/ 2902312 h 3498714"/>
                <a:gd name="connsiteX1" fmla="*/ 4707054 w 6499473"/>
                <a:gd name="connsiteY1" fmla="*/ 2902312 h 3498714"/>
                <a:gd name="connsiteX2" fmla="*/ 4818179 w 6499473"/>
                <a:gd name="connsiteY2" fmla="*/ 3013437 h 3498714"/>
                <a:gd name="connsiteX3" fmla="*/ 4707054 w 6499473"/>
                <a:gd name="connsiteY3" fmla="*/ 3124562 h 3498714"/>
                <a:gd name="connsiteX4" fmla="*/ 4545125 w 6499473"/>
                <a:gd name="connsiteY4" fmla="*/ 3124562 h 3498714"/>
                <a:gd name="connsiteX5" fmla="*/ 4545125 w 6499473"/>
                <a:gd name="connsiteY5" fmla="*/ 3361625 h 3498714"/>
                <a:gd name="connsiteX6" fmla="*/ 4436113 w 6499473"/>
                <a:gd name="connsiteY6" fmla="*/ 3470637 h 3498714"/>
                <a:gd name="connsiteX7" fmla="*/ 4235039 w 6499473"/>
                <a:gd name="connsiteY7" fmla="*/ 3470637 h 3498714"/>
                <a:gd name="connsiteX8" fmla="*/ 4126027 w 6499473"/>
                <a:gd name="connsiteY8" fmla="*/ 3361625 h 3498714"/>
                <a:gd name="connsiteX9" fmla="*/ 4126027 w 6499473"/>
                <a:gd name="connsiteY9" fmla="*/ 3124562 h 3498714"/>
                <a:gd name="connsiteX10" fmla="*/ 2589325 w 6499473"/>
                <a:gd name="connsiteY10" fmla="*/ 3124562 h 3498714"/>
                <a:gd name="connsiteX11" fmla="*/ 2589325 w 6499473"/>
                <a:gd name="connsiteY11" fmla="*/ 3361625 h 3498714"/>
                <a:gd name="connsiteX12" fmla="*/ 2480313 w 6499473"/>
                <a:gd name="connsiteY12" fmla="*/ 3470637 h 3498714"/>
                <a:gd name="connsiteX13" fmla="*/ 2279239 w 6499473"/>
                <a:gd name="connsiteY13" fmla="*/ 3470637 h 3498714"/>
                <a:gd name="connsiteX14" fmla="*/ 2170227 w 6499473"/>
                <a:gd name="connsiteY14" fmla="*/ 3361625 h 3498714"/>
                <a:gd name="connsiteX15" fmla="*/ 2170227 w 6499473"/>
                <a:gd name="connsiteY15" fmla="*/ 3124562 h 3498714"/>
                <a:gd name="connsiteX16" fmla="*/ 2052754 w 6499473"/>
                <a:gd name="connsiteY16" fmla="*/ 3124562 h 3498714"/>
                <a:gd name="connsiteX17" fmla="*/ 1941629 w 6499473"/>
                <a:gd name="connsiteY17" fmla="*/ 3013437 h 3498714"/>
                <a:gd name="connsiteX18" fmla="*/ 2052754 w 6499473"/>
                <a:gd name="connsiteY18" fmla="*/ 2902312 h 3498714"/>
                <a:gd name="connsiteX19" fmla="*/ 4492583 w 6499473"/>
                <a:gd name="connsiteY19" fmla="*/ 2089512 h 3498714"/>
                <a:gd name="connsiteX20" fmla="*/ 4311608 w 6499473"/>
                <a:gd name="connsiteY20" fmla="*/ 2270487 h 3498714"/>
                <a:gd name="connsiteX21" fmla="*/ 4492583 w 6499473"/>
                <a:gd name="connsiteY21" fmla="*/ 2451462 h 3498714"/>
                <a:gd name="connsiteX22" fmla="*/ 6498753 w 6499473"/>
                <a:gd name="connsiteY22" fmla="*/ 2404799 h 3498714"/>
                <a:gd name="connsiteX23" fmla="*/ 5268722 w 6499473"/>
                <a:gd name="connsiteY23" fmla="*/ 1972085 h 3498714"/>
                <a:gd name="connsiteX24" fmla="*/ 4492583 w 6499473"/>
                <a:gd name="connsiteY24" fmla="*/ 2089512 h 3498714"/>
                <a:gd name="connsiteX25" fmla="*/ 2979061 w 6499473"/>
                <a:gd name="connsiteY25" fmla="*/ 2089512 h 3498714"/>
                <a:gd name="connsiteX26" fmla="*/ 2671086 w 6499473"/>
                <a:gd name="connsiteY26" fmla="*/ 2397487 h 3498714"/>
                <a:gd name="connsiteX27" fmla="*/ 2671086 w 6499473"/>
                <a:gd name="connsiteY27" fmla="*/ 2584811 h 3498714"/>
                <a:gd name="connsiteX28" fmla="*/ 4083961 w 6499473"/>
                <a:gd name="connsiteY28" fmla="*/ 2584811 h 3498714"/>
                <a:gd name="connsiteX29" fmla="*/ 4083961 w 6499473"/>
                <a:gd name="connsiteY29" fmla="*/ 2397487 h 3498714"/>
                <a:gd name="connsiteX30" fmla="*/ 3775986 w 6499473"/>
                <a:gd name="connsiteY30" fmla="*/ 2089512 h 3498714"/>
                <a:gd name="connsiteX31" fmla="*/ 2979061 w 6499473"/>
                <a:gd name="connsiteY31" fmla="*/ 2089512 h 3498714"/>
                <a:gd name="connsiteX32" fmla="*/ 2251033 w 6499473"/>
                <a:gd name="connsiteY32" fmla="*/ 2089512 h 3498714"/>
                <a:gd name="connsiteX33" fmla="*/ 2070058 w 6499473"/>
                <a:gd name="connsiteY33" fmla="*/ 2270487 h 3498714"/>
                <a:gd name="connsiteX34" fmla="*/ 2251033 w 6499473"/>
                <a:gd name="connsiteY34" fmla="*/ 2451462 h 3498714"/>
                <a:gd name="connsiteX35" fmla="*/ 2432008 w 6499473"/>
                <a:gd name="connsiteY35" fmla="*/ 2270487 h 3498714"/>
                <a:gd name="connsiteX36" fmla="*/ 2251033 w 6499473"/>
                <a:gd name="connsiteY36" fmla="*/ 2089512 h 3498714"/>
                <a:gd name="connsiteX37" fmla="*/ 2651061 w 6499473"/>
                <a:gd name="connsiteY37" fmla="*/ 1167548 h 3498714"/>
                <a:gd name="connsiteX38" fmla="*/ 2392797 w 6499473"/>
                <a:gd name="connsiteY38" fmla="*/ 1878907 h 3498714"/>
                <a:gd name="connsiteX39" fmla="*/ 2478781 w 6499473"/>
                <a:gd name="connsiteY39" fmla="*/ 1920808 h 3498714"/>
                <a:gd name="connsiteX40" fmla="*/ 2842751 w 6499473"/>
                <a:gd name="connsiteY40" fmla="*/ 1749356 h 3498714"/>
                <a:gd name="connsiteX41" fmla="*/ 3912296 w 6499473"/>
                <a:gd name="connsiteY41" fmla="*/ 1749356 h 3498714"/>
                <a:gd name="connsiteX42" fmla="*/ 4277738 w 6499473"/>
                <a:gd name="connsiteY42" fmla="*/ 1922593 h 3498714"/>
                <a:gd name="connsiteX43" fmla="*/ 4370569 w 6499473"/>
                <a:gd name="connsiteY43" fmla="*/ 1877441 h 3498714"/>
                <a:gd name="connsiteX44" fmla="*/ 4112835 w 6499473"/>
                <a:gd name="connsiteY44" fmla="*/ 1167548 h 3498714"/>
                <a:gd name="connsiteX45" fmla="*/ 2651061 w 6499473"/>
                <a:gd name="connsiteY45" fmla="*/ 1167548 h 3498714"/>
                <a:gd name="connsiteX46" fmla="*/ 2534724 w 6499473"/>
                <a:gd name="connsiteY46" fmla="*/ 982297 h 3498714"/>
                <a:gd name="connsiteX47" fmla="*/ 4229172 w 6499473"/>
                <a:gd name="connsiteY47" fmla="*/ 982297 h 3498714"/>
                <a:gd name="connsiteX48" fmla="*/ 4546612 w 6499473"/>
                <a:gd name="connsiteY48" fmla="*/ 1856643 h 3498714"/>
                <a:gd name="connsiteX49" fmla="*/ 4936448 w 6499473"/>
                <a:gd name="connsiteY49" fmla="*/ 2279217 h 3498714"/>
                <a:gd name="connsiteX50" fmla="*/ 4802103 w 6499473"/>
                <a:gd name="connsiteY50" fmla="*/ 2588456 h 3498714"/>
                <a:gd name="connsiteX51" fmla="*/ 4904699 w 6499473"/>
                <a:gd name="connsiteY51" fmla="*/ 2705462 h 3498714"/>
                <a:gd name="connsiteX52" fmla="*/ 4904698 w 6499473"/>
                <a:gd name="connsiteY52" fmla="*/ 2705462 h 3498714"/>
                <a:gd name="connsiteX53" fmla="*/ 4784047 w 6499473"/>
                <a:gd name="connsiteY53" fmla="*/ 2826113 h 3498714"/>
                <a:gd name="connsiteX54" fmla="*/ 1970999 w 6499473"/>
                <a:gd name="connsiteY54" fmla="*/ 2826112 h 3498714"/>
                <a:gd name="connsiteX55" fmla="*/ 1850348 w 6499473"/>
                <a:gd name="connsiteY55" fmla="*/ 2705462 h 3498714"/>
                <a:gd name="connsiteX56" fmla="*/ 1956769 w 6499473"/>
                <a:gd name="connsiteY56" fmla="*/ 2587684 h 3498714"/>
                <a:gd name="connsiteX57" fmla="*/ 1823360 w 6499473"/>
                <a:gd name="connsiteY57" fmla="*/ 2279217 h 3498714"/>
                <a:gd name="connsiteX58" fmla="*/ 2217440 w 6499473"/>
                <a:gd name="connsiteY58" fmla="*/ 1856216 h 3498714"/>
                <a:gd name="connsiteX59" fmla="*/ 2534724 w 6499473"/>
                <a:gd name="connsiteY59" fmla="*/ 982297 h 3498714"/>
                <a:gd name="connsiteX60" fmla="*/ 358791 w 6499473"/>
                <a:gd name="connsiteY60" fmla="*/ 644545 h 3498714"/>
                <a:gd name="connsiteX61" fmla="*/ 1006774 w 6499473"/>
                <a:gd name="connsiteY61" fmla="*/ 644545 h 3498714"/>
                <a:gd name="connsiteX62" fmla="*/ 1542636 w 6499473"/>
                <a:gd name="connsiteY62" fmla="*/ 1193969 h 3498714"/>
                <a:gd name="connsiteX63" fmla="*/ 1929878 w 6499473"/>
                <a:gd name="connsiteY63" fmla="*/ 1193970 h 3498714"/>
                <a:gd name="connsiteX64" fmla="*/ 2070059 w 6499473"/>
                <a:gd name="connsiteY64" fmla="*/ 1334152 h 3498714"/>
                <a:gd name="connsiteX65" fmla="*/ 1929878 w 6499473"/>
                <a:gd name="connsiteY65" fmla="*/ 1474333 h 3498714"/>
                <a:gd name="connsiteX66" fmla="*/ 1520943 w 6499473"/>
                <a:gd name="connsiteY66" fmla="*/ 1470388 h 3498714"/>
                <a:gd name="connsiteX67" fmla="*/ 1332825 w 6499473"/>
                <a:gd name="connsiteY67" fmla="*/ 1367201 h 3498714"/>
                <a:gd name="connsiteX68" fmla="*/ 1106501 w 6499473"/>
                <a:gd name="connsiteY68" fmla="*/ 1098289 h 3498714"/>
                <a:gd name="connsiteX69" fmla="*/ 1101049 w 6499473"/>
                <a:gd name="connsiteY69" fmla="*/ 1092836 h 3498714"/>
                <a:gd name="connsiteX70" fmla="*/ 1046523 w 6499473"/>
                <a:gd name="connsiteY70" fmla="*/ 1092836 h 3498714"/>
                <a:gd name="connsiteX71" fmla="*/ 1041071 w 6499473"/>
                <a:gd name="connsiteY71" fmla="*/ 1098289 h 3498714"/>
                <a:gd name="connsiteX72" fmla="*/ 1042136 w 6499473"/>
                <a:gd name="connsiteY72" fmla="*/ 1419754 h 3498714"/>
                <a:gd name="connsiteX73" fmla="*/ 1042136 w 6499473"/>
                <a:gd name="connsiteY73" fmla="*/ 3337652 h 3498714"/>
                <a:gd name="connsiteX74" fmla="*/ 881075 w 6499473"/>
                <a:gd name="connsiteY74" fmla="*/ 3498714 h 3498714"/>
                <a:gd name="connsiteX75" fmla="*/ 720012 w 6499473"/>
                <a:gd name="connsiteY75" fmla="*/ 3337652 h 3498714"/>
                <a:gd name="connsiteX76" fmla="*/ 720012 w 6499473"/>
                <a:gd name="connsiteY76" fmla="*/ 2125717 h 3498714"/>
                <a:gd name="connsiteX77" fmla="*/ 718947 w 6499473"/>
                <a:gd name="connsiteY77" fmla="*/ 2033194 h 3498714"/>
                <a:gd name="connsiteX78" fmla="*/ 714162 w 6499473"/>
                <a:gd name="connsiteY78" fmla="*/ 2028410 h 3498714"/>
                <a:gd name="connsiteX79" fmla="*/ 654759 w 6499473"/>
                <a:gd name="connsiteY79" fmla="*/ 2028410 h 3498714"/>
                <a:gd name="connsiteX80" fmla="*/ 649974 w 6499473"/>
                <a:gd name="connsiteY80" fmla="*/ 2033194 h 3498714"/>
                <a:gd name="connsiteX81" fmla="*/ 649974 w 6499473"/>
                <a:gd name="connsiteY81" fmla="*/ 2125717 h 3498714"/>
                <a:gd name="connsiteX82" fmla="*/ 649574 w 6499473"/>
                <a:gd name="connsiteY82" fmla="*/ 3337652 h 3498714"/>
                <a:gd name="connsiteX83" fmla="*/ 488511 w 6499473"/>
                <a:gd name="connsiteY83" fmla="*/ 3498714 h 3498714"/>
                <a:gd name="connsiteX84" fmla="*/ 327450 w 6499473"/>
                <a:gd name="connsiteY84" fmla="*/ 3337652 h 3498714"/>
                <a:gd name="connsiteX85" fmla="*/ 327450 w 6499473"/>
                <a:gd name="connsiteY85" fmla="*/ 1458216 h 3498714"/>
                <a:gd name="connsiteX86" fmla="*/ 322427 w 6499473"/>
                <a:gd name="connsiteY86" fmla="*/ 1098205 h 3498714"/>
                <a:gd name="connsiteX87" fmla="*/ 317058 w 6499473"/>
                <a:gd name="connsiteY87" fmla="*/ 1092836 h 3498714"/>
                <a:gd name="connsiteX88" fmla="*/ 263371 w 6499473"/>
                <a:gd name="connsiteY88" fmla="*/ 1092836 h 3498714"/>
                <a:gd name="connsiteX89" fmla="*/ 258001 w 6499473"/>
                <a:gd name="connsiteY89" fmla="*/ 1098205 h 3498714"/>
                <a:gd name="connsiteX90" fmla="*/ 258001 w 6499473"/>
                <a:gd name="connsiteY90" fmla="*/ 1444446 h 3498714"/>
                <a:gd name="connsiteX91" fmla="*/ 257700 w 6499473"/>
                <a:gd name="connsiteY91" fmla="*/ 1444370 h 3498714"/>
                <a:gd name="connsiteX92" fmla="*/ 257700 w 6499473"/>
                <a:gd name="connsiteY92" fmla="*/ 1912573 h 3498714"/>
                <a:gd name="connsiteX93" fmla="*/ 128850 w 6499473"/>
                <a:gd name="connsiteY93" fmla="*/ 2041423 h 3498714"/>
                <a:gd name="connsiteX94" fmla="*/ 0 w 6499473"/>
                <a:gd name="connsiteY94" fmla="*/ 1912573 h 3498714"/>
                <a:gd name="connsiteX95" fmla="*/ 0 w 6499473"/>
                <a:gd name="connsiteY95" fmla="*/ 1101802 h 3498714"/>
                <a:gd name="connsiteX96" fmla="*/ 0 w 6499473"/>
                <a:gd name="connsiteY96" fmla="*/ 1003338 h 3498714"/>
                <a:gd name="connsiteX97" fmla="*/ 0 w 6499473"/>
                <a:gd name="connsiteY97" fmla="*/ 982486 h 3498714"/>
                <a:gd name="connsiteX98" fmla="*/ 12733 w 6499473"/>
                <a:gd name="connsiteY98" fmla="*/ 894663 h 3498714"/>
                <a:gd name="connsiteX99" fmla="*/ 20539 w 6499473"/>
                <a:gd name="connsiteY99" fmla="*/ 868773 h 3498714"/>
                <a:gd name="connsiteX100" fmla="*/ 358791 w 6499473"/>
                <a:gd name="connsiteY100" fmla="*/ 644545 h 3498714"/>
                <a:gd name="connsiteX101" fmla="*/ 682782 w 6499473"/>
                <a:gd name="connsiteY101" fmla="*/ 0 h 3498714"/>
                <a:gd name="connsiteX102" fmla="*/ 966919 w 6499473"/>
                <a:gd name="connsiteY102" fmla="*/ 284138 h 3498714"/>
                <a:gd name="connsiteX103" fmla="*/ 682782 w 6499473"/>
                <a:gd name="connsiteY103" fmla="*/ 568275 h 3498714"/>
                <a:gd name="connsiteX104" fmla="*/ 398645 w 6499473"/>
                <a:gd name="connsiteY104" fmla="*/ 284138 h 3498714"/>
                <a:gd name="connsiteX105" fmla="*/ 682782 w 6499473"/>
                <a:gd name="connsiteY105" fmla="*/ 0 h 3498714"/>
                <a:gd name="connsiteX0" fmla="*/ 2052754 w 6499257"/>
                <a:gd name="connsiteY0" fmla="*/ 2902312 h 3498714"/>
                <a:gd name="connsiteX1" fmla="*/ 4707054 w 6499257"/>
                <a:gd name="connsiteY1" fmla="*/ 2902312 h 3498714"/>
                <a:gd name="connsiteX2" fmla="*/ 4818179 w 6499257"/>
                <a:gd name="connsiteY2" fmla="*/ 3013437 h 3498714"/>
                <a:gd name="connsiteX3" fmla="*/ 4707054 w 6499257"/>
                <a:gd name="connsiteY3" fmla="*/ 3124562 h 3498714"/>
                <a:gd name="connsiteX4" fmla="*/ 4545125 w 6499257"/>
                <a:gd name="connsiteY4" fmla="*/ 3124562 h 3498714"/>
                <a:gd name="connsiteX5" fmla="*/ 4545125 w 6499257"/>
                <a:gd name="connsiteY5" fmla="*/ 3361625 h 3498714"/>
                <a:gd name="connsiteX6" fmla="*/ 4436113 w 6499257"/>
                <a:gd name="connsiteY6" fmla="*/ 3470637 h 3498714"/>
                <a:gd name="connsiteX7" fmla="*/ 4235039 w 6499257"/>
                <a:gd name="connsiteY7" fmla="*/ 3470637 h 3498714"/>
                <a:gd name="connsiteX8" fmla="*/ 4126027 w 6499257"/>
                <a:gd name="connsiteY8" fmla="*/ 3361625 h 3498714"/>
                <a:gd name="connsiteX9" fmla="*/ 4126027 w 6499257"/>
                <a:gd name="connsiteY9" fmla="*/ 3124562 h 3498714"/>
                <a:gd name="connsiteX10" fmla="*/ 2589325 w 6499257"/>
                <a:gd name="connsiteY10" fmla="*/ 3124562 h 3498714"/>
                <a:gd name="connsiteX11" fmla="*/ 2589325 w 6499257"/>
                <a:gd name="connsiteY11" fmla="*/ 3361625 h 3498714"/>
                <a:gd name="connsiteX12" fmla="*/ 2480313 w 6499257"/>
                <a:gd name="connsiteY12" fmla="*/ 3470637 h 3498714"/>
                <a:gd name="connsiteX13" fmla="*/ 2279239 w 6499257"/>
                <a:gd name="connsiteY13" fmla="*/ 3470637 h 3498714"/>
                <a:gd name="connsiteX14" fmla="*/ 2170227 w 6499257"/>
                <a:gd name="connsiteY14" fmla="*/ 3361625 h 3498714"/>
                <a:gd name="connsiteX15" fmla="*/ 2170227 w 6499257"/>
                <a:gd name="connsiteY15" fmla="*/ 3124562 h 3498714"/>
                <a:gd name="connsiteX16" fmla="*/ 2052754 w 6499257"/>
                <a:gd name="connsiteY16" fmla="*/ 3124562 h 3498714"/>
                <a:gd name="connsiteX17" fmla="*/ 1941629 w 6499257"/>
                <a:gd name="connsiteY17" fmla="*/ 3013437 h 3498714"/>
                <a:gd name="connsiteX18" fmla="*/ 2052754 w 6499257"/>
                <a:gd name="connsiteY18" fmla="*/ 2902312 h 3498714"/>
                <a:gd name="connsiteX19" fmla="*/ 4492583 w 6499257"/>
                <a:gd name="connsiteY19" fmla="*/ 2089512 h 3498714"/>
                <a:gd name="connsiteX20" fmla="*/ 4311608 w 6499257"/>
                <a:gd name="connsiteY20" fmla="*/ 2270487 h 3498714"/>
                <a:gd name="connsiteX21" fmla="*/ 4492583 w 6499257"/>
                <a:gd name="connsiteY21" fmla="*/ 2451462 h 3498714"/>
                <a:gd name="connsiteX22" fmla="*/ 5407618 w 6499257"/>
                <a:gd name="connsiteY22" fmla="*/ 2468742 h 3498714"/>
                <a:gd name="connsiteX23" fmla="*/ 6498753 w 6499257"/>
                <a:gd name="connsiteY23" fmla="*/ 2404799 h 3498714"/>
                <a:gd name="connsiteX24" fmla="*/ 5268722 w 6499257"/>
                <a:gd name="connsiteY24" fmla="*/ 1972085 h 3498714"/>
                <a:gd name="connsiteX25" fmla="*/ 4492583 w 6499257"/>
                <a:gd name="connsiteY25" fmla="*/ 2089512 h 3498714"/>
                <a:gd name="connsiteX26" fmla="*/ 2979061 w 6499257"/>
                <a:gd name="connsiteY26" fmla="*/ 2089512 h 3498714"/>
                <a:gd name="connsiteX27" fmla="*/ 2671086 w 6499257"/>
                <a:gd name="connsiteY27" fmla="*/ 2397487 h 3498714"/>
                <a:gd name="connsiteX28" fmla="*/ 2671086 w 6499257"/>
                <a:gd name="connsiteY28" fmla="*/ 2584811 h 3498714"/>
                <a:gd name="connsiteX29" fmla="*/ 4083961 w 6499257"/>
                <a:gd name="connsiteY29" fmla="*/ 2584811 h 3498714"/>
                <a:gd name="connsiteX30" fmla="*/ 4083961 w 6499257"/>
                <a:gd name="connsiteY30" fmla="*/ 2397487 h 3498714"/>
                <a:gd name="connsiteX31" fmla="*/ 3775986 w 6499257"/>
                <a:gd name="connsiteY31" fmla="*/ 2089512 h 3498714"/>
                <a:gd name="connsiteX32" fmla="*/ 2979061 w 6499257"/>
                <a:gd name="connsiteY32" fmla="*/ 2089512 h 3498714"/>
                <a:gd name="connsiteX33" fmla="*/ 2251033 w 6499257"/>
                <a:gd name="connsiteY33" fmla="*/ 2089512 h 3498714"/>
                <a:gd name="connsiteX34" fmla="*/ 2070058 w 6499257"/>
                <a:gd name="connsiteY34" fmla="*/ 2270487 h 3498714"/>
                <a:gd name="connsiteX35" fmla="*/ 2251033 w 6499257"/>
                <a:gd name="connsiteY35" fmla="*/ 2451462 h 3498714"/>
                <a:gd name="connsiteX36" fmla="*/ 2432008 w 6499257"/>
                <a:gd name="connsiteY36" fmla="*/ 2270487 h 3498714"/>
                <a:gd name="connsiteX37" fmla="*/ 2251033 w 6499257"/>
                <a:gd name="connsiteY37" fmla="*/ 2089512 h 3498714"/>
                <a:gd name="connsiteX38" fmla="*/ 2651061 w 6499257"/>
                <a:gd name="connsiteY38" fmla="*/ 1167548 h 3498714"/>
                <a:gd name="connsiteX39" fmla="*/ 2392797 w 6499257"/>
                <a:gd name="connsiteY39" fmla="*/ 1878907 h 3498714"/>
                <a:gd name="connsiteX40" fmla="*/ 2478781 w 6499257"/>
                <a:gd name="connsiteY40" fmla="*/ 1920808 h 3498714"/>
                <a:gd name="connsiteX41" fmla="*/ 2842751 w 6499257"/>
                <a:gd name="connsiteY41" fmla="*/ 1749356 h 3498714"/>
                <a:gd name="connsiteX42" fmla="*/ 3912296 w 6499257"/>
                <a:gd name="connsiteY42" fmla="*/ 1749356 h 3498714"/>
                <a:gd name="connsiteX43" fmla="*/ 4277738 w 6499257"/>
                <a:gd name="connsiteY43" fmla="*/ 1922593 h 3498714"/>
                <a:gd name="connsiteX44" fmla="*/ 4370569 w 6499257"/>
                <a:gd name="connsiteY44" fmla="*/ 1877441 h 3498714"/>
                <a:gd name="connsiteX45" fmla="*/ 4112835 w 6499257"/>
                <a:gd name="connsiteY45" fmla="*/ 1167548 h 3498714"/>
                <a:gd name="connsiteX46" fmla="*/ 2651061 w 6499257"/>
                <a:gd name="connsiteY46" fmla="*/ 1167548 h 3498714"/>
                <a:gd name="connsiteX47" fmla="*/ 2534724 w 6499257"/>
                <a:gd name="connsiteY47" fmla="*/ 982297 h 3498714"/>
                <a:gd name="connsiteX48" fmla="*/ 4229172 w 6499257"/>
                <a:gd name="connsiteY48" fmla="*/ 982297 h 3498714"/>
                <a:gd name="connsiteX49" fmla="*/ 4546612 w 6499257"/>
                <a:gd name="connsiteY49" fmla="*/ 1856643 h 3498714"/>
                <a:gd name="connsiteX50" fmla="*/ 4936448 w 6499257"/>
                <a:gd name="connsiteY50" fmla="*/ 2279217 h 3498714"/>
                <a:gd name="connsiteX51" fmla="*/ 4802103 w 6499257"/>
                <a:gd name="connsiteY51" fmla="*/ 2588456 h 3498714"/>
                <a:gd name="connsiteX52" fmla="*/ 4904699 w 6499257"/>
                <a:gd name="connsiteY52" fmla="*/ 2705462 h 3498714"/>
                <a:gd name="connsiteX53" fmla="*/ 4904698 w 6499257"/>
                <a:gd name="connsiteY53" fmla="*/ 2705462 h 3498714"/>
                <a:gd name="connsiteX54" fmla="*/ 4784047 w 6499257"/>
                <a:gd name="connsiteY54" fmla="*/ 2826113 h 3498714"/>
                <a:gd name="connsiteX55" fmla="*/ 1970999 w 6499257"/>
                <a:gd name="connsiteY55" fmla="*/ 2826112 h 3498714"/>
                <a:gd name="connsiteX56" fmla="*/ 1850348 w 6499257"/>
                <a:gd name="connsiteY56" fmla="*/ 2705462 h 3498714"/>
                <a:gd name="connsiteX57" fmla="*/ 1956769 w 6499257"/>
                <a:gd name="connsiteY57" fmla="*/ 2587684 h 3498714"/>
                <a:gd name="connsiteX58" fmla="*/ 1823360 w 6499257"/>
                <a:gd name="connsiteY58" fmla="*/ 2279217 h 3498714"/>
                <a:gd name="connsiteX59" fmla="*/ 2217440 w 6499257"/>
                <a:gd name="connsiteY59" fmla="*/ 1856216 h 3498714"/>
                <a:gd name="connsiteX60" fmla="*/ 2534724 w 6499257"/>
                <a:gd name="connsiteY60" fmla="*/ 982297 h 3498714"/>
                <a:gd name="connsiteX61" fmla="*/ 358791 w 6499257"/>
                <a:gd name="connsiteY61" fmla="*/ 644545 h 3498714"/>
                <a:gd name="connsiteX62" fmla="*/ 1006774 w 6499257"/>
                <a:gd name="connsiteY62" fmla="*/ 644545 h 3498714"/>
                <a:gd name="connsiteX63" fmla="*/ 1542636 w 6499257"/>
                <a:gd name="connsiteY63" fmla="*/ 1193969 h 3498714"/>
                <a:gd name="connsiteX64" fmla="*/ 1929878 w 6499257"/>
                <a:gd name="connsiteY64" fmla="*/ 1193970 h 3498714"/>
                <a:gd name="connsiteX65" fmla="*/ 2070059 w 6499257"/>
                <a:gd name="connsiteY65" fmla="*/ 1334152 h 3498714"/>
                <a:gd name="connsiteX66" fmla="*/ 1929878 w 6499257"/>
                <a:gd name="connsiteY66" fmla="*/ 1474333 h 3498714"/>
                <a:gd name="connsiteX67" fmla="*/ 1520943 w 6499257"/>
                <a:gd name="connsiteY67" fmla="*/ 1470388 h 3498714"/>
                <a:gd name="connsiteX68" fmla="*/ 1332825 w 6499257"/>
                <a:gd name="connsiteY68" fmla="*/ 1367201 h 3498714"/>
                <a:gd name="connsiteX69" fmla="*/ 1106501 w 6499257"/>
                <a:gd name="connsiteY69" fmla="*/ 1098289 h 3498714"/>
                <a:gd name="connsiteX70" fmla="*/ 1101049 w 6499257"/>
                <a:gd name="connsiteY70" fmla="*/ 1092836 h 3498714"/>
                <a:gd name="connsiteX71" fmla="*/ 1046523 w 6499257"/>
                <a:gd name="connsiteY71" fmla="*/ 1092836 h 3498714"/>
                <a:gd name="connsiteX72" fmla="*/ 1041071 w 6499257"/>
                <a:gd name="connsiteY72" fmla="*/ 1098289 h 3498714"/>
                <a:gd name="connsiteX73" fmla="*/ 1042136 w 6499257"/>
                <a:gd name="connsiteY73" fmla="*/ 1419754 h 3498714"/>
                <a:gd name="connsiteX74" fmla="*/ 1042136 w 6499257"/>
                <a:gd name="connsiteY74" fmla="*/ 3337652 h 3498714"/>
                <a:gd name="connsiteX75" fmla="*/ 881075 w 6499257"/>
                <a:gd name="connsiteY75" fmla="*/ 3498714 h 3498714"/>
                <a:gd name="connsiteX76" fmla="*/ 720012 w 6499257"/>
                <a:gd name="connsiteY76" fmla="*/ 3337652 h 3498714"/>
                <a:gd name="connsiteX77" fmla="*/ 720012 w 6499257"/>
                <a:gd name="connsiteY77" fmla="*/ 2125717 h 3498714"/>
                <a:gd name="connsiteX78" fmla="*/ 718947 w 6499257"/>
                <a:gd name="connsiteY78" fmla="*/ 2033194 h 3498714"/>
                <a:gd name="connsiteX79" fmla="*/ 714162 w 6499257"/>
                <a:gd name="connsiteY79" fmla="*/ 2028410 h 3498714"/>
                <a:gd name="connsiteX80" fmla="*/ 654759 w 6499257"/>
                <a:gd name="connsiteY80" fmla="*/ 2028410 h 3498714"/>
                <a:gd name="connsiteX81" fmla="*/ 649974 w 6499257"/>
                <a:gd name="connsiteY81" fmla="*/ 2033194 h 3498714"/>
                <a:gd name="connsiteX82" fmla="*/ 649974 w 6499257"/>
                <a:gd name="connsiteY82" fmla="*/ 2125717 h 3498714"/>
                <a:gd name="connsiteX83" fmla="*/ 649574 w 6499257"/>
                <a:gd name="connsiteY83" fmla="*/ 3337652 h 3498714"/>
                <a:gd name="connsiteX84" fmla="*/ 488511 w 6499257"/>
                <a:gd name="connsiteY84" fmla="*/ 3498714 h 3498714"/>
                <a:gd name="connsiteX85" fmla="*/ 327450 w 6499257"/>
                <a:gd name="connsiteY85" fmla="*/ 3337652 h 3498714"/>
                <a:gd name="connsiteX86" fmla="*/ 327450 w 6499257"/>
                <a:gd name="connsiteY86" fmla="*/ 1458216 h 3498714"/>
                <a:gd name="connsiteX87" fmla="*/ 322427 w 6499257"/>
                <a:gd name="connsiteY87" fmla="*/ 1098205 h 3498714"/>
                <a:gd name="connsiteX88" fmla="*/ 317058 w 6499257"/>
                <a:gd name="connsiteY88" fmla="*/ 1092836 h 3498714"/>
                <a:gd name="connsiteX89" fmla="*/ 263371 w 6499257"/>
                <a:gd name="connsiteY89" fmla="*/ 1092836 h 3498714"/>
                <a:gd name="connsiteX90" fmla="*/ 258001 w 6499257"/>
                <a:gd name="connsiteY90" fmla="*/ 1098205 h 3498714"/>
                <a:gd name="connsiteX91" fmla="*/ 258001 w 6499257"/>
                <a:gd name="connsiteY91" fmla="*/ 1444446 h 3498714"/>
                <a:gd name="connsiteX92" fmla="*/ 257700 w 6499257"/>
                <a:gd name="connsiteY92" fmla="*/ 1444370 h 3498714"/>
                <a:gd name="connsiteX93" fmla="*/ 257700 w 6499257"/>
                <a:gd name="connsiteY93" fmla="*/ 1912573 h 3498714"/>
                <a:gd name="connsiteX94" fmla="*/ 128850 w 6499257"/>
                <a:gd name="connsiteY94" fmla="*/ 2041423 h 3498714"/>
                <a:gd name="connsiteX95" fmla="*/ 0 w 6499257"/>
                <a:gd name="connsiteY95" fmla="*/ 1912573 h 3498714"/>
                <a:gd name="connsiteX96" fmla="*/ 0 w 6499257"/>
                <a:gd name="connsiteY96" fmla="*/ 1101802 h 3498714"/>
                <a:gd name="connsiteX97" fmla="*/ 0 w 6499257"/>
                <a:gd name="connsiteY97" fmla="*/ 1003338 h 3498714"/>
                <a:gd name="connsiteX98" fmla="*/ 0 w 6499257"/>
                <a:gd name="connsiteY98" fmla="*/ 982486 h 3498714"/>
                <a:gd name="connsiteX99" fmla="*/ 12733 w 6499257"/>
                <a:gd name="connsiteY99" fmla="*/ 894663 h 3498714"/>
                <a:gd name="connsiteX100" fmla="*/ 20539 w 6499257"/>
                <a:gd name="connsiteY100" fmla="*/ 868773 h 3498714"/>
                <a:gd name="connsiteX101" fmla="*/ 358791 w 6499257"/>
                <a:gd name="connsiteY101" fmla="*/ 644545 h 3498714"/>
                <a:gd name="connsiteX102" fmla="*/ 682782 w 6499257"/>
                <a:gd name="connsiteY102" fmla="*/ 0 h 3498714"/>
                <a:gd name="connsiteX103" fmla="*/ 966919 w 6499257"/>
                <a:gd name="connsiteY103" fmla="*/ 284138 h 3498714"/>
                <a:gd name="connsiteX104" fmla="*/ 682782 w 6499257"/>
                <a:gd name="connsiteY104" fmla="*/ 568275 h 3498714"/>
                <a:gd name="connsiteX105" fmla="*/ 398645 w 6499257"/>
                <a:gd name="connsiteY105" fmla="*/ 284138 h 3498714"/>
                <a:gd name="connsiteX106" fmla="*/ 682782 w 6499257"/>
                <a:gd name="connsiteY106" fmla="*/ 0 h 3498714"/>
                <a:gd name="connsiteX0" fmla="*/ 2052754 w 6499257"/>
                <a:gd name="connsiteY0" fmla="*/ 2902312 h 3498714"/>
                <a:gd name="connsiteX1" fmla="*/ 4707054 w 6499257"/>
                <a:gd name="connsiteY1" fmla="*/ 2902312 h 3498714"/>
                <a:gd name="connsiteX2" fmla="*/ 4818179 w 6499257"/>
                <a:gd name="connsiteY2" fmla="*/ 3013437 h 3498714"/>
                <a:gd name="connsiteX3" fmla="*/ 4707054 w 6499257"/>
                <a:gd name="connsiteY3" fmla="*/ 3124562 h 3498714"/>
                <a:gd name="connsiteX4" fmla="*/ 4545125 w 6499257"/>
                <a:gd name="connsiteY4" fmla="*/ 3124562 h 3498714"/>
                <a:gd name="connsiteX5" fmla="*/ 4545125 w 6499257"/>
                <a:gd name="connsiteY5" fmla="*/ 3361625 h 3498714"/>
                <a:gd name="connsiteX6" fmla="*/ 4436113 w 6499257"/>
                <a:gd name="connsiteY6" fmla="*/ 3470637 h 3498714"/>
                <a:gd name="connsiteX7" fmla="*/ 4235039 w 6499257"/>
                <a:gd name="connsiteY7" fmla="*/ 3470637 h 3498714"/>
                <a:gd name="connsiteX8" fmla="*/ 4126027 w 6499257"/>
                <a:gd name="connsiteY8" fmla="*/ 3361625 h 3498714"/>
                <a:gd name="connsiteX9" fmla="*/ 4126027 w 6499257"/>
                <a:gd name="connsiteY9" fmla="*/ 3124562 h 3498714"/>
                <a:gd name="connsiteX10" fmla="*/ 2589325 w 6499257"/>
                <a:gd name="connsiteY10" fmla="*/ 3124562 h 3498714"/>
                <a:gd name="connsiteX11" fmla="*/ 2589325 w 6499257"/>
                <a:gd name="connsiteY11" fmla="*/ 3361625 h 3498714"/>
                <a:gd name="connsiteX12" fmla="*/ 2480313 w 6499257"/>
                <a:gd name="connsiteY12" fmla="*/ 3470637 h 3498714"/>
                <a:gd name="connsiteX13" fmla="*/ 2279239 w 6499257"/>
                <a:gd name="connsiteY13" fmla="*/ 3470637 h 3498714"/>
                <a:gd name="connsiteX14" fmla="*/ 2170227 w 6499257"/>
                <a:gd name="connsiteY14" fmla="*/ 3361625 h 3498714"/>
                <a:gd name="connsiteX15" fmla="*/ 2170227 w 6499257"/>
                <a:gd name="connsiteY15" fmla="*/ 3124562 h 3498714"/>
                <a:gd name="connsiteX16" fmla="*/ 2052754 w 6499257"/>
                <a:gd name="connsiteY16" fmla="*/ 3124562 h 3498714"/>
                <a:gd name="connsiteX17" fmla="*/ 1941629 w 6499257"/>
                <a:gd name="connsiteY17" fmla="*/ 3013437 h 3498714"/>
                <a:gd name="connsiteX18" fmla="*/ 2052754 w 6499257"/>
                <a:gd name="connsiteY18" fmla="*/ 2902312 h 3498714"/>
                <a:gd name="connsiteX19" fmla="*/ 4492583 w 6499257"/>
                <a:gd name="connsiteY19" fmla="*/ 2089512 h 3498714"/>
                <a:gd name="connsiteX20" fmla="*/ 4311608 w 6499257"/>
                <a:gd name="connsiteY20" fmla="*/ 2270487 h 3498714"/>
                <a:gd name="connsiteX21" fmla="*/ 4492583 w 6499257"/>
                <a:gd name="connsiteY21" fmla="*/ 2451462 h 3498714"/>
                <a:gd name="connsiteX22" fmla="*/ 5407618 w 6499257"/>
                <a:gd name="connsiteY22" fmla="*/ 2468742 h 3498714"/>
                <a:gd name="connsiteX23" fmla="*/ 6498753 w 6499257"/>
                <a:gd name="connsiteY23" fmla="*/ 2404799 h 3498714"/>
                <a:gd name="connsiteX24" fmla="*/ 5268722 w 6499257"/>
                <a:gd name="connsiteY24" fmla="*/ 1972085 h 3498714"/>
                <a:gd name="connsiteX25" fmla="*/ 4492583 w 6499257"/>
                <a:gd name="connsiteY25" fmla="*/ 2089512 h 3498714"/>
                <a:gd name="connsiteX26" fmla="*/ 2979061 w 6499257"/>
                <a:gd name="connsiteY26" fmla="*/ 2089512 h 3498714"/>
                <a:gd name="connsiteX27" fmla="*/ 2671086 w 6499257"/>
                <a:gd name="connsiteY27" fmla="*/ 2397487 h 3498714"/>
                <a:gd name="connsiteX28" fmla="*/ 2671086 w 6499257"/>
                <a:gd name="connsiteY28" fmla="*/ 2584811 h 3498714"/>
                <a:gd name="connsiteX29" fmla="*/ 4083961 w 6499257"/>
                <a:gd name="connsiteY29" fmla="*/ 2584811 h 3498714"/>
                <a:gd name="connsiteX30" fmla="*/ 4083961 w 6499257"/>
                <a:gd name="connsiteY30" fmla="*/ 2397487 h 3498714"/>
                <a:gd name="connsiteX31" fmla="*/ 3775986 w 6499257"/>
                <a:gd name="connsiteY31" fmla="*/ 2089512 h 3498714"/>
                <a:gd name="connsiteX32" fmla="*/ 2979061 w 6499257"/>
                <a:gd name="connsiteY32" fmla="*/ 2089512 h 3498714"/>
                <a:gd name="connsiteX33" fmla="*/ 2251033 w 6499257"/>
                <a:gd name="connsiteY33" fmla="*/ 2089512 h 3498714"/>
                <a:gd name="connsiteX34" fmla="*/ 2070058 w 6499257"/>
                <a:gd name="connsiteY34" fmla="*/ 2270487 h 3498714"/>
                <a:gd name="connsiteX35" fmla="*/ 2251033 w 6499257"/>
                <a:gd name="connsiteY35" fmla="*/ 2451462 h 3498714"/>
                <a:gd name="connsiteX36" fmla="*/ 2432008 w 6499257"/>
                <a:gd name="connsiteY36" fmla="*/ 2270487 h 3498714"/>
                <a:gd name="connsiteX37" fmla="*/ 2251033 w 6499257"/>
                <a:gd name="connsiteY37" fmla="*/ 2089512 h 3498714"/>
                <a:gd name="connsiteX38" fmla="*/ 2651061 w 6499257"/>
                <a:gd name="connsiteY38" fmla="*/ 1167548 h 3498714"/>
                <a:gd name="connsiteX39" fmla="*/ 2392797 w 6499257"/>
                <a:gd name="connsiteY39" fmla="*/ 1878907 h 3498714"/>
                <a:gd name="connsiteX40" fmla="*/ 2478781 w 6499257"/>
                <a:gd name="connsiteY40" fmla="*/ 1920808 h 3498714"/>
                <a:gd name="connsiteX41" fmla="*/ 2842751 w 6499257"/>
                <a:gd name="connsiteY41" fmla="*/ 1749356 h 3498714"/>
                <a:gd name="connsiteX42" fmla="*/ 3912296 w 6499257"/>
                <a:gd name="connsiteY42" fmla="*/ 1749356 h 3498714"/>
                <a:gd name="connsiteX43" fmla="*/ 4277738 w 6499257"/>
                <a:gd name="connsiteY43" fmla="*/ 1922593 h 3498714"/>
                <a:gd name="connsiteX44" fmla="*/ 4370569 w 6499257"/>
                <a:gd name="connsiteY44" fmla="*/ 1877441 h 3498714"/>
                <a:gd name="connsiteX45" fmla="*/ 4112835 w 6499257"/>
                <a:gd name="connsiteY45" fmla="*/ 1167548 h 3498714"/>
                <a:gd name="connsiteX46" fmla="*/ 2651061 w 6499257"/>
                <a:gd name="connsiteY46" fmla="*/ 1167548 h 3498714"/>
                <a:gd name="connsiteX47" fmla="*/ 2534724 w 6499257"/>
                <a:gd name="connsiteY47" fmla="*/ 982297 h 3498714"/>
                <a:gd name="connsiteX48" fmla="*/ 4229172 w 6499257"/>
                <a:gd name="connsiteY48" fmla="*/ 982297 h 3498714"/>
                <a:gd name="connsiteX49" fmla="*/ 4546612 w 6499257"/>
                <a:gd name="connsiteY49" fmla="*/ 1856643 h 3498714"/>
                <a:gd name="connsiteX50" fmla="*/ 4936448 w 6499257"/>
                <a:gd name="connsiteY50" fmla="*/ 2279217 h 3498714"/>
                <a:gd name="connsiteX51" fmla="*/ 4802103 w 6499257"/>
                <a:gd name="connsiteY51" fmla="*/ 2588456 h 3498714"/>
                <a:gd name="connsiteX52" fmla="*/ 4904699 w 6499257"/>
                <a:gd name="connsiteY52" fmla="*/ 2705462 h 3498714"/>
                <a:gd name="connsiteX53" fmla="*/ 4904698 w 6499257"/>
                <a:gd name="connsiteY53" fmla="*/ 2705462 h 3498714"/>
                <a:gd name="connsiteX54" fmla="*/ 4784047 w 6499257"/>
                <a:gd name="connsiteY54" fmla="*/ 2826113 h 3498714"/>
                <a:gd name="connsiteX55" fmla="*/ 1970999 w 6499257"/>
                <a:gd name="connsiteY55" fmla="*/ 2826112 h 3498714"/>
                <a:gd name="connsiteX56" fmla="*/ 1850348 w 6499257"/>
                <a:gd name="connsiteY56" fmla="*/ 2705462 h 3498714"/>
                <a:gd name="connsiteX57" fmla="*/ 1956769 w 6499257"/>
                <a:gd name="connsiteY57" fmla="*/ 2587684 h 3498714"/>
                <a:gd name="connsiteX58" fmla="*/ 1823360 w 6499257"/>
                <a:gd name="connsiteY58" fmla="*/ 2279217 h 3498714"/>
                <a:gd name="connsiteX59" fmla="*/ 2217440 w 6499257"/>
                <a:gd name="connsiteY59" fmla="*/ 1856216 h 3498714"/>
                <a:gd name="connsiteX60" fmla="*/ 2534724 w 6499257"/>
                <a:gd name="connsiteY60" fmla="*/ 982297 h 3498714"/>
                <a:gd name="connsiteX61" fmla="*/ 358791 w 6499257"/>
                <a:gd name="connsiteY61" fmla="*/ 644545 h 3498714"/>
                <a:gd name="connsiteX62" fmla="*/ 1006774 w 6499257"/>
                <a:gd name="connsiteY62" fmla="*/ 644545 h 3498714"/>
                <a:gd name="connsiteX63" fmla="*/ 1542636 w 6499257"/>
                <a:gd name="connsiteY63" fmla="*/ 1193969 h 3498714"/>
                <a:gd name="connsiteX64" fmla="*/ 1929878 w 6499257"/>
                <a:gd name="connsiteY64" fmla="*/ 1193970 h 3498714"/>
                <a:gd name="connsiteX65" fmla="*/ 2070059 w 6499257"/>
                <a:gd name="connsiteY65" fmla="*/ 1334152 h 3498714"/>
                <a:gd name="connsiteX66" fmla="*/ 1929878 w 6499257"/>
                <a:gd name="connsiteY66" fmla="*/ 1474333 h 3498714"/>
                <a:gd name="connsiteX67" fmla="*/ 1520943 w 6499257"/>
                <a:gd name="connsiteY67" fmla="*/ 1470388 h 3498714"/>
                <a:gd name="connsiteX68" fmla="*/ 1332825 w 6499257"/>
                <a:gd name="connsiteY68" fmla="*/ 1367201 h 3498714"/>
                <a:gd name="connsiteX69" fmla="*/ 1106501 w 6499257"/>
                <a:gd name="connsiteY69" fmla="*/ 1098289 h 3498714"/>
                <a:gd name="connsiteX70" fmla="*/ 1101049 w 6499257"/>
                <a:gd name="connsiteY70" fmla="*/ 1092836 h 3498714"/>
                <a:gd name="connsiteX71" fmla="*/ 1046523 w 6499257"/>
                <a:gd name="connsiteY71" fmla="*/ 1092836 h 3498714"/>
                <a:gd name="connsiteX72" fmla="*/ 1041071 w 6499257"/>
                <a:gd name="connsiteY72" fmla="*/ 1098289 h 3498714"/>
                <a:gd name="connsiteX73" fmla="*/ 1042136 w 6499257"/>
                <a:gd name="connsiteY73" fmla="*/ 1419754 h 3498714"/>
                <a:gd name="connsiteX74" fmla="*/ 1042136 w 6499257"/>
                <a:gd name="connsiteY74" fmla="*/ 3337652 h 3498714"/>
                <a:gd name="connsiteX75" fmla="*/ 881075 w 6499257"/>
                <a:gd name="connsiteY75" fmla="*/ 3498714 h 3498714"/>
                <a:gd name="connsiteX76" fmla="*/ 720012 w 6499257"/>
                <a:gd name="connsiteY76" fmla="*/ 3337652 h 3498714"/>
                <a:gd name="connsiteX77" fmla="*/ 720012 w 6499257"/>
                <a:gd name="connsiteY77" fmla="*/ 2125717 h 3498714"/>
                <a:gd name="connsiteX78" fmla="*/ 718947 w 6499257"/>
                <a:gd name="connsiteY78" fmla="*/ 2033194 h 3498714"/>
                <a:gd name="connsiteX79" fmla="*/ 714162 w 6499257"/>
                <a:gd name="connsiteY79" fmla="*/ 2028410 h 3498714"/>
                <a:gd name="connsiteX80" fmla="*/ 654759 w 6499257"/>
                <a:gd name="connsiteY80" fmla="*/ 2028410 h 3498714"/>
                <a:gd name="connsiteX81" fmla="*/ 649974 w 6499257"/>
                <a:gd name="connsiteY81" fmla="*/ 2033194 h 3498714"/>
                <a:gd name="connsiteX82" fmla="*/ 649974 w 6499257"/>
                <a:gd name="connsiteY82" fmla="*/ 2125717 h 3498714"/>
                <a:gd name="connsiteX83" fmla="*/ 649574 w 6499257"/>
                <a:gd name="connsiteY83" fmla="*/ 3337652 h 3498714"/>
                <a:gd name="connsiteX84" fmla="*/ 488511 w 6499257"/>
                <a:gd name="connsiteY84" fmla="*/ 3498714 h 3498714"/>
                <a:gd name="connsiteX85" fmla="*/ 327450 w 6499257"/>
                <a:gd name="connsiteY85" fmla="*/ 3337652 h 3498714"/>
                <a:gd name="connsiteX86" fmla="*/ 327450 w 6499257"/>
                <a:gd name="connsiteY86" fmla="*/ 1458216 h 3498714"/>
                <a:gd name="connsiteX87" fmla="*/ 322427 w 6499257"/>
                <a:gd name="connsiteY87" fmla="*/ 1098205 h 3498714"/>
                <a:gd name="connsiteX88" fmla="*/ 317058 w 6499257"/>
                <a:gd name="connsiteY88" fmla="*/ 1092836 h 3498714"/>
                <a:gd name="connsiteX89" fmla="*/ 263371 w 6499257"/>
                <a:gd name="connsiteY89" fmla="*/ 1092836 h 3498714"/>
                <a:gd name="connsiteX90" fmla="*/ 258001 w 6499257"/>
                <a:gd name="connsiteY90" fmla="*/ 1098205 h 3498714"/>
                <a:gd name="connsiteX91" fmla="*/ 258001 w 6499257"/>
                <a:gd name="connsiteY91" fmla="*/ 1444446 h 3498714"/>
                <a:gd name="connsiteX92" fmla="*/ 257700 w 6499257"/>
                <a:gd name="connsiteY92" fmla="*/ 1444370 h 3498714"/>
                <a:gd name="connsiteX93" fmla="*/ 257700 w 6499257"/>
                <a:gd name="connsiteY93" fmla="*/ 1912573 h 3498714"/>
                <a:gd name="connsiteX94" fmla="*/ 128850 w 6499257"/>
                <a:gd name="connsiteY94" fmla="*/ 2041423 h 3498714"/>
                <a:gd name="connsiteX95" fmla="*/ 0 w 6499257"/>
                <a:gd name="connsiteY95" fmla="*/ 1912573 h 3498714"/>
                <a:gd name="connsiteX96" fmla="*/ 0 w 6499257"/>
                <a:gd name="connsiteY96" fmla="*/ 1101802 h 3498714"/>
                <a:gd name="connsiteX97" fmla="*/ 0 w 6499257"/>
                <a:gd name="connsiteY97" fmla="*/ 1003338 h 3498714"/>
                <a:gd name="connsiteX98" fmla="*/ 0 w 6499257"/>
                <a:gd name="connsiteY98" fmla="*/ 982486 h 3498714"/>
                <a:gd name="connsiteX99" fmla="*/ 12733 w 6499257"/>
                <a:gd name="connsiteY99" fmla="*/ 894663 h 3498714"/>
                <a:gd name="connsiteX100" fmla="*/ 20539 w 6499257"/>
                <a:gd name="connsiteY100" fmla="*/ 868773 h 3498714"/>
                <a:gd name="connsiteX101" fmla="*/ 358791 w 6499257"/>
                <a:gd name="connsiteY101" fmla="*/ 644545 h 3498714"/>
                <a:gd name="connsiteX102" fmla="*/ 682782 w 6499257"/>
                <a:gd name="connsiteY102" fmla="*/ 0 h 3498714"/>
                <a:gd name="connsiteX103" fmla="*/ 966919 w 6499257"/>
                <a:gd name="connsiteY103" fmla="*/ 284138 h 3498714"/>
                <a:gd name="connsiteX104" fmla="*/ 682782 w 6499257"/>
                <a:gd name="connsiteY104" fmla="*/ 568275 h 3498714"/>
                <a:gd name="connsiteX105" fmla="*/ 398645 w 6499257"/>
                <a:gd name="connsiteY105" fmla="*/ 284138 h 3498714"/>
                <a:gd name="connsiteX106" fmla="*/ 682782 w 6499257"/>
                <a:gd name="connsiteY106" fmla="*/ 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651061 w 6499257"/>
                <a:gd name="connsiteY12" fmla="*/ 1167548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3912296 w 6499257"/>
                <a:gd name="connsiteY16" fmla="*/ 1749356 h 3498714"/>
                <a:gd name="connsiteX17" fmla="*/ 4277738 w 6499257"/>
                <a:gd name="connsiteY17" fmla="*/ 1922593 h 3498714"/>
                <a:gd name="connsiteX18" fmla="*/ 4370569 w 6499257"/>
                <a:gd name="connsiteY18" fmla="*/ 1877441 h 3498714"/>
                <a:gd name="connsiteX19" fmla="*/ 4112835 w 6499257"/>
                <a:gd name="connsiteY19" fmla="*/ 1167548 h 3498714"/>
                <a:gd name="connsiteX20" fmla="*/ 2651061 w 6499257"/>
                <a:gd name="connsiteY20" fmla="*/ 1167548 h 3498714"/>
                <a:gd name="connsiteX21" fmla="*/ 2534724 w 6499257"/>
                <a:gd name="connsiteY21" fmla="*/ 982297 h 3498714"/>
                <a:gd name="connsiteX22" fmla="*/ 4229172 w 6499257"/>
                <a:gd name="connsiteY22" fmla="*/ 982297 h 3498714"/>
                <a:gd name="connsiteX23" fmla="*/ 4546612 w 6499257"/>
                <a:gd name="connsiteY23" fmla="*/ 1856643 h 3498714"/>
                <a:gd name="connsiteX24" fmla="*/ 4936448 w 6499257"/>
                <a:gd name="connsiteY24" fmla="*/ 2279217 h 3498714"/>
                <a:gd name="connsiteX25" fmla="*/ 4802103 w 6499257"/>
                <a:gd name="connsiteY25" fmla="*/ 2588456 h 3498714"/>
                <a:gd name="connsiteX26" fmla="*/ 4904699 w 6499257"/>
                <a:gd name="connsiteY26" fmla="*/ 2705462 h 3498714"/>
                <a:gd name="connsiteX27" fmla="*/ 4904698 w 6499257"/>
                <a:gd name="connsiteY27" fmla="*/ 2705462 h 3498714"/>
                <a:gd name="connsiteX28" fmla="*/ 4784047 w 6499257"/>
                <a:gd name="connsiteY28" fmla="*/ 2826113 h 3498714"/>
                <a:gd name="connsiteX29" fmla="*/ 1970999 w 6499257"/>
                <a:gd name="connsiteY29" fmla="*/ 2826112 h 3498714"/>
                <a:gd name="connsiteX30" fmla="*/ 1850348 w 6499257"/>
                <a:gd name="connsiteY30" fmla="*/ 2705462 h 3498714"/>
                <a:gd name="connsiteX31" fmla="*/ 1956769 w 6499257"/>
                <a:gd name="connsiteY31" fmla="*/ 2587684 h 3498714"/>
                <a:gd name="connsiteX32" fmla="*/ 1823360 w 6499257"/>
                <a:gd name="connsiteY32" fmla="*/ 2279217 h 3498714"/>
                <a:gd name="connsiteX33" fmla="*/ 2217440 w 6499257"/>
                <a:gd name="connsiteY33" fmla="*/ 1856216 h 3498714"/>
                <a:gd name="connsiteX34" fmla="*/ 2534724 w 6499257"/>
                <a:gd name="connsiteY34" fmla="*/ 982297 h 3498714"/>
                <a:gd name="connsiteX35" fmla="*/ 358791 w 6499257"/>
                <a:gd name="connsiteY35" fmla="*/ 644545 h 3498714"/>
                <a:gd name="connsiteX36" fmla="*/ 1006774 w 6499257"/>
                <a:gd name="connsiteY36" fmla="*/ 644545 h 3498714"/>
                <a:gd name="connsiteX37" fmla="*/ 1542636 w 6499257"/>
                <a:gd name="connsiteY37" fmla="*/ 1193969 h 3498714"/>
                <a:gd name="connsiteX38" fmla="*/ 1929878 w 6499257"/>
                <a:gd name="connsiteY38" fmla="*/ 1193970 h 3498714"/>
                <a:gd name="connsiteX39" fmla="*/ 2070059 w 6499257"/>
                <a:gd name="connsiteY39" fmla="*/ 1334152 h 3498714"/>
                <a:gd name="connsiteX40" fmla="*/ 1929878 w 6499257"/>
                <a:gd name="connsiteY40" fmla="*/ 1474333 h 3498714"/>
                <a:gd name="connsiteX41" fmla="*/ 1520943 w 6499257"/>
                <a:gd name="connsiteY41" fmla="*/ 1470388 h 3498714"/>
                <a:gd name="connsiteX42" fmla="*/ 1332825 w 6499257"/>
                <a:gd name="connsiteY42" fmla="*/ 1367201 h 3498714"/>
                <a:gd name="connsiteX43" fmla="*/ 1106501 w 6499257"/>
                <a:gd name="connsiteY43" fmla="*/ 1098289 h 3498714"/>
                <a:gd name="connsiteX44" fmla="*/ 1101049 w 6499257"/>
                <a:gd name="connsiteY44" fmla="*/ 1092836 h 3498714"/>
                <a:gd name="connsiteX45" fmla="*/ 1046523 w 6499257"/>
                <a:gd name="connsiteY45" fmla="*/ 1092836 h 3498714"/>
                <a:gd name="connsiteX46" fmla="*/ 1041071 w 6499257"/>
                <a:gd name="connsiteY46" fmla="*/ 1098289 h 3498714"/>
                <a:gd name="connsiteX47" fmla="*/ 1042136 w 6499257"/>
                <a:gd name="connsiteY47" fmla="*/ 1419754 h 3498714"/>
                <a:gd name="connsiteX48" fmla="*/ 1042136 w 6499257"/>
                <a:gd name="connsiteY48" fmla="*/ 3337652 h 3498714"/>
                <a:gd name="connsiteX49" fmla="*/ 881075 w 6499257"/>
                <a:gd name="connsiteY49" fmla="*/ 3498714 h 3498714"/>
                <a:gd name="connsiteX50" fmla="*/ 720012 w 6499257"/>
                <a:gd name="connsiteY50" fmla="*/ 3337652 h 3498714"/>
                <a:gd name="connsiteX51" fmla="*/ 720012 w 6499257"/>
                <a:gd name="connsiteY51" fmla="*/ 2125717 h 3498714"/>
                <a:gd name="connsiteX52" fmla="*/ 718947 w 6499257"/>
                <a:gd name="connsiteY52" fmla="*/ 2033194 h 3498714"/>
                <a:gd name="connsiteX53" fmla="*/ 714162 w 6499257"/>
                <a:gd name="connsiteY53" fmla="*/ 2028410 h 3498714"/>
                <a:gd name="connsiteX54" fmla="*/ 654759 w 6499257"/>
                <a:gd name="connsiteY54" fmla="*/ 2028410 h 3498714"/>
                <a:gd name="connsiteX55" fmla="*/ 649974 w 6499257"/>
                <a:gd name="connsiteY55" fmla="*/ 2033194 h 3498714"/>
                <a:gd name="connsiteX56" fmla="*/ 649974 w 6499257"/>
                <a:gd name="connsiteY56" fmla="*/ 2125717 h 3498714"/>
                <a:gd name="connsiteX57" fmla="*/ 649574 w 6499257"/>
                <a:gd name="connsiteY57" fmla="*/ 3337652 h 3498714"/>
                <a:gd name="connsiteX58" fmla="*/ 488511 w 6499257"/>
                <a:gd name="connsiteY58" fmla="*/ 3498714 h 3498714"/>
                <a:gd name="connsiteX59" fmla="*/ 327450 w 6499257"/>
                <a:gd name="connsiteY59" fmla="*/ 3337652 h 3498714"/>
                <a:gd name="connsiteX60" fmla="*/ 327450 w 6499257"/>
                <a:gd name="connsiteY60" fmla="*/ 1458216 h 3498714"/>
                <a:gd name="connsiteX61" fmla="*/ 322427 w 6499257"/>
                <a:gd name="connsiteY61" fmla="*/ 1098205 h 3498714"/>
                <a:gd name="connsiteX62" fmla="*/ 317058 w 6499257"/>
                <a:gd name="connsiteY62" fmla="*/ 1092836 h 3498714"/>
                <a:gd name="connsiteX63" fmla="*/ 263371 w 6499257"/>
                <a:gd name="connsiteY63" fmla="*/ 1092836 h 3498714"/>
                <a:gd name="connsiteX64" fmla="*/ 258001 w 6499257"/>
                <a:gd name="connsiteY64" fmla="*/ 1098205 h 3498714"/>
                <a:gd name="connsiteX65" fmla="*/ 258001 w 6499257"/>
                <a:gd name="connsiteY65" fmla="*/ 1444446 h 3498714"/>
                <a:gd name="connsiteX66" fmla="*/ 257700 w 6499257"/>
                <a:gd name="connsiteY66" fmla="*/ 1444370 h 3498714"/>
                <a:gd name="connsiteX67" fmla="*/ 257700 w 6499257"/>
                <a:gd name="connsiteY67" fmla="*/ 1912573 h 3498714"/>
                <a:gd name="connsiteX68" fmla="*/ 128850 w 6499257"/>
                <a:gd name="connsiteY68" fmla="*/ 2041423 h 3498714"/>
                <a:gd name="connsiteX69" fmla="*/ 0 w 6499257"/>
                <a:gd name="connsiteY69" fmla="*/ 1912573 h 3498714"/>
                <a:gd name="connsiteX70" fmla="*/ 0 w 6499257"/>
                <a:gd name="connsiteY70" fmla="*/ 1101802 h 3498714"/>
                <a:gd name="connsiteX71" fmla="*/ 0 w 6499257"/>
                <a:gd name="connsiteY71" fmla="*/ 1003338 h 3498714"/>
                <a:gd name="connsiteX72" fmla="*/ 0 w 6499257"/>
                <a:gd name="connsiteY72" fmla="*/ 982486 h 3498714"/>
                <a:gd name="connsiteX73" fmla="*/ 12733 w 6499257"/>
                <a:gd name="connsiteY73" fmla="*/ 894663 h 3498714"/>
                <a:gd name="connsiteX74" fmla="*/ 20539 w 6499257"/>
                <a:gd name="connsiteY74" fmla="*/ 868773 h 3498714"/>
                <a:gd name="connsiteX75" fmla="*/ 358791 w 6499257"/>
                <a:gd name="connsiteY75" fmla="*/ 644545 h 3498714"/>
                <a:gd name="connsiteX76" fmla="*/ 682782 w 6499257"/>
                <a:gd name="connsiteY76" fmla="*/ 0 h 3498714"/>
                <a:gd name="connsiteX77" fmla="*/ 966919 w 6499257"/>
                <a:gd name="connsiteY77" fmla="*/ 284138 h 3498714"/>
                <a:gd name="connsiteX78" fmla="*/ 682782 w 6499257"/>
                <a:gd name="connsiteY78" fmla="*/ 568275 h 3498714"/>
                <a:gd name="connsiteX79" fmla="*/ 398645 w 6499257"/>
                <a:gd name="connsiteY79" fmla="*/ 284138 h 3498714"/>
                <a:gd name="connsiteX80" fmla="*/ 682782 w 6499257"/>
                <a:gd name="connsiteY80" fmla="*/ 0 h 3498714"/>
                <a:gd name="connsiteX81" fmla="*/ 4707054 w 6499257"/>
                <a:gd name="connsiteY81" fmla="*/ 2902312 h 3498714"/>
                <a:gd name="connsiteX82" fmla="*/ 4818179 w 6499257"/>
                <a:gd name="connsiteY82" fmla="*/ 3013437 h 3498714"/>
                <a:gd name="connsiteX83" fmla="*/ 4707054 w 6499257"/>
                <a:gd name="connsiteY83" fmla="*/ 3124562 h 3498714"/>
                <a:gd name="connsiteX84" fmla="*/ 4545125 w 6499257"/>
                <a:gd name="connsiteY84" fmla="*/ 3124562 h 3498714"/>
                <a:gd name="connsiteX85" fmla="*/ 4545125 w 6499257"/>
                <a:gd name="connsiteY85" fmla="*/ 3361625 h 3498714"/>
                <a:gd name="connsiteX86" fmla="*/ 4436113 w 6499257"/>
                <a:gd name="connsiteY86" fmla="*/ 3470637 h 3498714"/>
                <a:gd name="connsiteX87" fmla="*/ 4235039 w 6499257"/>
                <a:gd name="connsiteY87" fmla="*/ 3470637 h 3498714"/>
                <a:gd name="connsiteX88" fmla="*/ 4126027 w 6499257"/>
                <a:gd name="connsiteY88" fmla="*/ 3361625 h 3498714"/>
                <a:gd name="connsiteX89" fmla="*/ 4126027 w 6499257"/>
                <a:gd name="connsiteY89" fmla="*/ 3124562 h 3498714"/>
                <a:gd name="connsiteX90" fmla="*/ 2589325 w 6499257"/>
                <a:gd name="connsiteY90" fmla="*/ 3124562 h 3498714"/>
                <a:gd name="connsiteX91" fmla="*/ 2589325 w 6499257"/>
                <a:gd name="connsiteY91" fmla="*/ 3361625 h 3498714"/>
                <a:gd name="connsiteX92" fmla="*/ 2480313 w 6499257"/>
                <a:gd name="connsiteY92" fmla="*/ 3470637 h 3498714"/>
                <a:gd name="connsiteX93" fmla="*/ 2279239 w 6499257"/>
                <a:gd name="connsiteY93" fmla="*/ 3470637 h 3498714"/>
                <a:gd name="connsiteX94" fmla="*/ 2170227 w 6499257"/>
                <a:gd name="connsiteY94" fmla="*/ 3361625 h 3498714"/>
                <a:gd name="connsiteX95" fmla="*/ 2170227 w 6499257"/>
                <a:gd name="connsiteY95" fmla="*/ 3124562 h 3498714"/>
                <a:gd name="connsiteX96" fmla="*/ 2052754 w 6499257"/>
                <a:gd name="connsiteY96" fmla="*/ 3124562 h 3498714"/>
                <a:gd name="connsiteX97" fmla="*/ 1941629 w 6499257"/>
                <a:gd name="connsiteY97" fmla="*/ 3013437 h 3498714"/>
                <a:gd name="connsiteX98" fmla="*/ 2052754 w 6499257"/>
                <a:gd name="connsiteY98" fmla="*/ 2902312 h 3498714"/>
                <a:gd name="connsiteX99" fmla="*/ 4492583 w 6499257"/>
                <a:gd name="connsiteY99" fmla="*/ 2089512 h 3498714"/>
                <a:gd name="connsiteX100" fmla="*/ 4311608 w 6499257"/>
                <a:gd name="connsiteY100" fmla="*/ 2270487 h 3498714"/>
                <a:gd name="connsiteX101" fmla="*/ 4492583 w 6499257"/>
                <a:gd name="connsiteY101" fmla="*/ 2451462 h 3498714"/>
                <a:gd name="connsiteX102" fmla="*/ 5407618 w 6499257"/>
                <a:gd name="connsiteY102" fmla="*/ 2468742 h 3498714"/>
                <a:gd name="connsiteX103" fmla="*/ 6498753 w 6499257"/>
                <a:gd name="connsiteY103" fmla="*/ 2404799 h 3498714"/>
                <a:gd name="connsiteX104" fmla="*/ 5388995 w 6499257"/>
                <a:gd name="connsiteY104"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651061 w 6499257"/>
                <a:gd name="connsiteY12" fmla="*/ 1167548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4277738 w 6499257"/>
                <a:gd name="connsiteY16" fmla="*/ 1922593 h 3498714"/>
                <a:gd name="connsiteX17" fmla="*/ 4370569 w 6499257"/>
                <a:gd name="connsiteY17" fmla="*/ 1877441 h 3498714"/>
                <a:gd name="connsiteX18" fmla="*/ 4112835 w 6499257"/>
                <a:gd name="connsiteY18" fmla="*/ 1167548 h 3498714"/>
                <a:gd name="connsiteX19" fmla="*/ 2651061 w 6499257"/>
                <a:gd name="connsiteY19" fmla="*/ 1167548 h 3498714"/>
                <a:gd name="connsiteX20" fmla="*/ 2534724 w 6499257"/>
                <a:gd name="connsiteY20" fmla="*/ 982297 h 3498714"/>
                <a:gd name="connsiteX21" fmla="*/ 4229172 w 6499257"/>
                <a:gd name="connsiteY21" fmla="*/ 982297 h 3498714"/>
                <a:gd name="connsiteX22" fmla="*/ 4546612 w 6499257"/>
                <a:gd name="connsiteY22" fmla="*/ 1856643 h 3498714"/>
                <a:gd name="connsiteX23" fmla="*/ 4936448 w 6499257"/>
                <a:gd name="connsiteY23" fmla="*/ 2279217 h 3498714"/>
                <a:gd name="connsiteX24" fmla="*/ 4802103 w 6499257"/>
                <a:gd name="connsiteY24" fmla="*/ 2588456 h 3498714"/>
                <a:gd name="connsiteX25" fmla="*/ 4904699 w 6499257"/>
                <a:gd name="connsiteY25" fmla="*/ 2705462 h 3498714"/>
                <a:gd name="connsiteX26" fmla="*/ 4904698 w 6499257"/>
                <a:gd name="connsiteY26" fmla="*/ 2705462 h 3498714"/>
                <a:gd name="connsiteX27" fmla="*/ 4784047 w 6499257"/>
                <a:gd name="connsiteY27" fmla="*/ 2826113 h 3498714"/>
                <a:gd name="connsiteX28" fmla="*/ 1970999 w 6499257"/>
                <a:gd name="connsiteY28" fmla="*/ 2826112 h 3498714"/>
                <a:gd name="connsiteX29" fmla="*/ 1850348 w 6499257"/>
                <a:gd name="connsiteY29" fmla="*/ 2705462 h 3498714"/>
                <a:gd name="connsiteX30" fmla="*/ 1956769 w 6499257"/>
                <a:gd name="connsiteY30" fmla="*/ 2587684 h 3498714"/>
                <a:gd name="connsiteX31" fmla="*/ 1823360 w 6499257"/>
                <a:gd name="connsiteY31" fmla="*/ 2279217 h 3498714"/>
                <a:gd name="connsiteX32" fmla="*/ 2217440 w 6499257"/>
                <a:gd name="connsiteY32" fmla="*/ 1856216 h 3498714"/>
                <a:gd name="connsiteX33" fmla="*/ 2534724 w 6499257"/>
                <a:gd name="connsiteY33" fmla="*/ 982297 h 3498714"/>
                <a:gd name="connsiteX34" fmla="*/ 358791 w 6499257"/>
                <a:gd name="connsiteY34" fmla="*/ 644545 h 3498714"/>
                <a:gd name="connsiteX35" fmla="*/ 1006774 w 6499257"/>
                <a:gd name="connsiteY35" fmla="*/ 644545 h 3498714"/>
                <a:gd name="connsiteX36" fmla="*/ 1542636 w 6499257"/>
                <a:gd name="connsiteY36" fmla="*/ 1193969 h 3498714"/>
                <a:gd name="connsiteX37" fmla="*/ 1929878 w 6499257"/>
                <a:gd name="connsiteY37" fmla="*/ 1193970 h 3498714"/>
                <a:gd name="connsiteX38" fmla="*/ 2070059 w 6499257"/>
                <a:gd name="connsiteY38" fmla="*/ 1334152 h 3498714"/>
                <a:gd name="connsiteX39" fmla="*/ 1929878 w 6499257"/>
                <a:gd name="connsiteY39" fmla="*/ 1474333 h 3498714"/>
                <a:gd name="connsiteX40" fmla="*/ 1520943 w 6499257"/>
                <a:gd name="connsiteY40" fmla="*/ 1470388 h 3498714"/>
                <a:gd name="connsiteX41" fmla="*/ 1332825 w 6499257"/>
                <a:gd name="connsiteY41" fmla="*/ 1367201 h 3498714"/>
                <a:gd name="connsiteX42" fmla="*/ 1106501 w 6499257"/>
                <a:gd name="connsiteY42" fmla="*/ 1098289 h 3498714"/>
                <a:gd name="connsiteX43" fmla="*/ 1101049 w 6499257"/>
                <a:gd name="connsiteY43" fmla="*/ 1092836 h 3498714"/>
                <a:gd name="connsiteX44" fmla="*/ 1046523 w 6499257"/>
                <a:gd name="connsiteY44" fmla="*/ 1092836 h 3498714"/>
                <a:gd name="connsiteX45" fmla="*/ 1041071 w 6499257"/>
                <a:gd name="connsiteY45" fmla="*/ 1098289 h 3498714"/>
                <a:gd name="connsiteX46" fmla="*/ 1042136 w 6499257"/>
                <a:gd name="connsiteY46" fmla="*/ 1419754 h 3498714"/>
                <a:gd name="connsiteX47" fmla="*/ 1042136 w 6499257"/>
                <a:gd name="connsiteY47" fmla="*/ 3337652 h 3498714"/>
                <a:gd name="connsiteX48" fmla="*/ 881075 w 6499257"/>
                <a:gd name="connsiteY48" fmla="*/ 3498714 h 3498714"/>
                <a:gd name="connsiteX49" fmla="*/ 720012 w 6499257"/>
                <a:gd name="connsiteY49" fmla="*/ 3337652 h 3498714"/>
                <a:gd name="connsiteX50" fmla="*/ 720012 w 6499257"/>
                <a:gd name="connsiteY50" fmla="*/ 2125717 h 3498714"/>
                <a:gd name="connsiteX51" fmla="*/ 718947 w 6499257"/>
                <a:gd name="connsiteY51" fmla="*/ 2033194 h 3498714"/>
                <a:gd name="connsiteX52" fmla="*/ 714162 w 6499257"/>
                <a:gd name="connsiteY52" fmla="*/ 2028410 h 3498714"/>
                <a:gd name="connsiteX53" fmla="*/ 654759 w 6499257"/>
                <a:gd name="connsiteY53" fmla="*/ 2028410 h 3498714"/>
                <a:gd name="connsiteX54" fmla="*/ 649974 w 6499257"/>
                <a:gd name="connsiteY54" fmla="*/ 2033194 h 3498714"/>
                <a:gd name="connsiteX55" fmla="*/ 649974 w 6499257"/>
                <a:gd name="connsiteY55" fmla="*/ 2125717 h 3498714"/>
                <a:gd name="connsiteX56" fmla="*/ 649574 w 6499257"/>
                <a:gd name="connsiteY56" fmla="*/ 3337652 h 3498714"/>
                <a:gd name="connsiteX57" fmla="*/ 488511 w 6499257"/>
                <a:gd name="connsiteY57" fmla="*/ 3498714 h 3498714"/>
                <a:gd name="connsiteX58" fmla="*/ 327450 w 6499257"/>
                <a:gd name="connsiteY58" fmla="*/ 3337652 h 3498714"/>
                <a:gd name="connsiteX59" fmla="*/ 327450 w 6499257"/>
                <a:gd name="connsiteY59" fmla="*/ 1458216 h 3498714"/>
                <a:gd name="connsiteX60" fmla="*/ 322427 w 6499257"/>
                <a:gd name="connsiteY60" fmla="*/ 1098205 h 3498714"/>
                <a:gd name="connsiteX61" fmla="*/ 317058 w 6499257"/>
                <a:gd name="connsiteY61" fmla="*/ 1092836 h 3498714"/>
                <a:gd name="connsiteX62" fmla="*/ 263371 w 6499257"/>
                <a:gd name="connsiteY62" fmla="*/ 1092836 h 3498714"/>
                <a:gd name="connsiteX63" fmla="*/ 258001 w 6499257"/>
                <a:gd name="connsiteY63" fmla="*/ 1098205 h 3498714"/>
                <a:gd name="connsiteX64" fmla="*/ 258001 w 6499257"/>
                <a:gd name="connsiteY64" fmla="*/ 1444446 h 3498714"/>
                <a:gd name="connsiteX65" fmla="*/ 257700 w 6499257"/>
                <a:gd name="connsiteY65" fmla="*/ 1444370 h 3498714"/>
                <a:gd name="connsiteX66" fmla="*/ 257700 w 6499257"/>
                <a:gd name="connsiteY66" fmla="*/ 1912573 h 3498714"/>
                <a:gd name="connsiteX67" fmla="*/ 128850 w 6499257"/>
                <a:gd name="connsiteY67" fmla="*/ 2041423 h 3498714"/>
                <a:gd name="connsiteX68" fmla="*/ 0 w 6499257"/>
                <a:gd name="connsiteY68" fmla="*/ 1912573 h 3498714"/>
                <a:gd name="connsiteX69" fmla="*/ 0 w 6499257"/>
                <a:gd name="connsiteY69" fmla="*/ 1101802 h 3498714"/>
                <a:gd name="connsiteX70" fmla="*/ 0 w 6499257"/>
                <a:gd name="connsiteY70" fmla="*/ 1003338 h 3498714"/>
                <a:gd name="connsiteX71" fmla="*/ 0 w 6499257"/>
                <a:gd name="connsiteY71" fmla="*/ 982486 h 3498714"/>
                <a:gd name="connsiteX72" fmla="*/ 12733 w 6499257"/>
                <a:gd name="connsiteY72" fmla="*/ 894663 h 3498714"/>
                <a:gd name="connsiteX73" fmla="*/ 20539 w 6499257"/>
                <a:gd name="connsiteY73" fmla="*/ 868773 h 3498714"/>
                <a:gd name="connsiteX74" fmla="*/ 358791 w 6499257"/>
                <a:gd name="connsiteY74" fmla="*/ 644545 h 3498714"/>
                <a:gd name="connsiteX75" fmla="*/ 682782 w 6499257"/>
                <a:gd name="connsiteY75" fmla="*/ 0 h 3498714"/>
                <a:gd name="connsiteX76" fmla="*/ 966919 w 6499257"/>
                <a:gd name="connsiteY76" fmla="*/ 284138 h 3498714"/>
                <a:gd name="connsiteX77" fmla="*/ 682782 w 6499257"/>
                <a:gd name="connsiteY77" fmla="*/ 568275 h 3498714"/>
                <a:gd name="connsiteX78" fmla="*/ 398645 w 6499257"/>
                <a:gd name="connsiteY78" fmla="*/ 284138 h 3498714"/>
                <a:gd name="connsiteX79" fmla="*/ 682782 w 6499257"/>
                <a:gd name="connsiteY79" fmla="*/ 0 h 3498714"/>
                <a:gd name="connsiteX80" fmla="*/ 4707054 w 6499257"/>
                <a:gd name="connsiteY80" fmla="*/ 2902312 h 3498714"/>
                <a:gd name="connsiteX81" fmla="*/ 4818179 w 6499257"/>
                <a:gd name="connsiteY81" fmla="*/ 3013437 h 3498714"/>
                <a:gd name="connsiteX82" fmla="*/ 4707054 w 6499257"/>
                <a:gd name="connsiteY82" fmla="*/ 3124562 h 3498714"/>
                <a:gd name="connsiteX83" fmla="*/ 4545125 w 6499257"/>
                <a:gd name="connsiteY83" fmla="*/ 3124562 h 3498714"/>
                <a:gd name="connsiteX84" fmla="*/ 4545125 w 6499257"/>
                <a:gd name="connsiteY84" fmla="*/ 3361625 h 3498714"/>
                <a:gd name="connsiteX85" fmla="*/ 4436113 w 6499257"/>
                <a:gd name="connsiteY85" fmla="*/ 3470637 h 3498714"/>
                <a:gd name="connsiteX86" fmla="*/ 4235039 w 6499257"/>
                <a:gd name="connsiteY86" fmla="*/ 3470637 h 3498714"/>
                <a:gd name="connsiteX87" fmla="*/ 4126027 w 6499257"/>
                <a:gd name="connsiteY87" fmla="*/ 3361625 h 3498714"/>
                <a:gd name="connsiteX88" fmla="*/ 4126027 w 6499257"/>
                <a:gd name="connsiteY88" fmla="*/ 3124562 h 3498714"/>
                <a:gd name="connsiteX89" fmla="*/ 2589325 w 6499257"/>
                <a:gd name="connsiteY89" fmla="*/ 3124562 h 3498714"/>
                <a:gd name="connsiteX90" fmla="*/ 2589325 w 6499257"/>
                <a:gd name="connsiteY90" fmla="*/ 3361625 h 3498714"/>
                <a:gd name="connsiteX91" fmla="*/ 2480313 w 6499257"/>
                <a:gd name="connsiteY91" fmla="*/ 3470637 h 3498714"/>
                <a:gd name="connsiteX92" fmla="*/ 2279239 w 6499257"/>
                <a:gd name="connsiteY92" fmla="*/ 3470637 h 3498714"/>
                <a:gd name="connsiteX93" fmla="*/ 2170227 w 6499257"/>
                <a:gd name="connsiteY93" fmla="*/ 3361625 h 3498714"/>
                <a:gd name="connsiteX94" fmla="*/ 2170227 w 6499257"/>
                <a:gd name="connsiteY94" fmla="*/ 3124562 h 3498714"/>
                <a:gd name="connsiteX95" fmla="*/ 2052754 w 6499257"/>
                <a:gd name="connsiteY95" fmla="*/ 3124562 h 3498714"/>
                <a:gd name="connsiteX96" fmla="*/ 1941629 w 6499257"/>
                <a:gd name="connsiteY96" fmla="*/ 3013437 h 3498714"/>
                <a:gd name="connsiteX97" fmla="*/ 2052754 w 6499257"/>
                <a:gd name="connsiteY97" fmla="*/ 2902312 h 3498714"/>
                <a:gd name="connsiteX98" fmla="*/ 682782 w 6499257"/>
                <a:gd name="connsiteY98" fmla="*/ 0 h 3498714"/>
                <a:gd name="connsiteX99" fmla="*/ 4492583 w 6499257"/>
                <a:gd name="connsiteY99" fmla="*/ 2089512 h 3498714"/>
                <a:gd name="connsiteX100" fmla="*/ 4311608 w 6499257"/>
                <a:gd name="connsiteY100" fmla="*/ 2270487 h 3498714"/>
                <a:gd name="connsiteX101" fmla="*/ 4492583 w 6499257"/>
                <a:gd name="connsiteY101" fmla="*/ 2451462 h 3498714"/>
                <a:gd name="connsiteX102" fmla="*/ 5407618 w 6499257"/>
                <a:gd name="connsiteY102" fmla="*/ 2468742 h 3498714"/>
                <a:gd name="connsiteX103" fmla="*/ 6498753 w 6499257"/>
                <a:gd name="connsiteY103" fmla="*/ 2404799 h 3498714"/>
                <a:gd name="connsiteX104" fmla="*/ 5388995 w 6499257"/>
                <a:gd name="connsiteY104"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651061 w 6499257"/>
                <a:gd name="connsiteY12" fmla="*/ 1167548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4277738 w 6499257"/>
                <a:gd name="connsiteY16" fmla="*/ 1922593 h 3498714"/>
                <a:gd name="connsiteX17" fmla="*/ 4370569 w 6499257"/>
                <a:gd name="connsiteY17" fmla="*/ 1877441 h 3498714"/>
                <a:gd name="connsiteX18" fmla="*/ 4112835 w 6499257"/>
                <a:gd name="connsiteY18" fmla="*/ 1167548 h 3498714"/>
                <a:gd name="connsiteX19" fmla="*/ 2651061 w 6499257"/>
                <a:gd name="connsiteY19" fmla="*/ 1167548 h 3498714"/>
                <a:gd name="connsiteX20" fmla="*/ 2534724 w 6499257"/>
                <a:gd name="connsiteY20" fmla="*/ 982297 h 3498714"/>
                <a:gd name="connsiteX21" fmla="*/ 4229172 w 6499257"/>
                <a:gd name="connsiteY21" fmla="*/ 982297 h 3498714"/>
                <a:gd name="connsiteX22" fmla="*/ 4546612 w 6499257"/>
                <a:gd name="connsiteY22" fmla="*/ 1856643 h 3498714"/>
                <a:gd name="connsiteX23" fmla="*/ 4936448 w 6499257"/>
                <a:gd name="connsiteY23" fmla="*/ 2279217 h 3498714"/>
                <a:gd name="connsiteX24" fmla="*/ 4802103 w 6499257"/>
                <a:gd name="connsiteY24" fmla="*/ 2588456 h 3498714"/>
                <a:gd name="connsiteX25" fmla="*/ 4904699 w 6499257"/>
                <a:gd name="connsiteY25" fmla="*/ 2705462 h 3498714"/>
                <a:gd name="connsiteX26" fmla="*/ 4904698 w 6499257"/>
                <a:gd name="connsiteY26" fmla="*/ 2705462 h 3498714"/>
                <a:gd name="connsiteX27" fmla="*/ 4784047 w 6499257"/>
                <a:gd name="connsiteY27" fmla="*/ 2826113 h 3498714"/>
                <a:gd name="connsiteX28" fmla="*/ 1970999 w 6499257"/>
                <a:gd name="connsiteY28" fmla="*/ 2826112 h 3498714"/>
                <a:gd name="connsiteX29" fmla="*/ 1850348 w 6499257"/>
                <a:gd name="connsiteY29" fmla="*/ 2705462 h 3498714"/>
                <a:gd name="connsiteX30" fmla="*/ 1956769 w 6499257"/>
                <a:gd name="connsiteY30" fmla="*/ 2587684 h 3498714"/>
                <a:gd name="connsiteX31" fmla="*/ 1823360 w 6499257"/>
                <a:gd name="connsiteY31" fmla="*/ 2279217 h 3498714"/>
                <a:gd name="connsiteX32" fmla="*/ 2217440 w 6499257"/>
                <a:gd name="connsiteY32" fmla="*/ 1856216 h 3498714"/>
                <a:gd name="connsiteX33" fmla="*/ 2534724 w 6499257"/>
                <a:gd name="connsiteY33" fmla="*/ 982297 h 3498714"/>
                <a:gd name="connsiteX34" fmla="*/ 358791 w 6499257"/>
                <a:gd name="connsiteY34" fmla="*/ 644545 h 3498714"/>
                <a:gd name="connsiteX35" fmla="*/ 1006774 w 6499257"/>
                <a:gd name="connsiteY35" fmla="*/ 644545 h 3498714"/>
                <a:gd name="connsiteX36" fmla="*/ 1542636 w 6499257"/>
                <a:gd name="connsiteY36" fmla="*/ 1193969 h 3498714"/>
                <a:gd name="connsiteX37" fmla="*/ 1929878 w 6499257"/>
                <a:gd name="connsiteY37" fmla="*/ 1193970 h 3498714"/>
                <a:gd name="connsiteX38" fmla="*/ 2070059 w 6499257"/>
                <a:gd name="connsiteY38" fmla="*/ 1334152 h 3498714"/>
                <a:gd name="connsiteX39" fmla="*/ 1929878 w 6499257"/>
                <a:gd name="connsiteY39" fmla="*/ 1474333 h 3498714"/>
                <a:gd name="connsiteX40" fmla="*/ 1520943 w 6499257"/>
                <a:gd name="connsiteY40" fmla="*/ 1470388 h 3498714"/>
                <a:gd name="connsiteX41" fmla="*/ 1332825 w 6499257"/>
                <a:gd name="connsiteY41" fmla="*/ 1367201 h 3498714"/>
                <a:gd name="connsiteX42" fmla="*/ 1106501 w 6499257"/>
                <a:gd name="connsiteY42" fmla="*/ 1098289 h 3498714"/>
                <a:gd name="connsiteX43" fmla="*/ 1101049 w 6499257"/>
                <a:gd name="connsiteY43" fmla="*/ 1092836 h 3498714"/>
                <a:gd name="connsiteX44" fmla="*/ 1046523 w 6499257"/>
                <a:gd name="connsiteY44" fmla="*/ 1092836 h 3498714"/>
                <a:gd name="connsiteX45" fmla="*/ 1041071 w 6499257"/>
                <a:gd name="connsiteY45" fmla="*/ 1098289 h 3498714"/>
                <a:gd name="connsiteX46" fmla="*/ 1042136 w 6499257"/>
                <a:gd name="connsiteY46" fmla="*/ 1419754 h 3498714"/>
                <a:gd name="connsiteX47" fmla="*/ 1042136 w 6499257"/>
                <a:gd name="connsiteY47" fmla="*/ 3337652 h 3498714"/>
                <a:gd name="connsiteX48" fmla="*/ 881075 w 6499257"/>
                <a:gd name="connsiteY48" fmla="*/ 3498714 h 3498714"/>
                <a:gd name="connsiteX49" fmla="*/ 720012 w 6499257"/>
                <a:gd name="connsiteY49" fmla="*/ 3337652 h 3498714"/>
                <a:gd name="connsiteX50" fmla="*/ 720012 w 6499257"/>
                <a:gd name="connsiteY50" fmla="*/ 2125717 h 3498714"/>
                <a:gd name="connsiteX51" fmla="*/ 718947 w 6499257"/>
                <a:gd name="connsiteY51" fmla="*/ 2033194 h 3498714"/>
                <a:gd name="connsiteX52" fmla="*/ 714162 w 6499257"/>
                <a:gd name="connsiteY52" fmla="*/ 2028410 h 3498714"/>
                <a:gd name="connsiteX53" fmla="*/ 654759 w 6499257"/>
                <a:gd name="connsiteY53" fmla="*/ 2028410 h 3498714"/>
                <a:gd name="connsiteX54" fmla="*/ 649974 w 6499257"/>
                <a:gd name="connsiteY54" fmla="*/ 2033194 h 3498714"/>
                <a:gd name="connsiteX55" fmla="*/ 649974 w 6499257"/>
                <a:gd name="connsiteY55" fmla="*/ 2125717 h 3498714"/>
                <a:gd name="connsiteX56" fmla="*/ 649574 w 6499257"/>
                <a:gd name="connsiteY56" fmla="*/ 3337652 h 3498714"/>
                <a:gd name="connsiteX57" fmla="*/ 488511 w 6499257"/>
                <a:gd name="connsiteY57" fmla="*/ 3498714 h 3498714"/>
                <a:gd name="connsiteX58" fmla="*/ 327450 w 6499257"/>
                <a:gd name="connsiteY58" fmla="*/ 3337652 h 3498714"/>
                <a:gd name="connsiteX59" fmla="*/ 327450 w 6499257"/>
                <a:gd name="connsiteY59" fmla="*/ 1458216 h 3498714"/>
                <a:gd name="connsiteX60" fmla="*/ 322427 w 6499257"/>
                <a:gd name="connsiteY60" fmla="*/ 1098205 h 3498714"/>
                <a:gd name="connsiteX61" fmla="*/ 317058 w 6499257"/>
                <a:gd name="connsiteY61" fmla="*/ 1092836 h 3498714"/>
                <a:gd name="connsiteX62" fmla="*/ 263371 w 6499257"/>
                <a:gd name="connsiteY62" fmla="*/ 1092836 h 3498714"/>
                <a:gd name="connsiteX63" fmla="*/ 258001 w 6499257"/>
                <a:gd name="connsiteY63" fmla="*/ 1098205 h 3498714"/>
                <a:gd name="connsiteX64" fmla="*/ 258001 w 6499257"/>
                <a:gd name="connsiteY64" fmla="*/ 1444446 h 3498714"/>
                <a:gd name="connsiteX65" fmla="*/ 257700 w 6499257"/>
                <a:gd name="connsiteY65" fmla="*/ 1444370 h 3498714"/>
                <a:gd name="connsiteX66" fmla="*/ 257700 w 6499257"/>
                <a:gd name="connsiteY66" fmla="*/ 1912573 h 3498714"/>
                <a:gd name="connsiteX67" fmla="*/ 128850 w 6499257"/>
                <a:gd name="connsiteY67" fmla="*/ 2041423 h 3498714"/>
                <a:gd name="connsiteX68" fmla="*/ 0 w 6499257"/>
                <a:gd name="connsiteY68" fmla="*/ 1912573 h 3498714"/>
                <a:gd name="connsiteX69" fmla="*/ 0 w 6499257"/>
                <a:gd name="connsiteY69" fmla="*/ 1101802 h 3498714"/>
                <a:gd name="connsiteX70" fmla="*/ 0 w 6499257"/>
                <a:gd name="connsiteY70" fmla="*/ 1003338 h 3498714"/>
                <a:gd name="connsiteX71" fmla="*/ 0 w 6499257"/>
                <a:gd name="connsiteY71" fmla="*/ 982486 h 3498714"/>
                <a:gd name="connsiteX72" fmla="*/ 12733 w 6499257"/>
                <a:gd name="connsiteY72" fmla="*/ 894663 h 3498714"/>
                <a:gd name="connsiteX73" fmla="*/ 20539 w 6499257"/>
                <a:gd name="connsiteY73" fmla="*/ 868773 h 3498714"/>
                <a:gd name="connsiteX74" fmla="*/ 358791 w 6499257"/>
                <a:gd name="connsiteY74" fmla="*/ 644545 h 3498714"/>
                <a:gd name="connsiteX75" fmla="*/ 682782 w 6499257"/>
                <a:gd name="connsiteY75" fmla="*/ 0 h 3498714"/>
                <a:gd name="connsiteX76" fmla="*/ 966919 w 6499257"/>
                <a:gd name="connsiteY76" fmla="*/ 284138 h 3498714"/>
                <a:gd name="connsiteX77" fmla="*/ 682782 w 6499257"/>
                <a:gd name="connsiteY77" fmla="*/ 568275 h 3498714"/>
                <a:gd name="connsiteX78" fmla="*/ 398645 w 6499257"/>
                <a:gd name="connsiteY78" fmla="*/ 284138 h 3498714"/>
                <a:gd name="connsiteX79" fmla="*/ 682782 w 6499257"/>
                <a:gd name="connsiteY79" fmla="*/ 0 h 3498714"/>
                <a:gd name="connsiteX80" fmla="*/ 4707054 w 6499257"/>
                <a:gd name="connsiteY80" fmla="*/ 2902312 h 3498714"/>
                <a:gd name="connsiteX81" fmla="*/ 4818179 w 6499257"/>
                <a:gd name="connsiteY81" fmla="*/ 3013437 h 3498714"/>
                <a:gd name="connsiteX82" fmla="*/ 4707054 w 6499257"/>
                <a:gd name="connsiteY82" fmla="*/ 3124562 h 3498714"/>
                <a:gd name="connsiteX83" fmla="*/ 4545125 w 6499257"/>
                <a:gd name="connsiteY83" fmla="*/ 3124562 h 3498714"/>
                <a:gd name="connsiteX84" fmla="*/ 4545125 w 6499257"/>
                <a:gd name="connsiteY84" fmla="*/ 3361625 h 3498714"/>
                <a:gd name="connsiteX85" fmla="*/ 4436113 w 6499257"/>
                <a:gd name="connsiteY85" fmla="*/ 3470637 h 3498714"/>
                <a:gd name="connsiteX86" fmla="*/ 4235039 w 6499257"/>
                <a:gd name="connsiteY86" fmla="*/ 3470637 h 3498714"/>
                <a:gd name="connsiteX87" fmla="*/ 4126027 w 6499257"/>
                <a:gd name="connsiteY87" fmla="*/ 3361625 h 3498714"/>
                <a:gd name="connsiteX88" fmla="*/ 4126027 w 6499257"/>
                <a:gd name="connsiteY88" fmla="*/ 3124562 h 3498714"/>
                <a:gd name="connsiteX89" fmla="*/ 2589325 w 6499257"/>
                <a:gd name="connsiteY89" fmla="*/ 3124562 h 3498714"/>
                <a:gd name="connsiteX90" fmla="*/ 2589325 w 6499257"/>
                <a:gd name="connsiteY90" fmla="*/ 3361625 h 3498714"/>
                <a:gd name="connsiteX91" fmla="*/ 2480313 w 6499257"/>
                <a:gd name="connsiteY91" fmla="*/ 3470637 h 3498714"/>
                <a:gd name="connsiteX92" fmla="*/ 2279239 w 6499257"/>
                <a:gd name="connsiteY92" fmla="*/ 3470637 h 3498714"/>
                <a:gd name="connsiteX93" fmla="*/ 2170227 w 6499257"/>
                <a:gd name="connsiteY93" fmla="*/ 3361625 h 3498714"/>
                <a:gd name="connsiteX94" fmla="*/ 2170227 w 6499257"/>
                <a:gd name="connsiteY94" fmla="*/ 3124562 h 3498714"/>
                <a:gd name="connsiteX95" fmla="*/ 2052754 w 6499257"/>
                <a:gd name="connsiteY95" fmla="*/ 3124562 h 3498714"/>
                <a:gd name="connsiteX96" fmla="*/ 1941629 w 6499257"/>
                <a:gd name="connsiteY96" fmla="*/ 3013437 h 3498714"/>
                <a:gd name="connsiteX97" fmla="*/ 2052754 w 6499257"/>
                <a:gd name="connsiteY97" fmla="*/ 2902312 h 3498714"/>
                <a:gd name="connsiteX98" fmla="*/ 682782 w 6499257"/>
                <a:gd name="connsiteY98" fmla="*/ 0 h 3498714"/>
                <a:gd name="connsiteX99" fmla="*/ 4492583 w 6499257"/>
                <a:gd name="connsiteY99" fmla="*/ 2089512 h 3498714"/>
                <a:gd name="connsiteX100" fmla="*/ 4311608 w 6499257"/>
                <a:gd name="connsiteY100" fmla="*/ 2270487 h 3498714"/>
                <a:gd name="connsiteX101" fmla="*/ 4492583 w 6499257"/>
                <a:gd name="connsiteY101" fmla="*/ 2451462 h 3498714"/>
                <a:gd name="connsiteX102" fmla="*/ 5407618 w 6499257"/>
                <a:gd name="connsiteY102" fmla="*/ 2468742 h 3498714"/>
                <a:gd name="connsiteX103" fmla="*/ 6498753 w 6499257"/>
                <a:gd name="connsiteY103" fmla="*/ 2404799 h 3498714"/>
                <a:gd name="connsiteX104" fmla="*/ 5388995 w 6499257"/>
                <a:gd name="connsiteY104"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651061 w 6499257"/>
                <a:gd name="connsiteY12" fmla="*/ 1167548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4277738 w 6499257"/>
                <a:gd name="connsiteY16" fmla="*/ 1922593 h 3498714"/>
                <a:gd name="connsiteX17" fmla="*/ 4112835 w 6499257"/>
                <a:gd name="connsiteY17" fmla="*/ 1167548 h 3498714"/>
                <a:gd name="connsiteX18" fmla="*/ 2651061 w 6499257"/>
                <a:gd name="connsiteY18" fmla="*/ 1167548 h 3498714"/>
                <a:gd name="connsiteX19" fmla="*/ 2534724 w 6499257"/>
                <a:gd name="connsiteY19" fmla="*/ 982297 h 3498714"/>
                <a:gd name="connsiteX20" fmla="*/ 4229172 w 6499257"/>
                <a:gd name="connsiteY20" fmla="*/ 982297 h 3498714"/>
                <a:gd name="connsiteX21" fmla="*/ 4546612 w 6499257"/>
                <a:gd name="connsiteY21" fmla="*/ 1856643 h 3498714"/>
                <a:gd name="connsiteX22" fmla="*/ 4936448 w 6499257"/>
                <a:gd name="connsiteY22" fmla="*/ 2279217 h 3498714"/>
                <a:gd name="connsiteX23" fmla="*/ 4802103 w 6499257"/>
                <a:gd name="connsiteY23" fmla="*/ 2588456 h 3498714"/>
                <a:gd name="connsiteX24" fmla="*/ 4904699 w 6499257"/>
                <a:gd name="connsiteY24" fmla="*/ 2705462 h 3498714"/>
                <a:gd name="connsiteX25" fmla="*/ 4904698 w 6499257"/>
                <a:gd name="connsiteY25" fmla="*/ 2705462 h 3498714"/>
                <a:gd name="connsiteX26" fmla="*/ 4784047 w 6499257"/>
                <a:gd name="connsiteY26" fmla="*/ 2826113 h 3498714"/>
                <a:gd name="connsiteX27" fmla="*/ 1970999 w 6499257"/>
                <a:gd name="connsiteY27" fmla="*/ 2826112 h 3498714"/>
                <a:gd name="connsiteX28" fmla="*/ 1850348 w 6499257"/>
                <a:gd name="connsiteY28" fmla="*/ 2705462 h 3498714"/>
                <a:gd name="connsiteX29" fmla="*/ 1956769 w 6499257"/>
                <a:gd name="connsiteY29" fmla="*/ 2587684 h 3498714"/>
                <a:gd name="connsiteX30" fmla="*/ 1823360 w 6499257"/>
                <a:gd name="connsiteY30" fmla="*/ 2279217 h 3498714"/>
                <a:gd name="connsiteX31" fmla="*/ 2217440 w 6499257"/>
                <a:gd name="connsiteY31" fmla="*/ 1856216 h 3498714"/>
                <a:gd name="connsiteX32" fmla="*/ 2534724 w 6499257"/>
                <a:gd name="connsiteY32" fmla="*/ 982297 h 3498714"/>
                <a:gd name="connsiteX33" fmla="*/ 358791 w 6499257"/>
                <a:gd name="connsiteY33" fmla="*/ 644545 h 3498714"/>
                <a:gd name="connsiteX34" fmla="*/ 1006774 w 6499257"/>
                <a:gd name="connsiteY34" fmla="*/ 644545 h 3498714"/>
                <a:gd name="connsiteX35" fmla="*/ 1542636 w 6499257"/>
                <a:gd name="connsiteY35" fmla="*/ 1193969 h 3498714"/>
                <a:gd name="connsiteX36" fmla="*/ 1929878 w 6499257"/>
                <a:gd name="connsiteY36" fmla="*/ 1193970 h 3498714"/>
                <a:gd name="connsiteX37" fmla="*/ 2070059 w 6499257"/>
                <a:gd name="connsiteY37" fmla="*/ 1334152 h 3498714"/>
                <a:gd name="connsiteX38" fmla="*/ 1929878 w 6499257"/>
                <a:gd name="connsiteY38" fmla="*/ 1474333 h 3498714"/>
                <a:gd name="connsiteX39" fmla="*/ 1520943 w 6499257"/>
                <a:gd name="connsiteY39" fmla="*/ 1470388 h 3498714"/>
                <a:gd name="connsiteX40" fmla="*/ 1332825 w 6499257"/>
                <a:gd name="connsiteY40" fmla="*/ 1367201 h 3498714"/>
                <a:gd name="connsiteX41" fmla="*/ 1106501 w 6499257"/>
                <a:gd name="connsiteY41" fmla="*/ 1098289 h 3498714"/>
                <a:gd name="connsiteX42" fmla="*/ 1101049 w 6499257"/>
                <a:gd name="connsiteY42" fmla="*/ 1092836 h 3498714"/>
                <a:gd name="connsiteX43" fmla="*/ 1046523 w 6499257"/>
                <a:gd name="connsiteY43" fmla="*/ 1092836 h 3498714"/>
                <a:gd name="connsiteX44" fmla="*/ 1041071 w 6499257"/>
                <a:gd name="connsiteY44" fmla="*/ 1098289 h 3498714"/>
                <a:gd name="connsiteX45" fmla="*/ 1042136 w 6499257"/>
                <a:gd name="connsiteY45" fmla="*/ 1419754 h 3498714"/>
                <a:gd name="connsiteX46" fmla="*/ 1042136 w 6499257"/>
                <a:gd name="connsiteY46" fmla="*/ 3337652 h 3498714"/>
                <a:gd name="connsiteX47" fmla="*/ 881075 w 6499257"/>
                <a:gd name="connsiteY47" fmla="*/ 3498714 h 3498714"/>
                <a:gd name="connsiteX48" fmla="*/ 720012 w 6499257"/>
                <a:gd name="connsiteY48" fmla="*/ 3337652 h 3498714"/>
                <a:gd name="connsiteX49" fmla="*/ 720012 w 6499257"/>
                <a:gd name="connsiteY49" fmla="*/ 2125717 h 3498714"/>
                <a:gd name="connsiteX50" fmla="*/ 718947 w 6499257"/>
                <a:gd name="connsiteY50" fmla="*/ 2033194 h 3498714"/>
                <a:gd name="connsiteX51" fmla="*/ 714162 w 6499257"/>
                <a:gd name="connsiteY51" fmla="*/ 2028410 h 3498714"/>
                <a:gd name="connsiteX52" fmla="*/ 654759 w 6499257"/>
                <a:gd name="connsiteY52" fmla="*/ 2028410 h 3498714"/>
                <a:gd name="connsiteX53" fmla="*/ 649974 w 6499257"/>
                <a:gd name="connsiteY53" fmla="*/ 2033194 h 3498714"/>
                <a:gd name="connsiteX54" fmla="*/ 649974 w 6499257"/>
                <a:gd name="connsiteY54" fmla="*/ 2125717 h 3498714"/>
                <a:gd name="connsiteX55" fmla="*/ 649574 w 6499257"/>
                <a:gd name="connsiteY55" fmla="*/ 3337652 h 3498714"/>
                <a:gd name="connsiteX56" fmla="*/ 488511 w 6499257"/>
                <a:gd name="connsiteY56" fmla="*/ 3498714 h 3498714"/>
                <a:gd name="connsiteX57" fmla="*/ 327450 w 6499257"/>
                <a:gd name="connsiteY57" fmla="*/ 3337652 h 3498714"/>
                <a:gd name="connsiteX58" fmla="*/ 327450 w 6499257"/>
                <a:gd name="connsiteY58" fmla="*/ 1458216 h 3498714"/>
                <a:gd name="connsiteX59" fmla="*/ 322427 w 6499257"/>
                <a:gd name="connsiteY59" fmla="*/ 1098205 h 3498714"/>
                <a:gd name="connsiteX60" fmla="*/ 317058 w 6499257"/>
                <a:gd name="connsiteY60" fmla="*/ 1092836 h 3498714"/>
                <a:gd name="connsiteX61" fmla="*/ 263371 w 6499257"/>
                <a:gd name="connsiteY61" fmla="*/ 1092836 h 3498714"/>
                <a:gd name="connsiteX62" fmla="*/ 258001 w 6499257"/>
                <a:gd name="connsiteY62" fmla="*/ 1098205 h 3498714"/>
                <a:gd name="connsiteX63" fmla="*/ 258001 w 6499257"/>
                <a:gd name="connsiteY63" fmla="*/ 1444446 h 3498714"/>
                <a:gd name="connsiteX64" fmla="*/ 257700 w 6499257"/>
                <a:gd name="connsiteY64" fmla="*/ 1444370 h 3498714"/>
                <a:gd name="connsiteX65" fmla="*/ 257700 w 6499257"/>
                <a:gd name="connsiteY65" fmla="*/ 1912573 h 3498714"/>
                <a:gd name="connsiteX66" fmla="*/ 128850 w 6499257"/>
                <a:gd name="connsiteY66" fmla="*/ 2041423 h 3498714"/>
                <a:gd name="connsiteX67" fmla="*/ 0 w 6499257"/>
                <a:gd name="connsiteY67" fmla="*/ 1912573 h 3498714"/>
                <a:gd name="connsiteX68" fmla="*/ 0 w 6499257"/>
                <a:gd name="connsiteY68" fmla="*/ 1101802 h 3498714"/>
                <a:gd name="connsiteX69" fmla="*/ 0 w 6499257"/>
                <a:gd name="connsiteY69" fmla="*/ 1003338 h 3498714"/>
                <a:gd name="connsiteX70" fmla="*/ 0 w 6499257"/>
                <a:gd name="connsiteY70" fmla="*/ 982486 h 3498714"/>
                <a:gd name="connsiteX71" fmla="*/ 12733 w 6499257"/>
                <a:gd name="connsiteY71" fmla="*/ 894663 h 3498714"/>
                <a:gd name="connsiteX72" fmla="*/ 20539 w 6499257"/>
                <a:gd name="connsiteY72" fmla="*/ 868773 h 3498714"/>
                <a:gd name="connsiteX73" fmla="*/ 358791 w 6499257"/>
                <a:gd name="connsiteY73" fmla="*/ 644545 h 3498714"/>
                <a:gd name="connsiteX74" fmla="*/ 682782 w 6499257"/>
                <a:gd name="connsiteY74" fmla="*/ 0 h 3498714"/>
                <a:gd name="connsiteX75" fmla="*/ 966919 w 6499257"/>
                <a:gd name="connsiteY75" fmla="*/ 284138 h 3498714"/>
                <a:gd name="connsiteX76" fmla="*/ 682782 w 6499257"/>
                <a:gd name="connsiteY76" fmla="*/ 568275 h 3498714"/>
                <a:gd name="connsiteX77" fmla="*/ 398645 w 6499257"/>
                <a:gd name="connsiteY77" fmla="*/ 284138 h 3498714"/>
                <a:gd name="connsiteX78" fmla="*/ 682782 w 6499257"/>
                <a:gd name="connsiteY78" fmla="*/ 0 h 3498714"/>
                <a:gd name="connsiteX79" fmla="*/ 4707054 w 6499257"/>
                <a:gd name="connsiteY79" fmla="*/ 2902312 h 3498714"/>
                <a:gd name="connsiteX80" fmla="*/ 4818179 w 6499257"/>
                <a:gd name="connsiteY80" fmla="*/ 3013437 h 3498714"/>
                <a:gd name="connsiteX81" fmla="*/ 4707054 w 6499257"/>
                <a:gd name="connsiteY81" fmla="*/ 3124562 h 3498714"/>
                <a:gd name="connsiteX82" fmla="*/ 4545125 w 6499257"/>
                <a:gd name="connsiteY82" fmla="*/ 3124562 h 3498714"/>
                <a:gd name="connsiteX83" fmla="*/ 4545125 w 6499257"/>
                <a:gd name="connsiteY83" fmla="*/ 3361625 h 3498714"/>
                <a:gd name="connsiteX84" fmla="*/ 4436113 w 6499257"/>
                <a:gd name="connsiteY84" fmla="*/ 3470637 h 3498714"/>
                <a:gd name="connsiteX85" fmla="*/ 4235039 w 6499257"/>
                <a:gd name="connsiteY85" fmla="*/ 3470637 h 3498714"/>
                <a:gd name="connsiteX86" fmla="*/ 4126027 w 6499257"/>
                <a:gd name="connsiteY86" fmla="*/ 3361625 h 3498714"/>
                <a:gd name="connsiteX87" fmla="*/ 4126027 w 6499257"/>
                <a:gd name="connsiteY87" fmla="*/ 3124562 h 3498714"/>
                <a:gd name="connsiteX88" fmla="*/ 2589325 w 6499257"/>
                <a:gd name="connsiteY88" fmla="*/ 3124562 h 3498714"/>
                <a:gd name="connsiteX89" fmla="*/ 2589325 w 6499257"/>
                <a:gd name="connsiteY89" fmla="*/ 3361625 h 3498714"/>
                <a:gd name="connsiteX90" fmla="*/ 2480313 w 6499257"/>
                <a:gd name="connsiteY90" fmla="*/ 3470637 h 3498714"/>
                <a:gd name="connsiteX91" fmla="*/ 2279239 w 6499257"/>
                <a:gd name="connsiteY91" fmla="*/ 3470637 h 3498714"/>
                <a:gd name="connsiteX92" fmla="*/ 2170227 w 6499257"/>
                <a:gd name="connsiteY92" fmla="*/ 3361625 h 3498714"/>
                <a:gd name="connsiteX93" fmla="*/ 2170227 w 6499257"/>
                <a:gd name="connsiteY93" fmla="*/ 3124562 h 3498714"/>
                <a:gd name="connsiteX94" fmla="*/ 2052754 w 6499257"/>
                <a:gd name="connsiteY94" fmla="*/ 3124562 h 3498714"/>
                <a:gd name="connsiteX95" fmla="*/ 1941629 w 6499257"/>
                <a:gd name="connsiteY95" fmla="*/ 3013437 h 3498714"/>
                <a:gd name="connsiteX96" fmla="*/ 2052754 w 6499257"/>
                <a:gd name="connsiteY96" fmla="*/ 2902312 h 3498714"/>
                <a:gd name="connsiteX97" fmla="*/ 682782 w 6499257"/>
                <a:gd name="connsiteY97" fmla="*/ 0 h 3498714"/>
                <a:gd name="connsiteX98" fmla="*/ 4492583 w 6499257"/>
                <a:gd name="connsiteY98" fmla="*/ 2089512 h 3498714"/>
                <a:gd name="connsiteX99" fmla="*/ 4311608 w 6499257"/>
                <a:gd name="connsiteY99" fmla="*/ 2270487 h 3498714"/>
                <a:gd name="connsiteX100" fmla="*/ 4492583 w 6499257"/>
                <a:gd name="connsiteY100" fmla="*/ 2451462 h 3498714"/>
                <a:gd name="connsiteX101" fmla="*/ 5407618 w 6499257"/>
                <a:gd name="connsiteY101" fmla="*/ 2468742 h 3498714"/>
                <a:gd name="connsiteX102" fmla="*/ 6498753 w 6499257"/>
                <a:gd name="connsiteY102" fmla="*/ 2404799 h 3498714"/>
                <a:gd name="connsiteX103" fmla="*/ 5388995 w 6499257"/>
                <a:gd name="connsiteY103"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651061 w 6499257"/>
                <a:gd name="connsiteY12" fmla="*/ 1167548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4112835 w 6499257"/>
                <a:gd name="connsiteY16" fmla="*/ 1167548 h 3498714"/>
                <a:gd name="connsiteX17" fmla="*/ 2651061 w 6499257"/>
                <a:gd name="connsiteY17" fmla="*/ 1167548 h 3498714"/>
                <a:gd name="connsiteX18" fmla="*/ 2534724 w 6499257"/>
                <a:gd name="connsiteY18" fmla="*/ 982297 h 3498714"/>
                <a:gd name="connsiteX19" fmla="*/ 4229172 w 6499257"/>
                <a:gd name="connsiteY19" fmla="*/ 982297 h 3498714"/>
                <a:gd name="connsiteX20" fmla="*/ 4546612 w 6499257"/>
                <a:gd name="connsiteY20" fmla="*/ 1856643 h 3498714"/>
                <a:gd name="connsiteX21" fmla="*/ 4936448 w 6499257"/>
                <a:gd name="connsiteY21" fmla="*/ 2279217 h 3498714"/>
                <a:gd name="connsiteX22" fmla="*/ 4802103 w 6499257"/>
                <a:gd name="connsiteY22" fmla="*/ 2588456 h 3498714"/>
                <a:gd name="connsiteX23" fmla="*/ 4904699 w 6499257"/>
                <a:gd name="connsiteY23" fmla="*/ 2705462 h 3498714"/>
                <a:gd name="connsiteX24" fmla="*/ 4904698 w 6499257"/>
                <a:gd name="connsiteY24" fmla="*/ 2705462 h 3498714"/>
                <a:gd name="connsiteX25" fmla="*/ 4784047 w 6499257"/>
                <a:gd name="connsiteY25" fmla="*/ 2826113 h 3498714"/>
                <a:gd name="connsiteX26" fmla="*/ 1970999 w 6499257"/>
                <a:gd name="connsiteY26" fmla="*/ 2826112 h 3498714"/>
                <a:gd name="connsiteX27" fmla="*/ 1850348 w 6499257"/>
                <a:gd name="connsiteY27" fmla="*/ 2705462 h 3498714"/>
                <a:gd name="connsiteX28" fmla="*/ 1956769 w 6499257"/>
                <a:gd name="connsiteY28" fmla="*/ 2587684 h 3498714"/>
                <a:gd name="connsiteX29" fmla="*/ 1823360 w 6499257"/>
                <a:gd name="connsiteY29" fmla="*/ 2279217 h 3498714"/>
                <a:gd name="connsiteX30" fmla="*/ 2217440 w 6499257"/>
                <a:gd name="connsiteY30" fmla="*/ 1856216 h 3498714"/>
                <a:gd name="connsiteX31" fmla="*/ 2534724 w 6499257"/>
                <a:gd name="connsiteY31" fmla="*/ 982297 h 3498714"/>
                <a:gd name="connsiteX32" fmla="*/ 358791 w 6499257"/>
                <a:gd name="connsiteY32" fmla="*/ 644545 h 3498714"/>
                <a:gd name="connsiteX33" fmla="*/ 1006774 w 6499257"/>
                <a:gd name="connsiteY33" fmla="*/ 644545 h 3498714"/>
                <a:gd name="connsiteX34" fmla="*/ 1542636 w 6499257"/>
                <a:gd name="connsiteY34" fmla="*/ 1193969 h 3498714"/>
                <a:gd name="connsiteX35" fmla="*/ 1929878 w 6499257"/>
                <a:gd name="connsiteY35" fmla="*/ 1193970 h 3498714"/>
                <a:gd name="connsiteX36" fmla="*/ 2070059 w 6499257"/>
                <a:gd name="connsiteY36" fmla="*/ 1334152 h 3498714"/>
                <a:gd name="connsiteX37" fmla="*/ 1929878 w 6499257"/>
                <a:gd name="connsiteY37" fmla="*/ 1474333 h 3498714"/>
                <a:gd name="connsiteX38" fmla="*/ 1520943 w 6499257"/>
                <a:gd name="connsiteY38" fmla="*/ 1470388 h 3498714"/>
                <a:gd name="connsiteX39" fmla="*/ 1332825 w 6499257"/>
                <a:gd name="connsiteY39" fmla="*/ 1367201 h 3498714"/>
                <a:gd name="connsiteX40" fmla="*/ 1106501 w 6499257"/>
                <a:gd name="connsiteY40" fmla="*/ 1098289 h 3498714"/>
                <a:gd name="connsiteX41" fmla="*/ 1101049 w 6499257"/>
                <a:gd name="connsiteY41" fmla="*/ 1092836 h 3498714"/>
                <a:gd name="connsiteX42" fmla="*/ 1046523 w 6499257"/>
                <a:gd name="connsiteY42" fmla="*/ 1092836 h 3498714"/>
                <a:gd name="connsiteX43" fmla="*/ 1041071 w 6499257"/>
                <a:gd name="connsiteY43" fmla="*/ 1098289 h 3498714"/>
                <a:gd name="connsiteX44" fmla="*/ 1042136 w 6499257"/>
                <a:gd name="connsiteY44" fmla="*/ 1419754 h 3498714"/>
                <a:gd name="connsiteX45" fmla="*/ 1042136 w 6499257"/>
                <a:gd name="connsiteY45" fmla="*/ 3337652 h 3498714"/>
                <a:gd name="connsiteX46" fmla="*/ 881075 w 6499257"/>
                <a:gd name="connsiteY46" fmla="*/ 3498714 h 3498714"/>
                <a:gd name="connsiteX47" fmla="*/ 720012 w 6499257"/>
                <a:gd name="connsiteY47" fmla="*/ 3337652 h 3498714"/>
                <a:gd name="connsiteX48" fmla="*/ 720012 w 6499257"/>
                <a:gd name="connsiteY48" fmla="*/ 2125717 h 3498714"/>
                <a:gd name="connsiteX49" fmla="*/ 718947 w 6499257"/>
                <a:gd name="connsiteY49" fmla="*/ 2033194 h 3498714"/>
                <a:gd name="connsiteX50" fmla="*/ 714162 w 6499257"/>
                <a:gd name="connsiteY50" fmla="*/ 2028410 h 3498714"/>
                <a:gd name="connsiteX51" fmla="*/ 654759 w 6499257"/>
                <a:gd name="connsiteY51" fmla="*/ 2028410 h 3498714"/>
                <a:gd name="connsiteX52" fmla="*/ 649974 w 6499257"/>
                <a:gd name="connsiteY52" fmla="*/ 2033194 h 3498714"/>
                <a:gd name="connsiteX53" fmla="*/ 649974 w 6499257"/>
                <a:gd name="connsiteY53" fmla="*/ 2125717 h 3498714"/>
                <a:gd name="connsiteX54" fmla="*/ 649574 w 6499257"/>
                <a:gd name="connsiteY54" fmla="*/ 3337652 h 3498714"/>
                <a:gd name="connsiteX55" fmla="*/ 488511 w 6499257"/>
                <a:gd name="connsiteY55" fmla="*/ 3498714 h 3498714"/>
                <a:gd name="connsiteX56" fmla="*/ 327450 w 6499257"/>
                <a:gd name="connsiteY56" fmla="*/ 3337652 h 3498714"/>
                <a:gd name="connsiteX57" fmla="*/ 327450 w 6499257"/>
                <a:gd name="connsiteY57" fmla="*/ 1458216 h 3498714"/>
                <a:gd name="connsiteX58" fmla="*/ 322427 w 6499257"/>
                <a:gd name="connsiteY58" fmla="*/ 1098205 h 3498714"/>
                <a:gd name="connsiteX59" fmla="*/ 317058 w 6499257"/>
                <a:gd name="connsiteY59" fmla="*/ 1092836 h 3498714"/>
                <a:gd name="connsiteX60" fmla="*/ 263371 w 6499257"/>
                <a:gd name="connsiteY60" fmla="*/ 1092836 h 3498714"/>
                <a:gd name="connsiteX61" fmla="*/ 258001 w 6499257"/>
                <a:gd name="connsiteY61" fmla="*/ 1098205 h 3498714"/>
                <a:gd name="connsiteX62" fmla="*/ 258001 w 6499257"/>
                <a:gd name="connsiteY62" fmla="*/ 1444446 h 3498714"/>
                <a:gd name="connsiteX63" fmla="*/ 257700 w 6499257"/>
                <a:gd name="connsiteY63" fmla="*/ 1444370 h 3498714"/>
                <a:gd name="connsiteX64" fmla="*/ 257700 w 6499257"/>
                <a:gd name="connsiteY64" fmla="*/ 1912573 h 3498714"/>
                <a:gd name="connsiteX65" fmla="*/ 128850 w 6499257"/>
                <a:gd name="connsiteY65" fmla="*/ 2041423 h 3498714"/>
                <a:gd name="connsiteX66" fmla="*/ 0 w 6499257"/>
                <a:gd name="connsiteY66" fmla="*/ 1912573 h 3498714"/>
                <a:gd name="connsiteX67" fmla="*/ 0 w 6499257"/>
                <a:gd name="connsiteY67" fmla="*/ 1101802 h 3498714"/>
                <a:gd name="connsiteX68" fmla="*/ 0 w 6499257"/>
                <a:gd name="connsiteY68" fmla="*/ 1003338 h 3498714"/>
                <a:gd name="connsiteX69" fmla="*/ 0 w 6499257"/>
                <a:gd name="connsiteY69" fmla="*/ 982486 h 3498714"/>
                <a:gd name="connsiteX70" fmla="*/ 12733 w 6499257"/>
                <a:gd name="connsiteY70" fmla="*/ 894663 h 3498714"/>
                <a:gd name="connsiteX71" fmla="*/ 20539 w 6499257"/>
                <a:gd name="connsiteY71" fmla="*/ 868773 h 3498714"/>
                <a:gd name="connsiteX72" fmla="*/ 358791 w 6499257"/>
                <a:gd name="connsiteY72" fmla="*/ 644545 h 3498714"/>
                <a:gd name="connsiteX73" fmla="*/ 682782 w 6499257"/>
                <a:gd name="connsiteY73" fmla="*/ 0 h 3498714"/>
                <a:gd name="connsiteX74" fmla="*/ 966919 w 6499257"/>
                <a:gd name="connsiteY74" fmla="*/ 284138 h 3498714"/>
                <a:gd name="connsiteX75" fmla="*/ 682782 w 6499257"/>
                <a:gd name="connsiteY75" fmla="*/ 568275 h 3498714"/>
                <a:gd name="connsiteX76" fmla="*/ 398645 w 6499257"/>
                <a:gd name="connsiteY76" fmla="*/ 284138 h 3498714"/>
                <a:gd name="connsiteX77" fmla="*/ 682782 w 6499257"/>
                <a:gd name="connsiteY77" fmla="*/ 0 h 3498714"/>
                <a:gd name="connsiteX78" fmla="*/ 4707054 w 6499257"/>
                <a:gd name="connsiteY78" fmla="*/ 2902312 h 3498714"/>
                <a:gd name="connsiteX79" fmla="*/ 4818179 w 6499257"/>
                <a:gd name="connsiteY79" fmla="*/ 3013437 h 3498714"/>
                <a:gd name="connsiteX80" fmla="*/ 4707054 w 6499257"/>
                <a:gd name="connsiteY80" fmla="*/ 3124562 h 3498714"/>
                <a:gd name="connsiteX81" fmla="*/ 4545125 w 6499257"/>
                <a:gd name="connsiteY81" fmla="*/ 3124562 h 3498714"/>
                <a:gd name="connsiteX82" fmla="*/ 4545125 w 6499257"/>
                <a:gd name="connsiteY82" fmla="*/ 3361625 h 3498714"/>
                <a:gd name="connsiteX83" fmla="*/ 4436113 w 6499257"/>
                <a:gd name="connsiteY83" fmla="*/ 3470637 h 3498714"/>
                <a:gd name="connsiteX84" fmla="*/ 4235039 w 6499257"/>
                <a:gd name="connsiteY84" fmla="*/ 3470637 h 3498714"/>
                <a:gd name="connsiteX85" fmla="*/ 4126027 w 6499257"/>
                <a:gd name="connsiteY85" fmla="*/ 3361625 h 3498714"/>
                <a:gd name="connsiteX86" fmla="*/ 4126027 w 6499257"/>
                <a:gd name="connsiteY86" fmla="*/ 3124562 h 3498714"/>
                <a:gd name="connsiteX87" fmla="*/ 2589325 w 6499257"/>
                <a:gd name="connsiteY87" fmla="*/ 3124562 h 3498714"/>
                <a:gd name="connsiteX88" fmla="*/ 2589325 w 6499257"/>
                <a:gd name="connsiteY88" fmla="*/ 3361625 h 3498714"/>
                <a:gd name="connsiteX89" fmla="*/ 2480313 w 6499257"/>
                <a:gd name="connsiteY89" fmla="*/ 3470637 h 3498714"/>
                <a:gd name="connsiteX90" fmla="*/ 2279239 w 6499257"/>
                <a:gd name="connsiteY90" fmla="*/ 3470637 h 3498714"/>
                <a:gd name="connsiteX91" fmla="*/ 2170227 w 6499257"/>
                <a:gd name="connsiteY91" fmla="*/ 3361625 h 3498714"/>
                <a:gd name="connsiteX92" fmla="*/ 2170227 w 6499257"/>
                <a:gd name="connsiteY92" fmla="*/ 3124562 h 3498714"/>
                <a:gd name="connsiteX93" fmla="*/ 2052754 w 6499257"/>
                <a:gd name="connsiteY93" fmla="*/ 3124562 h 3498714"/>
                <a:gd name="connsiteX94" fmla="*/ 1941629 w 6499257"/>
                <a:gd name="connsiteY94" fmla="*/ 3013437 h 3498714"/>
                <a:gd name="connsiteX95" fmla="*/ 2052754 w 6499257"/>
                <a:gd name="connsiteY95" fmla="*/ 2902312 h 3498714"/>
                <a:gd name="connsiteX96" fmla="*/ 682782 w 6499257"/>
                <a:gd name="connsiteY96" fmla="*/ 0 h 3498714"/>
                <a:gd name="connsiteX97" fmla="*/ 4492583 w 6499257"/>
                <a:gd name="connsiteY97" fmla="*/ 2089512 h 3498714"/>
                <a:gd name="connsiteX98" fmla="*/ 4311608 w 6499257"/>
                <a:gd name="connsiteY98" fmla="*/ 2270487 h 3498714"/>
                <a:gd name="connsiteX99" fmla="*/ 4492583 w 6499257"/>
                <a:gd name="connsiteY99" fmla="*/ 2451462 h 3498714"/>
                <a:gd name="connsiteX100" fmla="*/ 5407618 w 6499257"/>
                <a:gd name="connsiteY100" fmla="*/ 2468742 h 3498714"/>
                <a:gd name="connsiteX101" fmla="*/ 6498753 w 6499257"/>
                <a:gd name="connsiteY101" fmla="*/ 2404799 h 3498714"/>
                <a:gd name="connsiteX102" fmla="*/ 5388995 w 6499257"/>
                <a:gd name="connsiteY102"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651061 w 6499257"/>
                <a:gd name="connsiteY12" fmla="*/ 1167548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2651061 w 6499257"/>
                <a:gd name="connsiteY16" fmla="*/ 1167548 h 3498714"/>
                <a:gd name="connsiteX17" fmla="*/ 2534724 w 6499257"/>
                <a:gd name="connsiteY17" fmla="*/ 982297 h 3498714"/>
                <a:gd name="connsiteX18" fmla="*/ 4229172 w 6499257"/>
                <a:gd name="connsiteY18" fmla="*/ 982297 h 3498714"/>
                <a:gd name="connsiteX19" fmla="*/ 4546612 w 6499257"/>
                <a:gd name="connsiteY19" fmla="*/ 1856643 h 3498714"/>
                <a:gd name="connsiteX20" fmla="*/ 4936448 w 6499257"/>
                <a:gd name="connsiteY20" fmla="*/ 2279217 h 3498714"/>
                <a:gd name="connsiteX21" fmla="*/ 4802103 w 6499257"/>
                <a:gd name="connsiteY21" fmla="*/ 2588456 h 3498714"/>
                <a:gd name="connsiteX22" fmla="*/ 4904699 w 6499257"/>
                <a:gd name="connsiteY22" fmla="*/ 2705462 h 3498714"/>
                <a:gd name="connsiteX23" fmla="*/ 4904698 w 6499257"/>
                <a:gd name="connsiteY23" fmla="*/ 2705462 h 3498714"/>
                <a:gd name="connsiteX24" fmla="*/ 4784047 w 6499257"/>
                <a:gd name="connsiteY24" fmla="*/ 2826113 h 3498714"/>
                <a:gd name="connsiteX25" fmla="*/ 1970999 w 6499257"/>
                <a:gd name="connsiteY25" fmla="*/ 2826112 h 3498714"/>
                <a:gd name="connsiteX26" fmla="*/ 1850348 w 6499257"/>
                <a:gd name="connsiteY26" fmla="*/ 2705462 h 3498714"/>
                <a:gd name="connsiteX27" fmla="*/ 1956769 w 6499257"/>
                <a:gd name="connsiteY27" fmla="*/ 2587684 h 3498714"/>
                <a:gd name="connsiteX28" fmla="*/ 1823360 w 6499257"/>
                <a:gd name="connsiteY28" fmla="*/ 2279217 h 3498714"/>
                <a:gd name="connsiteX29" fmla="*/ 2217440 w 6499257"/>
                <a:gd name="connsiteY29" fmla="*/ 1856216 h 3498714"/>
                <a:gd name="connsiteX30" fmla="*/ 2534724 w 6499257"/>
                <a:gd name="connsiteY30" fmla="*/ 982297 h 3498714"/>
                <a:gd name="connsiteX31" fmla="*/ 358791 w 6499257"/>
                <a:gd name="connsiteY31" fmla="*/ 644545 h 3498714"/>
                <a:gd name="connsiteX32" fmla="*/ 1006774 w 6499257"/>
                <a:gd name="connsiteY32" fmla="*/ 644545 h 3498714"/>
                <a:gd name="connsiteX33" fmla="*/ 1542636 w 6499257"/>
                <a:gd name="connsiteY33" fmla="*/ 1193969 h 3498714"/>
                <a:gd name="connsiteX34" fmla="*/ 1929878 w 6499257"/>
                <a:gd name="connsiteY34" fmla="*/ 1193970 h 3498714"/>
                <a:gd name="connsiteX35" fmla="*/ 2070059 w 6499257"/>
                <a:gd name="connsiteY35" fmla="*/ 1334152 h 3498714"/>
                <a:gd name="connsiteX36" fmla="*/ 1929878 w 6499257"/>
                <a:gd name="connsiteY36" fmla="*/ 1474333 h 3498714"/>
                <a:gd name="connsiteX37" fmla="*/ 1520943 w 6499257"/>
                <a:gd name="connsiteY37" fmla="*/ 1470388 h 3498714"/>
                <a:gd name="connsiteX38" fmla="*/ 1332825 w 6499257"/>
                <a:gd name="connsiteY38" fmla="*/ 1367201 h 3498714"/>
                <a:gd name="connsiteX39" fmla="*/ 1106501 w 6499257"/>
                <a:gd name="connsiteY39" fmla="*/ 1098289 h 3498714"/>
                <a:gd name="connsiteX40" fmla="*/ 1101049 w 6499257"/>
                <a:gd name="connsiteY40" fmla="*/ 1092836 h 3498714"/>
                <a:gd name="connsiteX41" fmla="*/ 1046523 w 6499257"/>
                <a:gd name="connsiteY41" fmla="*/ 1092836 h 3498714"/>
                <a:gd name="connsiteX42" fmla="*/ 1041071 w 6499257"/>
                <a:gd name="connsiteY42" fmla="*/ 1098289 h 3498714"/>
                <a:gd name="connsiteX43" fmla="*/ 1042136 w 6499257"/>
                <a:gd name="connsiteY43" fmla="*/ 1419754 h 3498714"/>
                <a:gd name="connsiteX44" fmla="*/ 1042136 w 6499257"/>
                <a:gd name="connsiteY44" fmla="*/ 3337652 h 3498714"/>
                <a:gd name="connsiteX45" fmla="*/ 881075 w 6499257"/>
                <a:gd name="connsiteY45" fmla="*/ 3498714 h 3498714"/>
                <a:gd name="connsiteX46" fmla="*/ 720012 w 6499257"/>
                <a:gd name="connsiteY46" fmla="*/ 3337652 h 3498714"/>
                <a:gd name="connsiteX47" fmla="*/ 720012 w 6499257"/>
                <a:gd name="connsiteY47" fmla="*/ 2125717 h 3498714"/>
                <a:gd name="connsiteX48" fmla="*/ 718947 w 6499257"/>
                <a:gd name="connsiteY48" fmla="*/ 2033194 h 3498714"/>
                <a:gd name="connsiteX49" fmla="*/ 714162 w 6499257"/>
                <a:gd name="connsiteY49" fmla="*/ 2028410 h 3498714"/>
                <a:gd name="connsiteX50" fmla="*/ 654759 w 6499257"/>
                <a:gd name="connsiteY50" fmla="*/ 2028410 h 3498714"/>
                <a:gd name="connsiteX51" fmla="*/ 649974 w 6499257"/>
                <a:gd name="connsiteY51" fmla="*/ 2033194 h 3498714"/>
                <a:gd name="connsiteX52" fmla="*/ 649974 w 6499257"/>
                <a:gd name="connsiteY52" fmla="*/ 2125717 h 3498714"/>
                <a:gd name="connsiteX53" fmla="*/ 649574 w 6499257"/>
                <a:gd name="connsiteY53" fmla="*/ 3337652 h 3498714"/>
                <a:gd name="connsiteX54" fmla="*/ 488511 w 6499257"/>
                <a:gd name="connsiteY54" fmla="*/ 3498714 h 3498714"/>
                <a:gd name="connsiteX55" fmla="*/ 327450 w 6499257"/>
                <a:gd name="connsiteY55" fmla="*/ 3337652 h 3498714"/>
                <a:gd name="connsiteX56" fmla="*/ 327450 w 6499257"/>
                <a:gd name="connsiteY56" fmla="*/ 1458216 h 3498714"/>
                <a:gd name="connsiteX57" fmla="*/ 322427 w 6499257"/>
                <a:gd name="connsiteY57" fmla="*/ 1098205 h 3498714"/>
                <a:gd name="connsiteX58" fmla="*/ 317058 w 6499257"/>
                <a:gd name="connsiteY58" fmla="*/ 1092836 h 3498714"/>
                <a:gd name="connsiteX59" fmla="*/ 263371 w 6499257"/>
                <a:gd name="connsiteY59" fmla="*/ 1092836 h 3498714"/>
                <a:gd name="connsiteX60" fmla="*/ 258001 w 6499257"/>
                <a:gd name="connsiteY60" fmla="*/ 1098205 h 3498714"/>
                <a:gd name="connsiteX61" fmla="*/ 258001 w 6499257"/>
                <a:gd name="connsiteY61" fmla="*/ 1444446 h 3498714"/>
                <a:gd name="connsiteX62" fmla="*/ 257700 w 6499257"/>
                <a:gd name="connsiteY62" fmla="*/ 1444370 h 3498714"/>
                <a:gd name="connsiteX63" fmla="*/ 257700 w 6499257"/>
                <a:gd name="connsiteY63" fmla="*/ 1912573 h 3498714"/>
                <a:gd name="connsiteX64" fmla="*/ 128850 w 6499257"/>
                <a:gd name="connsiteY64" fmla="*/ 2041423 h 3498714"/>
                <a:gd name="connsiteX65" fmla="*/ 0 w 6499257"/>
                <a:gd name="connsiteY65" fmla="*/ 1912573 h 3498714"/>
                <a:gd name="connsiteX66" fmla="*/ 0 w 6499257"/>
                <a:gd name="connsiteY66" fmla="*/ 1101802 h 3498714"/>
                <a:gd name="connsiteX67" fmla="*/ 0 w 6499257"/>
                <a:gd name="connsiteY67" fmla="*/ 1003338 h 3498714"/>
                <a:gd name="connsiteX68" fmla="*/ 0 w 6499257"/>
                <a:gd name="connsiteY68" fmla="*/ 982486 h 3498714"/>
                <a:gd name="connsiteX69" fmla="*/ 12733 w 6499257"/>
                <a:gd name="connsiteY69" fmla="*/ 894663 h 3498714"/>
                <a:gd name="connsiteX70" fmla="*/ 20539 w 6499257"/>
                <a:gd name="connsiteY70" fmla="*/ 868773 h 3498714"/>
                <a:gd name="connsiteX71" fmla="*/ 358791 w 6499257"/>
                <a:gd name="connsiteY71" fmla="*/ 644545 h 3498714"/>
                <a:gd name="connsiteX72" fmla="*/ 682782 w 6499257"/>
                <a:gd name="connsiteY72" fmla="*/ 0 h 3498714"/>
                <a:gd name="connsiteX73" fmla="*/ 966919 w 6499257"/>
                <a:gd name="connsiteY73" fmla="*/ 284138 h 3498714"/>
                <a:gd name="connsiteX74" fmla="*/ 682782 w 6499257"/>
                <a:gd name="connsiteY74" fmla="*/ 568275 h 3498714"/>
                <a:gd name="connsiteX75" fmla="*/ 398645 w 6499257"/>
                <a:gd name="connsiteY75" fmla="*/ 284138 h 3498714"/>
                <a:gd name="connsiteX76" fmla="*/ 682782 w 6499257"/>
                <a:gd name="connsiteY76" fmla="*/ 0 h 3498714"/>
                <a:gd name="connsiteX77" fmla="*/ 4707054 w 6499257"/>
                <a:gd name="connsiteY77" fmla="*/ 2902312 h 3498714"/>
                <a:gd name="connsiteX78" fmla="*/ 4818179 w 6499257"/>
                <a:gd name="connsiteY78" fmla="*/ 3013437 h 3498714"/>
                <a:gd name="connsiteX79" fmla="*/ 4707054 w 6499257"/>
                <a:gd name="connsiteY79" fmla="*/ 3124562 h 3498714"/>
                <a:gd name="connsiteX80" fmla="*/ 4545125 w 6499257"/>
                <a:gd name="connsiteY80" fmla="*/ 3124562 h 3498714"/>
                <a:gd name="connsiteX81" fmla="*/ 4545125 w 6499257"/>
                <a:gd name="connsiteY81" fmla="*/ 3361625 h 3498714"/>
                <a:gd name="connsiteX82" fmla="*/ 4436113 w 6499257"/>
                <a:gd name="connsiteY82" fmla="*/ 3470637 h 3498714"/>
                <a:gd name="connsiteX83" fmla="*/ 4235039 w 6499257"/>
                <a:gd name="connsiteY83" fmla="*/ 3470637 h 3498714"/>
                <a:gd name="connsiteX84" fmla="*/ 4126027 w 6499257"/>
                <a:gd name="connsiteY84" fmla="*/ 3361625 h 3498714"/>
                <a:gd name="connsiteX85" fmla="*/ 4126027 w 6499257"/>
                <a:gd name="connsiteY85" fmla="*/ 3124562 h 3498714"/>
                <a:gd name="connsiteX86" fmla="*/ 2589325 w 6499257"/>
                <a:gd name="connsiteY86" fmla="*/ 3124562 h 3498714"/>
                <a:gd name="connsiteX87" fmla="*/ 2589325 w 6499257"/>
                <a:gd name="connsiteY87" fmla="*/ 3361625 h 3498714"/>
                <a:gd name="connsiteX88" fmla="*/ 2480313 w 6499257"/>
                <a:gd name="connsiteY88" fmla="*/ 3470637 h 3498714"/>
                <a:gd name="connsiteX89" fmla="*/ 2279239 w 6499257"/>
                <a:gd name="connsiteY89" fmla="*/ 3470637 h 3498714"/>
                <a:gd name="connsiteX90" fmla="*/ 2170227 w 6499257"/>
                <a:gd name="connsiteY90" fmla="*/ 3361625 h 3498714"/>
                <a:gd name="connsiteX91" fmla="*/ 2170227 w 6499257"/>
                <a:gd name="connsiteY91" fmla="*/ 3124562 h 3498714"/>
                <a:gd name="connsiteX92" fmla="*/ 2052754 w 6499257"/>
                <a:gd name="connsiteY92" fmla="*/ 3124562 h 3498714"/>
                <a:gd name="connsiteX93" fmla="*/ 1941629 w 6499257"/>
                <a:gd name="connsiteY93" fmla="*/ 3013437 h 3498714"/>
                <a:gd name="connsiteX94" fmla="*/ 2052754 w 6499257"/>
                <a:gd name="connsiteY94" fmla="*/ 2902312 h 3498714"/>
                <a:gd name="connsiteX95" fmla="*/ 682782 w 6499257"/>
                <a:gd name="connsiteY95" fmla="*/ 0 h 3498714"/>
                <a:gd name="connsiteX96" fmla="*/ 4492583 w 6499257"/>
                <a:gd name="connsiteY96" fmla="*/ 2089512 h 3498714"/>
                <a:gd name="connsiteX97" fmla="*/ 4311608 w 6499257"/>
                <a:gd name="connsiteY97" fmla="*/ 2270487 h 3498714"/>
                <a:gd name="connsiteX98" fmla="*/ 4492583 w 6499257"/>
                <a:gd name="connsiteY98" fmla="*/ 2451462 h 3498714"/>
                <a:gd name="connsiteX99" fmla="*/ 5407618 w 6499257"/>
                <a:gd name="connsiteY99" fmla="*/ 2468742 h 3498714"/>
                <a:gd name="connsiteX100" fmla="*/ 6498753 w 6499257"/>
                <a:gd name="connsiteY100" fmla="*/ 2404799 h 3498714"/>
                <a:gd name="connsiteX101" fmla="*/ 5388995 w 6499257"/>
                <a:gd name="connsiteY101"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842751 w 6499257"/>
                <a:gd name="connsiteY12" fmla="*/ 1749356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2534724 w 6499257"/>
                <a:gd name="connsiteY16" fmla="*/ 982297 h 3498714"/>
                <a:gd name="connsiteX17" fmla="*/ 4229172 w 6499257"/>
                <a:gd name="connsiteY17" fmla="*/ 982297 h 3498714"/>
                <a:gd name="connsiteX18" fmla="*/ 4546612 w 6499257"/>
                <a:gd name="connsiteY18" fmla="*/ 1856643 h 3498714"/>
                <a:gd name="connsiteX19" fmla="*/ 4936448 w 6499257"/>
                <a:gd name="connsiteY19" fmla="*/ 2279217 h 3498714"/>
                <a:gd name="connsiteX20" fmla="*/ 4802103 w 6499257"/>
                <a:gd name="connsiteY20" fmla="*/ 2588456 h 3498714"/>
                <a:gd name="connsiteX21" fmla="*/ 4904699 w 6499257"/>
                <a:gd name="connsiteY21" fmla="*/ 2705462 h 3498714"/>
                <a:gd name="connsiteX22" fmla="*/ 4904698 w 6499257"/>
                <a:gd name="connsiteY22" fmla="*/ 2705462 h 3498714"/>
                <a:gd name="connsiteX23" fmla="*/ 4784047 w 6499257"/>
                <a:gd name="connsiteY23" fmla="*/ 2826113 h 3498714"/>
                <a:gd name="connsiteX24" fmla="*/ 1970999 w 6499257"/>
                <a:gd name="connsiteY24" fmla="*/ 2826112 h 3498714"/>
                <a:gd name="connsiteX25" fmla="*/ 1850348 w 6499257"/>
                <a:gd name="connsiteY25" fmla="*/ 2705462 h 3498714"/>
                <a:gd name="connsiteX26" fmla="*/ 1956769 w 6499257"/>
                <a:gd name="connsiteY26" fmla="*/ 2587684 h 3498714"/>
                <a:gd name="connsiteX27" fmla="*/ 1823360 w 6499257"/>
                <a:gd name="connsiteY27" fmla="*/ 2279217 h 3498714"/>
                <a:gd name="connsiteX28" fmla="*/ 2217440 w 6499257"/>
                <a:gd name="connsiteY28" fmla="*/ 1856216 h 3498714"/>
                <a:gd name="connsiteX29" fmla="*/ 2534724 w 6499257"/>
                <a:gd name="connsiteY29" fmla="*/ 982297 h 3498714"/>
                <a:gd name="connsiteX30" fmla="*/ 358791 w 6499257"/>
                <a:gd name="connsiteY30" fmla="*/ 644545 h 3498714"/>
                <a:gd name="connsiteX31" fmla="*/ 1006774 w 6499257"/>
                <a:gd name="connsiteY31" fmla="*/ 644545 h 3498714"/>
                <a:gd name="connsiteX32" fmla="*/ 1542636 w 6499257"/>
                <a:gd name="connsiteY32" fmla="*/ 1193969 h 3498714"/>
                <a:gd name="connsiteX33" fmla="*/ 1929878 w 6499257"/>
                <a:gd name="connsiteY33" fmla="*/ 1193970 h 3498714"/>
                <a:gd name="connsiteX34" fmla="*/ 2070059 w 6499257"/>
                <a:gd name="connsiteY34" fmla="*/ 1334152 h 3498714"/>
                <a:gd name="connsiteX35" fmla="*/ 1929878 w 6499257"/>
                <a:gd name="connsiteY35" fmla="*/ 1474333 h 3498714"/>
                <a:gd name="connsiteX36" fmla="*/ 1520943 w 6499257"/>
                <a:gd name="connsiteY36" fmla="*/ 1470388 h 3498714"/>
                <a:gd name="connsiteX37" fmla="*/ 1332825 w 6499257"/>
                <a:gd name="connsiteY37" fmla="*/ 1367201 h 3498714"/>
                <a:gd name="connsiteX38" fmla="*/ 1106501 w 6499257"/>
                <a:gd name="connsiteY38" fmla="*/ 1098289 h 3498714"/>
                <a:gd name="connsiteX39" fmla="*/ 1101049 w 6499257"/>
                <a:gd name="connsiteY39" fmla="*/ 1092836 h 3498714"/>
                <a:gd name="connsiteX40" fmla="*/ 1046523 w 6499257"/>
                <a:gd name="connsiteY40" fmla="*/ 1092836 h 3498714"/>
                <a:gd name="connsiteX41" fmla="*/ 1041071 w 6499257"/>
                <a:gd name="connsiteY41" fmla="*/ 1098289 h 3498714"/>
                <a:gd name="connsiteX42" fmla="*/ 1042136 w 6499257"/>
                <a:gd name="connsiteY42" fmla="*/ 1419754 h 3498714"/>
                <a:gd name="connsiteX43" fmla="*/ 1042136 w 6499257"/>
                <a:gd name="connsiteY43" fmla="*/ 3337652 h 3498714"/>
                <a:gd name="connsiteX44" fmla="*/ 881075 w 6499257"/>
                <a:gd name="connsiteY44" fmla="*/ 3498714 h 3498714"/>
                <a:gd name="connsiteX45" fmla="*/ 720012 w 6499257"/>
                <a:gd name="connsiteY45" fmla="*/ 3337652 h 3498714"/>
                <a:gd name="connsiteX46" fmla="*/ 720012 w 6499257"/>
                <a:gd name="connsiteY46" fmla="*/ 2125717 h 3498714"/>
                <a:gd name="connsiteX47" fmla="*/ 718947 w 6499257"/>
                <a:gd name="connsiteY47" fmla="*/ 2033194 h 3498714"/>
                <a:gd name="connsiteX48" fmla="*/ 714162 w 6499257"/>
                <a:gd name="connsiteY48" fmla="*/ 2028410 h 3498714"/>
                <a:gd name="connsiteX49" fmla="*/ 654759 w 6499257"/>
                <a:gd name="connsiteY49" fmla="*/ 2028410 h 3498714"/>
                <a:gd name="connsiteX50" fmla="*/ 649974 w 6499257"/>
                <a:gd name="connsiteY50" fmla="*/ 2033194 h 3498714"/>
                <a:gd name="connsiteX51" fmla="*/ 649974 w 6499257"/>
                <a:gd name="connsiteY51" fmla="*/ 2125717 h 3498714"/>
                <a:gd name="connsiteX52" fmla="*/ 649574 w 6499257"/>
                <a:gd name="connsiteY52" fmla="*/ 3337652 h 3498714"/>
                <a:gd name="connsiteX53" fmla="*/ 488511 w 6499257"/>
                <a:gd name="connsiteY53" fmla="*/ 3498714 h 3498714"/>
                <a:gd name="connsiteX54" fmla="*/ 327450 w 6499257"/>
                <a:gd name="connsiteY54" fmla="*/ 3337652 h 3498714"/>
                <a:gd name="connsiteX55" fmla="*/ 327450 w 6499257"/>
                <a:gd name="connsiteY55" fmla="*/ 1458216 h 3498714"/>
                <a:gd name="connsiteX56" fmla="*/ 322427 w 6499257"/>
                <a:gd name="connsiteY56" fmla="*/ 1098205 h 3498714"/>
                <a:gd name="connsiteX57" fmla="*/ 317058 w 6499257"/>
                <a:gd name="connsiteY57" fmla="*/ 1092836 h 3498714"/>
                <a:gd name="connsiteX58" fmla="*/ 263371 w 6499257"/>
                <a:gd name="connsiteY58" fmla="*/ 1092836 h 3498714"/>
                <a:gd name="connsiteX59" fmla="*/ 258001 w 6499257"/>
                <a:gd name="connsiteY59" fmla="*/ 1098205 h 3498714"/>
                <a:gd name="connsiteX60" fmla="*/ 258001 w 6499257"/>
                <a:gd name="connsiteY60" fmla="*/ 1444446 h 3498714"/>
                <a:gd name="connsiteX61" fmla="*/ 257700 w 6499257"/>
                <a:gd name="connsiteY61" fmla="*/ 1444370 h 3498714"/>
                <a:gd name="connsiteX62" fmla="*/ 257700 w 6499257"/>
                <a:gd name="connsiteY62" fmla="*/ 1912573 h 3498714"/>
                <a:gd name="connsiteX63" fmla="*/ 128850 w 6499257"/>
                <a:gd name="connsiteY63" fmla="*/ 2041423 h 3498714"/>
                <a:gd name="connsiteX64" fmla="*/ 0 w 6499257"/>
                <a:gd name="connsiteY64" fmla="*/ 1912573 h 3498714"/>
                <a:gd name="connsiteX65" fmla="*/ 0 w 6499257"/>
                <a:gd name="connsiteY65" fmla="*/ 1101802 h 3498714"/>
                <a:gd name="connsiteX66" fmla="*/ 0 w 6499257"/>
                <a:gd name="connsiteY66" fmla="*/ 1003338 h 3498714"/>
                <a:gd name="connsiteX67" fmla="*/ 0 w 6499257"/>
                <a:gd name="connsiteY67" fmla="*/ 982486 h 3498714"/>
                <a:gd name="connsiteX68" fmla="*/ 12733 w 6499257"/>
                <a:gd name="connsiteY68" fmla="*/ 894663 h 3498714"/>
                <a:gd name="connsiteX69" fmla="*/ 20539 w 6499257"/>
                <a:gd name="connsiteY69" fmla="*/ 868773 h 3498714"/>
                <a:gd name="connsiteX70" fmla="*/ 358791 w 6499257"/>
                <a:gd name="connsiteY70" fmla="*/ 644545 h 3498714"/>
                <a:gd name="connsiteX71" fmla="*/ 682782 w 6499257"/>
                <a:gd name="connsiteY71" fmla="*/ 0 h 3498714"/>
                <a:gd name="connsiteX72" fmla="*/ 966919 w 6499257"/>
                <a:gd name="connsiteY72" fmla="*/ 284138 h 3498714"/>
                <a:gd name="connsiteX73" fmla="*/ 682782 w 6499257"/>
                <a:gd name="connsiteY73" fmla="*/ 568275 h 3498714"/>
                <a:gd name="connsiteX74" fmla="*/ 398645 w 6499257"/>
                <a:gd name="connsiteY74" fmla="*/ 284138 h 3498714"/>
                <a:gd name="connsiteX75" fmla="*/ 682782 w 6499257"/>
                <a:gd name="connsiteY75" fmla="*/ 0 h 3498714"/>
                <a:gd name="connsiteX76" fmla="*/ 4707054 w 6499257"/>
                <a:gd name="connsiteY76" fmla="*/ 2902312 h 3498714"/>
                <a:gd name="connsiteX77" fmla="*/ 4818179 w 6499257"/>
                <a:gd name="connsiteY77" fmla="*/ 3013437 h 3498714"/>
                <a:gd name="connsiteX78" fmla="*/ 4707054 w 6499257"/>
                <a:gd name="connsiteY78" fmla="*/ 3124562 h 3498714"/>
                <a:gd name="connsiteX79" fmla="*/ 4545125 w 6499257"/>
                <a:gd name="connsiteY79" fmla="*/ 3124562 h 3498714"/>
                <a:gd name="connsiteX80" fmla="*/ 4545125 w 6499257"/>
                <a:gd name="connsiteY80" fmla="*/ 3361625 h 3498714"/>
                <a:gd name="connsiteX81" fmla="*/ 4436113 w 6499257"/>
                <a:gd name="connsiteY81" fmla="*/ 3470637 h 3498714"/>
                <a:gd name="connsiteX82" fmla="*/ 4235039 w 6499257"/>
                <a:gd name="connsiteY82" fmla="*/ 3470637 h 3498714"/>
                <a:gd name="connsiteX83" fmla="*/ 4126027 w 6499257"/>
                <a:gd name="connsiteY83" fmla="*/ 3361625 h 3498714"/>
                <a:gd name="connsiteX84" fmla="*/ 4126027 w 6499257"/>
                <a:gd name="connsiteY84" fmla="*/ 3124562 h 3498714"/>
                <a:gd name="connsiteX85" fmla="*/ 2589325 w 6499257"/>
                <a:gd name="connsiteY85" fmla="*/ 3124562 h 3498714"/>
                <a:gd name="connsiteX86" fmla="*/ 2589325 w 6499257"/>
                <a:gd name="connsiteY86" fmla="*/ 3361625 h 3498714"/>
                <a:gd name="connsiteX87" fmla="*/ 2480313 w 6499257"/>
                <a:gd name="connsiteY87" fmla="*/ 3470637 h 3498714"/>
                <a:gd name="connsiteX88" fmla="*/ 2279239 w 6499257"/>
                <a:gd name="connsiteY88" fmla="*/ 3470637 h 3498714"/>
                <a:gd name="connsiteX89" fmla="*/ 2170227 w 6499257"/>
                <a:gd name="connsiteY89" fmla="*/ 3361625 h 3498714"/>
                <a:gd name="connsiteX90" fmla="*/ 2170227 w 6499257"/>
                <a:gd name="connsiteY90" fmla="*/ 3124562 h 3498714"/>
                <a:gd name="connsiteX91" fmla="*/ 2052754 w 6499257"/>
                <a:gd name="connsiteY91" fmla="*/ 3124562 h 3498714"/>
                <a:gd name="connsiteX92" fmla="*/ 1941629 w 6499257"/>
                <a:gd name="connsiteY92" fmla="*/ 3013437 h 3498714"/>
                <a:gd name="connsiteX93" fmla="*/ 2052754 w 6499257"/>
                <a:gd name="connsiteY93" fmla="*/ 2902312 h 3498714"/>
                <a:gd name="connsiteX94" fmla="*/ 682782 w 6499257"/>
                <a:gd name="connsiteY94" fmla="*/ 0 h 3498714"/>
                <a:gd name="connsiteX95" fmla="*/ 4492583 w 6499257"/>
                <a:gd name="connsiteY95" fmla="*/ 2089512 h 3498714"/>
                <a:gd name="connsiteX96" fmla="*/ 4311608 w 6499257"/>
                <a:gd name="connsiteY96" fmla="*/ 2270487 h 3498714"/>
                <a:gd name="connsiteX97" fmla="*/ 4492583 w 6499257"/>
                <a:gd name="connsiteY97" fmla="*/ 2451462 h 3498714"/>
                <a:gd name="connsiteX98" fmla="*/ 5407618 w 6499257"/>
                <a:gd name="connsiteY98" fmla="*/ 2468742 h 3498714"/>
                <a:gd name="connsiteX99" fmla="*/ 6498753 w 6499257"/>
                <a:gd name="connsiteY99" fmla="*/ 2404799 h 3498714"/>
                <a:gd name="connsiteX100" fmla="*/ 5388995 w 6499257"/>
                <a:gd name="connsiteY100"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842751 w 6499257"/>
                <a:gd name="connsiteY12" fmla="*/ 1749356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2534724 w 6499257"/>
                <a:gd name="connsiteY16" fmla="*/ 982297 h 3498714"/>
                <a:gd name="connsiteX17" fmla="*/ 4546612 w 6499257"/>
                <a:gd name="connsiteY17" fmla="*/ 1856643 h 3498714"/>
                <a:gd name="connsiteX18" fmla="*/ 4936448 w 6499257"/>
                <a:gd name="connsiteY18" fmla="*/ 2279217 h 3498714"/>
                <a:gd name="connsiteX19" fmla="*/ 4802103 w 6499257"/>
                <a:gd name="connsiteY19" fmla="*/ 2588456 h 3498714"/>
                <a:gd name="connsiteX20" fmla="*/ 4904699 w 6499257"/>
                <a:gd name="connsiteY20" fmla="*/ 2705462 h 3498714"/>
                <a:gd name="connsiteX21" fmla="*/ 4904698 w 6499257"/>
                <a:gd name="connsiteY21" fmla="*/ 2705462 h 3498714"/>
                <a:gd name="connsiteX22" fmla="*/ 4784047 w 6499257"/>
                <a:gd name="connsiteY22" fmla="*/ 2826113 h 3498714"/>
                <a:gd name="connsiteX23" fmla="*/ 1970999 w 6499257"/>
                <a:gd name="connsiteY23" fmla="*/ 2826112 h 3498714"/>
                <a:gd name="connsiteX24" fmla="*/ 1850348 w 6499257"/>
                <a:gd name="connsiteY24" fmla="*/ 2705462 h 3498714"/>
                <a:gd name="connsiteX25" fmla="*/ 1956769 w 6499257"/>
                <a:gd name="connsiteY25" fmla="*/ 2587684 h 3498714"/>
                <a:gd name="connsiteX26" fmla="*/ 1823360 w 6499257"/>
                <a:gd name="connsiteY26" fmla="*/ 2279217 h 3498714"/>
                <a:gd name="connsiteX27" fmla="*/ 2217440 w 6499257"/>
                <a:gd name="connsiteY27" fmla="*/ 1856216 h 3498714"/>
                <a:gd name="connsiteX28" fmla="*/ 2534724 w 6499257"/>
                <a:gd name="connsiteY28" fmla="*/ 982297 h 3498714"/>
                <a:gd name="connsiteX29" fmla="*/ 358791 w 6499257"/>
                <a:gd name="connsiteY29" fmla="*/ 644545 h 3498714"/>
                <a:gd name="connsiteX30" fmla="*/ 1006774 w 6499257"/>
                <a:gd name="connsiteY30" fmla="*/ 644545 h 3498714"/>
                <a:gd name="connsiteX31" fmla="*/ 1542636 w 6499257"/>
                <a:gd name="connsiteY31" fmla="*/ 1193969 h 3498714"/>
                <a:gd name="connsiteX32" fmla="*/ 1929878 w 6499257"/>
                <a:gd name="connsiteY32" fmla="*/ 1193970 h 3498714"/>
                <a:gd name="connsiteX33" fmla="*/ 2070059 w 6499257"/>
                <a:gd name="connsiteY33" fmla="*/ 1334152 h 3498714"/>
                <a:gd name="connsiteX34" fmla="*/ 1929878 w 6499257"/>
                <a:gd name="connsiteY34" fmla="*/ 1474333 h 3498714"/>
                <a:gd name="connsiteX35" fmla="*/ 1520943 w 6499257"/>
                <a:gd name="connsiteY35" fmla="*/ 1470388 h 3498714"/>
                <a:gd name="connsiteX36" fmla="*/ 1332825 w 6499257"/>
                <a:gd name="connsiteY36" fmla="*/ 1367201 h 3498714"/>
                <a:gd name="connsiteX37" fmla="*/ 1106501 w 6499257"/>
                <a:gd name="connsiteY37" fmla="*/ 1098289 h 3498714"/>
                <a:gd name="connsiteX38" fmla="*/ 1101049 w 6499257"/>
                <a:gd name="connsiteY38" fmla="*/ 1092836 h 3498714"/>
                <a:gd name="connsiteX39" fmla="*/ 1046523 w 6499257"/>
                <a:gd name="connsiteY39" fmla="*/ 1092836 h 3498714"/>
                <a:gd name="connsiteX40" fmla="*/ 1041071 w 6499257"/>
                <a:gd name="connsiteY40" fmla="*/ 1098289 h 3498714"/>
                <a:gd name="connsiteX41" fmla="*/ 1042136 w 6499257"/>
                <a:gd name="connsiteY41" fmla="*/ 1419754 h 3498714"/>
                <a:gd name="connsiteX42" fmla="*/ 1042136 w 6499257"/>
                <a:gd name="connsiteY42" fmla="*/ 3337652 h 3498714"/>
                <a:gd name="connsiteX43" fmla="*/ 881075 w 6499257"/>
                <a:gd name="connsiteY43" fmla="*/ 3498714 h 3498714"/>
                <a:gd name="connsiteX44" fmla="*/ 720012 w 6499257"/>
                <a:gd name="connsiteY44" fmla="*/ 3337652 h 3498714"/>
                <a:gd name="connsiteX45" fmla="*/ 720012 w 6499257"/>
                <a:gd name="connsiteY45" fmla="*/ 2125717 h 3498714"/>
                <a:gd name="connsiteX46" fmla="*/ 718947 w 6499257"/>
                <a:gd name="connsiteY46" fmla="*/ 2033194 h 3498714"/>
                <a:gd name="connsiteX47" fmla="*/ 714162 w 6499257"/>
                <a:gd name="connsiteY47" fmla="*/ 2028410 h 3498714"/>
                <a:gd name="connsiteX48" fmla="*/ 654759 w 6499257"/>
                <a:gd name="connsiteY48" fmla="*/ 2028410 h 3498714"/>
                <a:gd name="connsiteX49" fmla="*/ 649974 w 6499257"/>
                <a:gd name="connsiteY49" fmla="*/ 2033194 h 3498714"/>
                <a:gd name="connsiteX50" fmla="*/ 649974 w 6499257"/>
                <a:gd name="connsiteY50" fmla="*/ 2125717 h 3498714"/>
                <a:gd name="connsiteX51" fmla="*/ 649574 w 6499257"/>
                <a:gd name="connsiteY51" fmla="*/ 3337652 h 3498714"/>
                <a:gd name="connsiteX52" fmla="*/ 488511 w 6499257"/>
                <a:gd name="connsiteY52" fmla="*/ 3498714 h 3498714"/>
                <a:gd name="connsiteX53" fmla="*/ 327450 w 6499257"/>
                <a:gd name="connsiteY53" fmla="*/ 3337652 h 3498714"/>
                <a:gd name="connsiteX54" fmla="*/ 327450 w 6499257"/>
                <a:gd name="connsiteY54" fmla="*/ 1458216 h 3498714"/>
                <a:gd name="connsiteX55" fmla="*/ 322427 w 6499257"/>
                <a:gd name="connsiteY55" fmla="*/ 1098205 h 3498714"/>
                <a:gd name="connsiteX56" fmla="*/ 317058 w 6499257"/>
                <a:gd name="connsiteY56" fmla="*/ 1092836 h 3498714"/>
                <a:gd name="connsiteX57" fmla="*/ 263371 w 6499257"/>
                <a:gd name="connsiteY57" fmla="*/ 1092836 h 3498714"/>
                <a:gd name="connsiteX58" fmla="*/ 258001 w 6499257"/>
                <a:gd name="connsiteY58" fmla="*/ 1098205 h 3498714"/>
                <a:gd name="connsiteX59" fmla="*/ 258001 w 6499257"/>
                <a:gd name="connsiteY59" fmla="*/ 1444446 h 3498714"/>
                <a:gd name="connsiteX60" fmla="*/ 257700 w 6499257"/>
                <a:gd name="connsiteY60" fmla="*/ 1444370 h 3498714"/>
                <a:gd name="connsiteX61" fmla="*/ 257700 w 6499257"/>
                <a:gd name="connsiteY61" fmla="*/ 1912573 h 3498714"/>
                <a:gd name="connsiteX62" fmla="*/ 128850 w 6499257"/>
                <a:gd name="connsiteY62" fmla="*/ 2041423 h 3498714"/>
                <a:gd name="connsiteX63" fmla="*/ 0 w 6499257"/>
                <a:gd name="connsiteY63" fmla="*/ 1912573 h 3498714"/>
                <a:gd name="connsiteX64" fmla="*/ 0 w 6499257"/>
                <a:gd name="connsiteY64" fmla="*/ 1101802 h 3498714"/>
                <a:gd name="connsiteX65" fmla="*/ 0 w 6499257"/>
                <a:gd name="connsiteY65" fmla="*/ 1003338 h 3498714"/>
                <a:gd name="connsiteX66" fmla="*/ 0 w 6499257"/>
                <a:gd name="connsiteY66" fmla="*/ 982486 h 3498714"/>
                <a:gd name="connsiteX67" fmla="*/ 12733 w 6499257"/>
                <a:gd name="connsiteY67" fmla="*/ 894663 h 3498714"/>
                <a:gd name="connsiteX68" fmla="*/ 20539 w 6499257"/>
                <a:gd name="connsiteY68" fmla="*/ 868773 h 3498714"/>
                <a:gd name="connsiteX69" fmla="*/ 358791 w 6499257"/>
                <a:gd name="connsiteY69" fmla="*/ 644545 h 3498714"/>
                <a:gd name="connsiteX70" fmla="*/ 682782 w 6499257"/>
                <a:gd name="connsiteY70" fmla="*/ 0 h 3498714"/>
                <a:gd name="connsiteX71" fmla="*/ 966919 w 6499257"/>
                <a:gd name="connsiteY71" fmla="*/ 284138 h 3498714"/>
                <a:gd name="connsiteX72" fmla="*/ 682782 w 6499257"/>
                <a:gd name="connsiteY72" fmla="*/ 568275 h 3498714"/>
                <a:gd name="connsiteX73" fmla="*/ 398645 w 6499257"/>
                <a:gd name="connsiteY73" fmla="*/ 284138 h 3498714"/>
                <a:gd name="connsiteX74" fmla="*/ 682782 w 6499257"/>
                <a:gd name="connsiteY74" fmla="*/ 0 h 3498714"/>
                <a:gd name="connsiteX75" fmla="*/ 4707054 w 6499257"/>
                <a:gd name="connsiteY75" fmla="*/ 2902312 h 3498714"/>
                <a:gd name="connsiteX76" fmla="*/ 4818179 w 6499257"/>
                <a:gd name="connsiteY76" fmla="*/ 3013437 h 3498714"/>
                <a:gd name="connsiteX77" fmla="*/ 4707054 w 6499257"/>
                <a:gd name="connsiteY77" fmla="*/ 3124562 h 3498714"/>
                <a:gd name="connsiteX78" fmla="*/ 4545125 w 6499257"/>
                <a:gd name="connsiteY78" fmla="*/ 3124562 h 3498714"/>
                <a:gd name="connsiteX79" fmla="*/ 4545125 w 6499257"/>
                <a:gd name="connsiteY79" fmla="*/ 3361625 h 3498714"/>
                <a:gd name="connsiteX80" fmla="*/ 4436113 w 6499257"/>
                <a:gd name="connsiteY80" fmla="*/ 3470637 h 3498714"/>
                <a:gd name="connsiteX81" fmla="*/ 4235039 w 6499257"/>
                <a:gd name="connsiteY81" fmla="*/ 3470637 h 3498714"/>
                <a:gd name="connsiteX82" fmla="*/ 4126027 w 6499257"/>
                <a:gd name="connsiteY82" fmla="*/ 3361625 h 3498714"/>
                <a:gd name="connsiteX83" fmla="*/ 4126027 w 6499257"/>
                <a:gd name="connsiteY83" fmla="*/ 3124562 h 3498714"/>
                <a:gd name="connsiteX84" fmla="*/ 2589325 w 6499257"/>
                <a:gd name="connsiteY84" fmla="*/ 3124562 h 3498714"/>
                <a:gd name="connsiteX85" fmla="*/ 2589325 w 6499257"/>
                <a:gd name="connsiteY85" fmla="*/ 3361625 h 3498714"/>
                <a:gd name="connsiteX86" fmla="*/ 2480313 w 6499257"/>
                <a:gd name="connsiteY86" fmla="*/ 3470637 h 3498714"/>
                <a:gd name="connsiteX87" fmla="*/ 2279239 w 6499257"/>
                <a:gd name="connsiteY87" fmla="*/ 3470637 h 3498714"/>
                <a:gd name="connsiteX88" fmla="*/ 2170227 w 6499257"/>
                <a:gd name="connsiteY88" fmla="*/ 3361625 h 3498714"/>
                <a:gd name="connsiteX89" fmla="*/ 2170227 w 6499257"/>
                <a:gd name="connsiteY89" fmla="*/ 3124562 h 3498714"/>
                <a:gd name="connsiteX90" fmla="*/ 2052754 w 6499257"/>
                <a:gd name="connsiteY90" fmla="*/ 3124562 h 3498714"/>
                <a:gd name="connsiteX91" fmla="*/ 1941629 w 6499257"/>
                <a:gd name="connsiteY91" fmla="*/ 3013437 h 3498714"/>
                <a:gd name="connsiteX92" fmla="*/ 2052754 w 6499257"/>
                <a:gd name="connsiteY92" fmla="*/ 2902312 h 3498714"/>
                <a:gd name="connsiteX93" fmla="*/ 682782 w 6499257"/>
                <a:gd name="connsiteY93" fmla="*/ 0 h 3498714"/>
                <a:gd name="connsiteX94" fmla="*/ 4492583 w 6499257"/>
                <a:gd name="connsiteY94" fmla="*/ 2089512 h 3498714"/>
                <a:gd name="connsiteX95" fmla="*/ 4311608 w 6499257"/>
                <a:gd name="connsiteY95" fmla="*/ 2270487 h 3498714"/>
                <a:gd name="connsiteX96" fmla="*/ 4492583 w 6499257"/>
                <a:gd name="connsiteY96" fmla="*/ 2451462 h 3498714"/>
                <a:gd name="connsiteX97" fmla="*/ 5407618 w 6499257"/>
                <a:gd name="connsiteY97" fmla="*/ 2468742 h 3498714"/>
                <a:gd name="connsiteX98" fmla="*/ 6498753 w 6499257"/>
                <a:gd name="connsiteY98" fmla="*/ 2404799 h 3498714"/>
                <a:gd name="connsiteX99" fmla="*/ 5388995 w 6499257"/>
                <a:gd name="connsiteY99"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842751 w 6499257"/>
                <a:gd name="connsiteY12" fmla="*/ 1749356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2534724 w 6499257"/>
                <a:gd name="connsiteY16" fmla="*/ 982297 h 3498714"/>
                <a:gd name="connsiteX17" fmla="*/ 4936448 w 6499257"/>
                <a:gd name="connsiteY17" fmla="*/ 2279217 h 3498714"/>
                <a:gd name="connsiteX18" fmla="*/ 4802103 w 6499257"/>
                <a:gd name="connsiteY18" fmla="*/ 2588456 h 3498714"/>
                <a:gd name="connsiteX19" fmla="*/ 4904699 w 6499257"/>
                <a:gd name="connsiteY19" fmla="*/ 2705462 h 3498714"/>
                <a:gd name="connsiteX20" fmla="*/ 4904698 w 6499257"/>
                <a:gd name="connsiteY20" fmla="*/ 2705462 h 3498714"/>
                <a:gd name="connsiteX21" fmla="*/ 4784047 w 6499257"/>
                <a:gd name="connsiteY21" fmla="*/ 2826113 h 3498714"/>
                <a:gd name="connsiteX22" fmla="*/ 1970999 w 6499257"/>
                <a:gd name="connsiteY22" fmla="*/ 2826112 h 3498714"/>
                <a:gd name="connsiteX23" fmla="*/ 1850348 w 6499257"/>
                <a:gd name="connsiteY23" fmla="*/ 2705462 h 3498714"/>
                <a:gd name="connsiteX24" fmla="*/ 1956769 w 6499257"/>
                <a:gd name="connsiteY24" fmla="*/ 2587684 h 3498714"/>
                <a:gd name="connsiteX25" fmla="*/ 1823360 w 6499257"/>
                <a:gd name="connsiteY25" fmla="*/ 2279217 h 3498714"/>
                <a:gd name="connsiteX26" fmla="*/ 2217440 w 6499257"/>
                <a:gd name="connsiteY26" fmla="*/ 1856216 h 3498714"/>
                <a:gd name="connsiteX27" fmla="*/ 2534724 w 6499257"/>
                <a:gd name="connsiteY27" fmla="*/ 982297 h 3498714"/>
                <a:gd name="connsiteX28" fmla="*/ 358791 w 6499257"/>
                <a:gd name="connsiteY28" fmla="*/ 644545 h 3498714"/>
                <a:gd name="connsiteX29" fmla="*/ 1006774 w 6499257"/>
                <a:gd name="connsiteY29" fmla="*/ 644545 h 3498714"/>
                <a:gd name="connsiteX30" fmla="*/ 1542636 w 6499257"/>
                <a:gd name="connsiteY30" fmla="*/ 1193969 h 3498714"/>
                <a:gd name="connsiteX31" fmla="*/ 1929878 w 6499257"/>
                <a:gd name="connsiteY31" fmla="*/ 1193970 h 3498714"/>
                <a:gd name="connsiteX32" fmla="*/ 2070059 w 6499257"/>
                <a:gd name="connsiteY32" fmla="*/ 1334152 h 3498714"/>
                <a:gd name="connsiteX33" fmla="*/ 1929878 w 6499257"/>
                <a:gd name="connsiteY33" fmla="*/ 1474333 h 3498714"/>
                <a:gd name="connsiteX34" fmla="*/ 1520943 w 6499257"/>
                <a:gd name="connsiteY34" fmla="*/ 1470388 h 3498714"/>
                <a:gd name="connsiteX35" fmla="*/ 1332825 w 6499257"/>
                <a:gd name="connsiteY35" fmla="*/ 1367201 h 3498714"/>
                <a:gd name="connsiteX36" fmla="*/ 1106501 w 6499257"/>
                <a:gd name="connsiteY36" fmla="*/ 1098289 h 3498714"/>
                <a:gd name="connsiteX37" fmla="*/ 1101049 w 6499257"/>
                <a:gd name="connsiteY37" fmla="*/ 1092836 h 3498714"/>
                <a:gd name="connsiteX38" fmla="*/ 1046523 w 6499257"/>
                <a:gd name="connsiteY38" fmla="*/ 1092836 h 3498714"/>
                <a:gd name="connsiteX39" fmla="*/ 1041071 w 6499257"/>
                <a:gd name="connsiteY39" fmla="*/ 1098289 h 3498714"/>
                <a:gd name="connsiteX40" fmla="*/ 1042136 w 6499257"/>
                <a:gd name="connsiteY40" fmla="*/ 1419754 h 3498714"/>
                <a:gd name="connsiteX41" fmla="*/ 1042136 w 6499257"/>
                <a:gd name="connsiteY41" fmla="*/ 3337652 h 3498714"/>
                <a:gd name="connsiteX42" fmla="*/ 881075 w 6499257"/>
                <a:gd name="connsiteY42" fmla="*/ 3498714 h 3498714"/>
                <a:gd name="connsiteX43" fmla="*/ 720012 w 6499257"/>
                <a:gd name="connsiteY43" fmla="*/ 3337652 h 3498714"/>
                <a:gd name="connsiteX44" fmla="*/ 720012 w 6499257"/>
                <a:gd name="connsiteY44" fmla="*/ 2125717 h 3498714"/>
                <a:gd name="connsiteX45" fmla="*/ 718947 w 6499257"/>
                <a:gd name="connsiteY45" fmla="*/ 2033194 h 3498714"/>
                <a:gd name="connsiteX46" fmla="*/ 714162 w 6499257"/>
                <a:gd name="connsiteY46" fmla="*/ 2028410 h 3498714"/>
                <a:gd name="connsiteX47" fmla="*/ 654759 w 6499257"/>
                <a:gd name="connsiteY47" fmla="*/ 2028410 h 3498714"/>
                <a:gd name="connsiteX48" fmla="*/ 649974 w 6499257"/>
                <a:gd name="connsiteY48" fmla="*/ 2033194 h 3498714"/>
                <a:gd name="connsiteX49" fmla="*/ 649974 w 6499257"/>
                <a:gd name="connsiteY49" fmla="*/ 2125717 h 3498714"/>
                <a:gd name="connsiteX50" fmla="*/ 649574 w 6499257"/>
                <a:gd name="connsiteY50" fmla="*/ 3337652 h 3498714"/>
                <a:gd name="connsiteX51" fmla="*/ 488511 w 6499257"/>
                <a:gd name="connsiteY51" fmla="*/ 3498714 h 3498714"/>
                <a:gd name="connsiteX52" fmla="*/ 327450 w 6499257"/>
                <a:gd name="connsiteY52" fmla="*/ 3337652 h 3498714"/>
                <a:gd name="connsiteX53" fmla="*/ 327450 w 6499257"/>
                <a:gd name="connsiteY53" fmla="*/ 1458216 h 3498714"/>
                <a:gd name="connsiteX54" fmla="*/ 322427 w 6499257"/>
                <a:gd name="connsiteY54" fmla="*/ 1098205 h 3498714"/>
                <a:gd name="connsiteX55" fmla="*/ 317058 w 6499257"/>
                <a:gd name="connsiteY55" fmla="*/ 1092836 h 3498714"/>
                <a:gd name="connsiteX56" fmla="*/ 263371 w 6499257"/>
                <a:gd name="connsiteY56" fmla="*/ 1092836 h 3498714"/>
                <a:gd name="connsiteX57" fmla="*/ 258001 w 6499257"/>
                <a:gd name="connsiteY57" fmla="*/ 1098205 h 3498714"/>
                <a:gd name="connsiteX58" fmla="*/ 258001 w 6499257"/>
                <a:gd name="connsiteY58" fmla="*/ 1444446 h 3498714"/>
                <a:gd name="connsiteX59" fmla="*/ 257700 w 6499257"/>
                <a:gd name="connsiteY59" fmla="*/ 1444370 h 3498714"/>
                <a:gd name="connsiteX60" fmla="*/ 257700 w 6499257"/>
                <a:gd name="connsiteY60" fmla="*/ 1912573 h 3498714"/>
                <a:gd name="connsiteX61" fmla="*/ 128850 w 6499257"/>
                <a:gd name="connsiteY61" fmla="*/ 2041423 h 3498714"/>
                <a:gd name="connsiteX62" fmla="*/ 0 w 6499257"/>
                <a:gd name="connsiteY62" fmla="*/ 1912573 h 3498714"/>
                <a:gd name="connsiteX63" fmla="*/ 0 w 6499257"/>
                <a:gd name="connsiteY63" fmla="*/ 1101802 h 3498714"/>
                <a:gd name="connsiteX64" fmla="*/ 0 w 6499257"/>
                <a:gd name="connsiteY64" fmla="*/ 1003338 h 3498714"/>
                <a:gd name="connsiteX65" fmla="*/ 0 w 6499257"/>
                <a:gd name="connsiteY65" fmla="*/ 982486 h 3498714"/>
                <a:gd name="connsiteX66" fmla="*/ 12733 w 6499257"/>
                <a:gd name="connsiteY66" fmla="*/ 894663 h 3498714"/>
                <a:gd name="connsiteX67" fmla="*/ 20539 w 6499257"/>
                <a:gd name="connsiteY67" fmla="*/ 868773 h 3498714"/>
                <a:gd name="connsiteX68" fmla="*/ 358791 w 6499257"/>
                <a:gd name="connsiteY68" fmla="*/ 644545 h 3498714"/>
                <a:gd name="connsiteX69" fmla="*/ 682782 w 6499257"/>
                <a:gd name="connsiteY69" fmla="*/ 0 h 3498714"/>
                <a:gd name="connsiteX70" fmla="*/ 966919 w 6499257"/>
                <a:gd name="connsiteY70" fmla="*/ 284138 h 3498714"/>
                <a:gd name="connsiteX71" fmla="*/ 682782 w 6499257"/>
                <a:gd name="connsiteY71" fmla="*/ 568275 h 3498714"/>
                <a:gd name="connsiteX72" fmla="*/ 398645 w 6499257"/>
                <a:gd name="connsiteY72" fmla="*/ 284138 h 3498714"/>
                <a:gd name="connsiteX73" fmla="*/ 682782 w 6499257"/>
                <a:gd name="connsiteY73" fmla="*/ 0 h 3498714"/>
                <a:gd name="connsiteX74" fmla="*/ 4707054 w 6499257"/>
                <a:gd name="connsiteY74" fmla="*/ 2902312 h 3498714"/>
                <a:gd name="connsiteX75" fmla="*/ 4818179 w 6499257"/>
                <a:gd name="connsiteY75" fmla="*/ 3013437 h 3498714"/>
                <a:gd name="connsiteX76" fmla="*/ 4707054 w 6499257"/>
                <a:gd name="connsiteY76" fmla="*/ 3124562 h 3498714"/>
                <a:gd name="connsiteX77" fmla="*/ 4545125 w 6499257"/>
                <a:gd name="connsiteY77" fmla="*/ 3124562 h 3498714"/>
                <a:gd name="connsiteX78" fmla="*/ 4545125 w 6499257"/>
                <a:gd name="connsiteY78" fmla="*/ 3361625 h 3498714"/>
                <a:gd name="connsiteX79" fmla="*/ 4436113 w 6499257"/>
                <a:gd name="connsiteY79" fmla="*/ 3470637 h 3498714"/>
                <a:gd name="connsiteX80" fmla="*/ 4235039 w 6499257"/>
                <a:gd name="connsiteY80" fmla="*/ 3470637 h 3498714"/>
                <a:gd name="connsiteX81" fmla="*/ 4126027 w 6499257"/>
                <a:gd name="connsiteY81" fmla="*/ 3361625 h 3498714"/>
                <a:gd name="connsiteX82" fmla="*/ 4126027 w 6499257"/>
                <a:gd name="connsiteY82" fmla="*/ 3124562 h 3498714"/>
                <a:gd name="connsiteX83" fmla="*/ 2589325 w 6499257"/>
                <a:gd name="connsiteY83" fmla="*/ 3124562 h 3498714"/>
                <a:gd name="connsiteX84" fmla="*/ 2589325 w 6499257"/>
                <a:gd name="connsiteY84" fmla="*/ 3361625 h 3498714"/>
                <a:gd name="connsiteX85" fmla="*/ 2480313 w 6499257"/>
                <a:gd name="connsiteY85" fmla="*/ 3470637 h 3498714"/>
                <a:gd name="connsiteX86" fmla="*/ 2279239 w 6499257"/>
                <a:gd name="connsiteY86" fmla="*/ 3470637 h 3498714"/>
                <a:gd name="connsiteX87" fmla="*/ 2170227 w 6499257"/>
                <a:gd name="connsiteY87" fmla="*/ 3361625 h 3498714"/>
                <a:gd name="connsiteX88" fmla="*/ 2170227 w 6499257"/>
                <a:gd name="connsiteY88" fmla="*/ 3124562 h 3498714"/>
                <a:gd name="connsiteX89" fmla="*/ 2052754 w 6499257"/>
                <a:gd name="connsiteY89" fmla="*/ 3124562 h 3498714"/>
                <a:gd name="connsiteX90" fmla="*/ 1941629 w 6499257"/>
                <a:gd name="connsiteY90" fmla="*/ 3013437 h 3498714"/>
                <a:gd name="connsiteX91" fmla="*/ 2052754 w 6499257"/>
                <a:gd name="connsiteY91" fmla="*/ 2902312 h 3498714"/>
                <a:gd name="connsiteX92" fmla="*/ 682782 w 6499257"/>
                <a:gd name="connsiteY92" fmla="*/ 0 h 3498714"/>
                <a:gd name="connsiteX93" fmla="*/ 4492583 w 6499257"/>
                <a:gd name="connsiteY93" fmla="*/ 2089512 h 3498714"/>
                <a:gd name="connsiteX94" fmla="*/ 4311608 w 6499257"/>
                <a:gd name="connsiteY94" fmla="*/ 2270487 h 3498714"/>
                <a:gd name="connsiteX95" fmla="*/ 4492583 w 6499257"/>
                <a:gd name="connsiteY95" fmla="*/ 2451462 h 3498714"/>
                <a:gd name="connsiteX96" fmla="*/ 5407618 w 6499257"/>
                <a:gd name="connsiteY96" fmla="*/ 2468742 h 3498714"/>
                <a:gd name="connsiteX97" fmla="*/ 6498753 w 6499257"/>
                <a:gd name="connsiteY97" fmla="*/ 2404799 h 3498714"/>
                <a:gd name="connsiteX98" fmla="*/ 5388995 w 6499257"/>
                <a:gd name="connsiteY98"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842751 w 6499257"/>
                <a:gd name="connsiteY12" fmla="*/ 1749356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2534724 w 6499257"/>
                <a:gd name="connsiteY16" fmla="*/ 982297 h 3498714"/>
                <a:gd name="connsiteX17" fmla="*/ 4936448 w 6499257"/>
                <a:gd name="connsiteY17" fmla="*/ 2279217 h 3498714"/>
                <a:gd name="connsiteX18" fmla="*/ 4802103 w 6499257"/>
                <a:gd name="connsiteY18" fmla="*/ 2588456 h 3498714"/>
                <a:gd name="connsiteX19" fmla="*/ 4904699 w 6499257"/>
                <a:gd name="connsiteY19" fmla="*/ 2705462 h 3498714"/>
                <a:gd name="connsiteX20" fmla="*/ 4904698 w 6499257"/>
                <a:gd name="connsiteY20" fmla="*/ 2705462 h 3498714"/>
                <a:gd name="connsiteX21" fmla="*/ 4784047 w 6499257"/>
                <a:gd name="connsiteY21" fmla="*/ 2826113 h 3498714"/>
                <a:gd name="connsiteX22" fmla="*/ 1970999 w 6499257"/>
                <a:gd name="connsiteY22" fmla="*/ 2826112 h 3498714"/>
                <a:gd name="connsiteX23" fmla="*/ 1850348 w 6499257"/>
                <a:gd name="connsiteY23" fmla="*/ 2705462 h 3498714"/>
                <a:gd name="connsiteX24" fmla="*/ 1956769 w 6499257"/>
                <a:gd name="connsiteY24" fmla="*/ 2587684 h 3498714"/>
                <a:gd name="connsiteX25" fmla="*/ 1823360 w 6499257"/>
                <a:gd name="connsiteY25" fmla="*/ 2279217 h 3498714"/>
                <a:gd name="connsiteX26" fmla="*/ 2217440 w 6499257"/>
                <a:gd name="connsiteY26" fmla="*/ 1856216 h 3498714"/>
                <a:gd name="connsiteX27" fmla="*/ 2534724 w 6499257"/>
                <a:gd name="connsiteY27" fmla="*/ 982297 h 3498714"/>
                <a:gd name="connsiteX28" fmla="*/ 358791 w 6499257"/>
                <a:gd name="connsiteY28" fmla="*/ 644545 h 3498714"/>
                <a:gd name="connsiteX29" fmla="*/ 1006774 w 6499257"/>
                <a:gd name="connsiteY29" fmla="*/ 644545 h 3498714"/>
                <a:gd name="connsiteX30" fmla="*/ 1542636 w 6499257"/>
                <a:gd name="connsiteY30" fmla="*/ 1193969 h 3498714"/>
                <a:gd name="connsiteX31" fmla="*/ 1929878 w 6499257"/>
                <a:gd name="connsiteY31" fmla="*/ 1193970 h 3498714"/>
                <a:gd name="connsiteX32" fmla="*/ 2070059 w 6499257"/>
                <a:gd name="connsiteY32" fmla="*/ 1334152 h 3498714"/>
                <a:gd name="connsiteX33" fmla="*/ 1929878 w 6499257"/>
                <a:gd name="connsiteY33" fmla="*/ 1474333 h 3498714"/>
                <a:gd name="connsiteX34" fmla="*/ 1520943 w 6499257"/>
                <a:gd name="connsiteY34" fmla="*/ 1470388 h 3498714"/>
                <a:gd name="connsiteX35" fmla="*/ 1332825 w 6499257"/>
                <a:gd name="connsiteY35" fmla="*/ 1367201 h 3498714"/>
                <a:gd name="connsiteX36" fmla="*/ 1106501 w 6499257"/>
                <a:gd name="connsiteY36" fmla="*/ 1098289 h 3498714"/>
                <a:gd name="connsiteX37" fmla="*/ 1101049 w 6499257"/>
                <a:gd name="connsiteY37" fmla="*/ 1092836 h 3498714"/>
                <a:gd name="connsiteX38" fmla="*/ 1046523 w 6499257"/>
                <a:gd name="connsiteY38" fmla="*/ 1092836 h 3498714"/>
                <a:gd name="connsiteX39" fmla="*/ 1041071 w 6499257"/>
                <a:gd name="connsiteY39" fmla="*/ 1098289 h 3498714"/>
                <a:gd name="connsiteX40" fmla="*/ 1042136 w 6499257"/>
                <a:gd name="connsiteY40" fmla="*/ 1419754 h 3498714"/>
                <a:gd name="connsiteX41" fmla="*/ 1042136 w 6499257"/>
                <a:gd name="connsiteY41" fmla="*/ 3337652 h 3498714"/>
                <a:gd name="connsiteX42" fmla="*/ 881075 w 6499257"/>
                <a:gd name="connsiteY42" fmla="*/ 3498714 h 3498714"/>
                <a:gd name="connsiteX43" fmla="*/ 720012 w 6499257"/>
                <a:gd name="connsiteY43" fmla="*/ 3337652 h 3498714"/>
                <a:gd name="connsiteX44" fmla="*/ 720012 w 6499257"/>
                <a:gd name="connsiteY44" fmla="*/ 2125717 h 3498714"/>
                <a:gd name="connsiteX45" fmla="*/ 718947 w 6499257"/>
                <a:gd name="connsiteY45" fmla="*/ 2033194 h 3498714"/>
                <a:gd name="connsiteX46" fmla="*/ 714162 w 6499257"/>
                <a:gd name="connsiteY46" fmla="*/ 2028410 h 3498714"/>
                <a:gd name="connsiteX47" fmla="*/ 654759 w 6499257"/>
                <a:gd name="connsiteY47" fmla="*/ 2028410 h 3498714"/>
                <a:gd name="connsiteX48" fmla="*/ 649974 w 6499257"/>
                <a:gd name="connsiteY48" fmla="*/ 2033194 h 3498714"/>
                <a:gd name="connsiteX49" fmla="*/ 649974 w 6499257"/>
                <a:gd name="connsiteY49" fmla="*/ 2125717 h 3498714"/>
                <a:gd name="connsiteX50" fmla="*/ 649574 w 6499257"/>
                <a:gd name="connsiteY50" fmla="*/ 3337652 h 3498714"/>
                <a:gd name="connsiteX51" fmla="*/ 488511 w 6499257"/>
                <a:gd name="connsiteY51" fmla="*/ 3498714 h 3498714"/>
                <a:gd name="connsiteX52" fmla="*/ 327450 w 6499257"/>
                <a:gd name="connsiteY52" fmla="*/ 3337652 h 3498714"/>
                <a:gd name="connsiteX53" fmla="*/ 327450 w 6499257"/>
                <a:gd name="connsiteY53" fmla="*/ 1458216 h 3498714"/>
                <a:gd name="connsiteX54" fmla="*/ 322427 w 6499257"/>
                <a:gd name="connsiteY54" fmla="*/ 1098205 h 3498714"/>
                <a:gd name="connsiteX55" fmla="*/ 317058 w 6499257"/>
                <a:gd name="connsiteY55" fmla="*/ 1092836 h 3498714"/>
                <a:gd name="connsiteX56" fmla="*/ 263371 w 6499257"/>
                <a:gd name="connsiteY56" fmla="*/ 1092836 h 3498714"/>
                <a:gd name="connsiteX57" fmla="*/ 258001 w 6499257"/>
                <a:gd name="connsiteY57" fmla="*/ 1098205 h 3498714"/>
                <a:gd name="connsiteX58" fmla="*/ 258001 w 6499257"/>
                <a:gd name="connsiteY58" fmla="*/ 1444446 h 3498714"/>
                <a:gd name="connsiteX59" fmla="*/ 257700 w 6499257"/>
                <a:gd name="connsiteY59" fmla="*/ 1444370 h 3498714"/>
                <a:gd name="connsiteX60" fmla="*/ 257700 w 6499257"/>
                <a:gd name="connsiteY60" fmla="*/ 1912573 h 3498714"/>
                <a:gd name="connsiteX61" fmla="*/ 128850 w 6499257"/>
                <a:gd name="connsiteY61" fmla="*/ 2041423 h 3498714"/>
                <a:gd name="connsiteX62" fmla="*/ 0 w 6499257"/>
                <a:gd name="connsiteY62" fmla="*/ 1912573 h 3498714"/>
                <a:gd name="connsiteX63" fmla="*/ 0 w 6499257"/>
                <a:gd name="connsiteY63" fmla="*/ 1101802 h 3498714"/>
                <a:gd name="connsiteX64" fmla="*/ 0 w 6499257"/>
                <a:gd name="connsiteY64" fmla="*/ 1003338 h 3498714"/>
                <a:gd name="connsiteX65" fmla="*/ 0 w 6499257"/>
                <a:gd name="connsiteY65" fmla="*/ 982486 h 3498714"/>
                <a:gd name="connsiteX66" fmla="*/ 12733 w 6499257"/>
                <a:gd name="connsiteY66" fmla="*/ 894663 h 3498714"/>
                <a:gd name="connsiteX67" fmla="*/ 20539 w 6499257"/>
                <a:gd name="connsiteY67" fmla="*/ 868773 h 3498714"/>
                <a:gd name="connsiteX68" fmla="*/ 358791 w 6499257"/>
                <a:gd name="connsiteY68" fmla="*/ 644545 h 3498714"/>
                <a:gd name="connsiteX69" fmla="*/ 682782 w 6499257"/>
                <a:gd name="connsiteY69" fmla="*/ 0 h 3498714"/>
                <a:gd name="connsiteX70" fmla="*/ 966919 w 6499257"/>
                <a:gd name="connsiteY70" fmla="*/ 284138 h 3498714"/>
                <a:gd name="connsiteX71" fmla="*/ 682782 w 6499257"/>
                <a:gd name="connsiteY71" fmla="*/ 568275 h 3498714"/>
                <a:gd name="connsiteX72" fmla="*/ 398645 w 6499257"/>
                <a:gd name="connsiteY72" fmla="*/ 284138 h 3498714"/>
                <a:gd name="connsiteX73" fmla="*/ 682782 w 6499257"/>
                <a:gd name="connsiteY73" fmla="*/ 0 h 3498714"/>
                <a:gd name="connsiteX74" fmla="*/ 4707054 w 6499257"/>
                <a:gd name="connsiteY74" fmla="*/ 2902312 h 3498714"/>
                <a:gd name="connsiteX75" fmla="*/ 4818179 w 6499257"/>
                <a:gd name="connsiteY75" fmla="*/ 3013437 h 3498714"/>
                <a:gd name="connsiteX76" fmla="*/ 4707054 w 6499257"/>
                <a:gd name="connsiteY76" fmla="*/ 3124562 h 3498714"/>
                <a:gd name="connsiteX77" fmla="*/ 4545125 w 6499257"/>
                <a:gd name="connsiteY77" fmla="*/ 3124562 h 3498714"/>
                <a:gd name="connsiteX78" fmla="*/ 4545125 w 6499257"/>
                <a:gd name="connsiteY78" fmla="*/ 3361625 h 3498714"/>
                <a:gd name="connsiteX79" fmla="*/ 4436113 w 6499257"/>
                <a:gd name="connsiteY79" fmla="*/ 3470637 h 3498714"/>
                <a:gd name="connsiteX80" fmla="*/ 4235039 w 6499257"/>
                <a:gd name="connsiteY80" fmla="*/ 3470637 h 3498714"/>
                <a:gd name="connsiteX81" fmla="*/ 4126027 w 6499257"/>
                <a:gd name="connsiteY81" fmla="*/ 3361625 h 3498714"/>
                <a:gd name="connsiteX82" fmla="*/ 4126027 w 6499257"/>
                <a:gd name="connsiteY82" fmla="*/ 3124562 h 3498714"/>
                <a:gd name="connsiteX83" fmla="*/ 2589325 w 6499257"/>
                <a:gd name="connsiteY83" fmla="*/ 3124562 h 3498714"/>
                <a:gd name="connsiteX84" fmla="*/ 2589325 w 6499257"/>
                <a:gd name="connsiteY84" fmla="*/ 3361625 h 3498714"/>
                <a:gd name="connsiteX85" fmla="*/ 2480313 w 6499257"/>
                <a:gd name="connsiteY85" fmla="*/ 3470637 h 3498714"/>
                <a:gd name="connsiteX86" fmla="*/ 2279239 w 6499257"/>
                <a:gd name="connsiteY86" fmla="*/ 3470637 h 3498714"/>
                <a:gd name="connsiteX87" fmla="*/ 2170227 w 6499257"/>
                <a:gd name="connsiteY87" fmla="*/ 3361625 h 3498714"/>
                <a:gd name="connsiteX88" fmla="*/ 2170227 w 6499257"/>
                <a:gd name="connsiteY88" fmla="*/ 3124562 h 3498714"/>
                <a:gd name="connsiteX89" fmla="*/ 2052754 w 6499257"/>
                <a:gd name="connsiteY89" fmla="*/ 3124562 h 3498714"/>
                <a:gd name="connsiteX90" fmla="*/ 1941629 w 6499257"/>
                <a:gd name="connsiteY90" fmla="*/ 3013437 h 3498714"/>
                <a:gd name="connsiteX91" fmla="*/ 2052754 w 6499257"/>
                <a:gd name="connsiteY91" fmla="*/ 2902312 h 3498714"/>
                <a:gd name="connsiteX92" fmla="*/ 682782 w 6499257"/>
                <a:gd name="connsiteY92" fmla="*/ 0 h 3498714"/>
                <a:gd name="connsiteX93" fmla="*/ 4492583 w 6499257"/>
                <a:gd name="connsiteY93" fmla="*/ 2089512 h 3498714"/>
                <a:gd name="connsiteX94" fmla="*/ 4311608 w 6499257"/>
                <a:gd name="connsiteY94" fmla="*/ 2270487 h 3498714"/>
                <a:gd name="connsiteX95" fmla="*/ 4492583 w 6499257"/>
                <a:gd name="connsiteY95" fmla="*/ 2451462 h 3498714"/>
                <a:gd name="connsiteX96" fmla="*/ 5407618 w 6499257"/>
                <a:gd name="connsiteY96" fmla="*/ 2468742 h 3498714"/>
                <a:gd name="connsiteX97" fmla="*/ 6498753 w 6499257"/>
                <a:gd name="connsiteY97" fmla="*/ 2404799 h 3498714"/>
                <a:gd name="connsiteX98" fmla="*/ 5388995 w 6499257"/>
                <a:gd name="connsiteY98"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842751 w 6499257"/>
                <a:gd name="connsiteY12" fmla="*/ 1749356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2534724 w 6499257"/>
                <a:gd name="connsiteY16" fmla="*/ 982297 h 3498714"/>
                <a:gd name="connsiteX17" fmla="*/ 4802103 w 6499257"/>
                <a:gd name="connsiteY17" fmla="*/ 2588456 h 3498714"/>
                <a:gd name="connsiteX18" fmla="*/ 4904699 w 6499257"/>
                <a:gd name="connsiteY18" fmla="*/ 2705462 h 3498714"/>
                <a:gd name="connsiteX19" fmla="*/ 4904698 w 6499257"/>
                <a:gd name="connsiteY19" fmla="*/ 2705462 h 3498714"/>
                <a:gd name="connsiteX20" fmla="*/ 4784047 w 6499257"/>
                <a:gd name="connsiteY20" fmla="*/ 2826113 h 3498714"/>
                <a:gd name="connsiteX21" fmla="*/ 1970999 w 6499257"/>
                <a:gd name="connsiteY21" fmla="*/ 2826112 h 3498714"/>
                <a:gd name="connsiteX22" fmla="*/ 1850348 w 6499257"/>
                <a:gd name="connsiteY22" fmla="*/ 2705462 h 3498714"/>
                <a:gd name="connsiteX23" fmla="*/ 1956769 w 6499257"/>
                <a:gd name="connsiteY23" fmla="*/ 2587684 h 3498714"/>
                <a:gd name="connsiteX24" fmla="*/ 1823360 w 6499257"/>
                <a:gd name="connsiteY24" fmla="*/ 2279217 h 3498714"/>
                <a:gd name="connsiteX25" fmla="*/ 2217440 w 6499257"/>
                <a:gd name="connsiteY25" fmla="*/ 1856216 h 3498714"/>
                <a:gd name="connsiteX26" fmla="*/ 2534724 w 6499257"/>
                <a:gd name="connsiteY26" fmla="*/ 982297 h 3498714"/>
                <a:gd name="connsiteX27" fmla="*/ 358791 w 6499257"/>
                <a:gd name="connsiteY27" fmla="*/ 644545 h 3498714"/>
                <a:gd name="connsiteX28" fmla="*/ 1006774 w 6499257"/>
                <a:gd name="connsiteY28" fmla="*/ 644545 h 3498714"/>
                <a:gd name="connsiteX29" fmla="*/ 1542636 w 6499257"/>
                <a:gd name="connsiteY29" fmla="*/ 1193969 h 3498714"/>
                <a:gd name="connsiteX30" fmla="*/ 1929878 w 6499257"/>
                <a:gd name="connsiteY30" fmla="*/ 1193970 h 3498714"/>
                <a:gd name="connsiteX31" fmla="*/ 2070059 w 6499257"/>
                <a:gd name="connsiteY31" fmla="*/ 1334152 h 3498714"/>
                <a:gd name="connsiteX32" fmla="*/ 1929878 w 6499257"/>
                <a:gd name="connsiteY32" fmla="*/ 1474333 h 3498714"/>
                <a:gd name="connsiteX33" fmla="*/ 1520943 w 6499257"/>
                <a:gd name="connsiteY33" fmla="*/ 1470388 h 3498714"/>
                <a:gd name="connsiteX34" fmla="*/ 1332825 w 6499257"/>
                <a:gd name="connsiteY34" fmla="*/ 1367201 h 3498714"/>
                <a:gd name="connsiteX35" fmla="*/ 1106501 w 6499257"/>
                <a:gd name="connsiteY35" fmla="*/ 1098289 h 3498714"/>
                <a:gd name="connsiteX36" fmla="*/ 1101049 w 6499257"/>
                <a:gd name="connsiteY36" fmla="*/ 1092836 h 3498714"/>
                <a:gd name="connsiteX37" fmla="*/ 1046523 w 6499257"/>
                <a:gd name="connsiteY37" fmla="*/ 1092836 h 3498714"/>
                <a:gd name="connsiteX38" fmla="*/ 1041071 w 6499257"/>
                <a:gd name="connsiteY38" fmla="*/ 1098289 h 3498714"/>
                <a:gd name="connsiteX39" fmla="*/ 1042136 w 6499257"/>
                <a:gd name="connsiteY39" fmla="*/ 1419754 h 3498714"/>
                <a:gd name="connsiteX40" fmla="*/ 1042136 w 6499257"/>
                <a:gd name="connsiteY40" fmla="*/ 3337652 h 3498714"/>
                <a:gd name="connsiteX41" fmla="*/ 881075 w 6499257"/>
                <a:gd name="connsiteY41" fmla="*/ 3498714 h 3498714"/>
                <a:gd name="connsiteX42" fmla="*/ 720012 w 6499257"/>
                <a:gd name="connsiteY42" fmla="*/ 3337652 h 3498714"/>
                <a:gd name="connsiteX43" fmla="*/ 720012 w 6499257"/>
                <a:gd name="connsiteY43" fmla="*/ 2125717 h 3498714"/>
                <a:gd name="connsiteX44" fmla="*/ 718947 w 6499257"/>
                <a:gd name="connsiteY44" fmla="*/ 2033194 h 3498714"/>
                <a:gd name="connsiteX45" fmla="*/ 714162 w 6499257"/>
                <a:gd name="connsiteY45" fmla="*/ 2028410 h 3498714"/>
                <a:gd name="connsiteX46" fmla="*/ 654759 w 6499257"/>
                <a:gd name="connsiteY46" fmla="*/ 2028410 h 3498714"/>
                <a:gd name="connsiteX47" fmla="*/ 649974 w 6499257"/>
                <a:gd name="connsiteY47" fmla="*/ 2033194 h 3498714"/>
                <a:gd name="connsiteX48" fmla="*/ 649974 w 6499257"/>
                <a:gd name="connsiteY48" fmla="*/ 2125717 h 3498714"/>
                <a:gd name="connsiteX49" fmla="*/ 649574 w 6499257"/>
                <a:gd name="connsiteY49" fmla="*/ 3337652 h 3498714"/>
                <a:gd name="connsiteX50" fmla="*/ 488511 w 6499257"/>
                <a:gd name="connsiteY50" fmla="*/ 3498714 h 3498714"/>
                <a:gd name="connsiteX51" fmla="*/ 327450 w 6499257"/>
                <a:gd name="connsiteY51" fmla="*/ 3337652 h 3498714"/>
                <a:gd name="connsiteX52" fmla="*/ 327450 w 6499257"/>
                <a:gd name="connsiteY52" fmla="*/ 1458216 h 3498714"/>
                <a:gd name="connsiteX53" fmla="*/ 322427 w 6499257"/>
                <a:gd name="connsiteY53" fmla="*/ 1098205 h 3498714"/>
                <a:gd name="connsiteX54" fmla="*/ 317058 w 6499257"/>
                <a:gd name="connsiteY54" fmla="*/ 1092836 h 3498714"/>
                <a:gd name="connsiteX55" fmla="*/ 263371 w 6499257"/>
                <a:gd name="connsiteY55" fmla="*/ 1092836 h 3498714"/>
                <a:gd name="connsiteX56" fmla="*/ 258001 w 6499257"/>
                <a:gd name="connsiteY56" fmla="*/ 1098205 h 3498714"/>
                <a:gd name="connsiteX57" fmla="*/ 258001 w 6499257"/>
                <a:gd name="connsiteY57" fmla="*/ 1444446 h 3498714"/>
                <a:gd name="connsiteX58" fmla="*/ 257700 w 6499257"/>
                <a:gd name="connsiteY58" fmla="*/ 1444370 h 3498714"/>
                <a:gd name="connsiteX59" fmla="*/ 257700 w 6499257"/>
                <a:gd name="connsiteY59" fmla="*/ 1912573 h 3498714"/>
                <a:gd name="connsiteX60" fmla="*/ 128850 w 6499257"/>
                <a:gd name="connsiteY60" fmla="*/ 2041423 h 3498714"/>
                <a:gd name="connsiteX61" fmla="*/ 0 w 6499257"/>
                <a:gd name="connsiteY61" fmla="*/ 1912573 h 3498714"/>
                <a:gd name="connsiteX62" fmla="*/ 0 w 6499257"/>
                <a:gd name="connsiteY62" fmla="*/ 1101802 h 3498714"/>
                <a:gd name="connsiteX63" fmla="*/ 0 w 6499257"/>
                <a:gd name="connsiteY63" fmla="*/ 1003338 h 3498714"/>
                <a:gd name="connsiteX64" fmla="*/ 0 w 6499257"/>
                <a:gd name="connsiteY64" fmla="*/ 982486 h 3498714"/>
                <a:gd name="connsiteX65" fmla="*/ 12733 w 6499257"/>
                <a:gd name="connsiteY65" fmla="*/ 894663 h 3498714"/>
                <a:gd name="connsiteX66" fmla="*/ 20539 w 6499257"/>
                <a:gd name="connsiteY66" fmla="*/ 868773 h 3498714"/>
                <a:gd name="connsiteX67" fmla="*/ 358791 w 6499257"/>
                <a:gd name="connsiteY67" fmla="*/ 644545 h 3498714"/>
                <a:gd name="connsiteX68" fmla="*/ 682782 w 6499257"/>
                <a:gd name="connsiteY68" fmla="*/ 0 h 3498714"/>
                <a:gd name="connsiteX69" fmla="*/ 966919 w 6499257"/>
                <a:gd name="connsiteY69" fmla="*/ 284138 h 3498714"/>
                <a:gd name="connsiteX70" fmla="*/ 682782 w 6499257"/>
                <a:gd name="connsiteY70" fmla="*/ 568275 h 3498714"/>
                <a:gd name="connsiteX71" fmla="*/ 398645 w 6499257"/>
                <a:gd name="connsiteY71" fmla="*/ 284138 h 3498714"/>
                <a:gd name="connsiteX72" fmla="*/ 682782 w 6499257"/>
                <a:gd name="connsiteY72" fmla="*/ 0 h 3498714"/>
                <a:gd name="connsiteX73" fmla="*/ 4707054 w 6499257"/>
                <a:gd name="connsiteY73" fmla="*/ 2902312 h 3498714"/>
                <a:gd name="connsiteX74" fmla="*/ 4818179 w 6499257"/>
                <a:gd name="connsiteY74" fmla="*/ 3013437 h 3498714"/>
                <a:gd name="connsiteX75" fmla="*/ 4707054 w 6499257"/>
                <a:gd name="connsiteY75" fmla="*/ 3124562 h 3498714"/>
                <a:gd name="connsiteX76" fmla="*/ 4545125 w 6499257"/>
                <a:gd name="connsiteY76" fmla="*/ 3124562 h 3498714"/>
                <a:gd name="connsiteX77" fmla="*/ 4545125 w 6499257"/>
                <a:gd name="connsiteY77" fmla="*/ 3361625 h 3498714"/>
                <a:gd name="connsiteX78" fmla="*/ 4436113 w 6499257"/>
                <a:gd name="connsiteY78" fmla="*/ 3470637 h 3498714"/>
                <a:gd name="connsiteX79" fmla="*/ 4235039 w 6499257"/>
                <a:gd name="connsiteY79" fmla="*/ 3470637 h 3498714"/>
                <a:gd name="connsiteX80" fmla="*/ 4126027 w 6499257"/>
                <a:gd name="connsiteY80" fmla="*/ 3361625 h 3498714"/>
                <a:gd name="connsiteX81" fmla="*/ 4126027 w 6499257"/>
                <a:gd name="connsiteY81" fmla="*/ 3124562 h 3498714"/>
                <a:gd name="connsiteX82" fmla="*/ 2589325 w 6499257"/>
                <a:gd name="connsiteY82" fmla="*/ 3124562 h 3498714"/>
                <a:gd name="connsiteX83" fmla="*/ 2589325 w 6499257"/>
                <a:gd name="connsiteY83" fmla="*/ 3361625 h 3498714"/>
                <a:gd name="connsiteX84" fmla="*/ 2480313 w 6499257"/>
                <a:gd name="connsiteY84" fmla="*/ 3470637 h 3498714"/>
                <a:gd name="connsiteX85" fmla="*/ 2279239 w 6499257"/>
                <a:gd name="connsiteY85" fmla="*/ 3470637 h 3498714"/>
                <a:gd name="connsiteX86" fmla="*/ 2170227 w 6499257"/>
                <a:gd name="connsiteY86" fmla="*/ 3361625 h 3498714"/>
                <a:gd name="connsiteX87" fmla="*/ 2170227 w 6499257"/>
                <a:gd name="connsiteY87" fmla="*/ 3124562 h 3498714"/>
                <a:gd name="connsiteX88" fmla="*/ 2052754 w 6499257"/>
                <a:gd name="connsiteY88" fmla="*/ 3124562 h 3498714"/>
                <a:gd name="connsiteX89" fmla="*/ 1941629 w 6499257"/>
                <a:gd name="connsiteY89" fmla="*/ 3013437 h 3498714"/>
                <a:gd name="connsiteX90" fmla="*/ 2052754 w 6499257"/>
                <a:gd name="connsiteY90" fmla="*/ 2902312 h 3498714"/>
                <a:gd name="connsiteX91" fmla="*/ 682782 w 6499257"/>
                <a:gd name="connsiteY91" fmla="*/ 0 h 3498714"/>
                <a:gd name="connsiteX92" fmla="*/ 4492583 w 6499257"/>
                <a:gd name="connsiteY92" fmla="*/ 2089512 h 3498714"/>
                <a:gd name="connsiteX93" fmla="*/ 4311608 w 6499257"/>
                <a:gd name="connsiteY93" fmla="*/ 2270487 h 3498714"/>
                <a:gd name="connsiteX94" fmla="*/ 4492583 w 6499257"/>
                <a:gd name="connsiteY94" fmla="*/ 2451462 h 3498714"/>
                <a:gd name="connsiteX95" fmla="*/ 5407618 w 6499257"/>
                <a:gd name="connsiteY95" fmla="*/ 2468742 h 3498714"/>
                <a:gd name="connsiteX96" fmla="*/ 6498753 w 6499257"/>
                <a:gd name="connsiteY96" fmla="*/ 2404799 h 3498714"/>
                <a:gd name="connsiteX97" fmla="*/ 5388995 w 6499257"/>
                <a:gd name="connsiteY97" fmla="*/ 2075460 h 3498714"/>
                <a:gd name="connsiteX0" fmla="*/ 2979061 w 6462083"/>
                <a:gd name="connsiteY0" fmla="*/ 2089512 h 3498714"/>
                <a:gd name="connsiteX1" fmla="*/ 2671086 w 6462083"/>
                <a:gd name="connsiteY1" fmla="*/ 2397487 h 3498714"/>
                <a:gd name="connsiteX2" fmla="*/ 2671086 w 6462083"/>
                <a:gd name="connsiteY2" fmla="*/ 2584811 h 3498714"/>
                <a:gd name="connsiteX3" fmla="*/ 4083961 w 6462083"/>
                <a:gd name="connsiteY3" fmla="*/ 2584811 h 3498714"/>
                <a:gd name="connsiteX4" fmla="*/ 4083961 w 6462083"/>
                <a:gd name="connsiteY4" fmla="*/ 2397487 h 3498714"/>
                <a:gd name="connsiteX5" fmla="*/ 3775986 w 6462083"/>
                <a:gd name="connsiteY5" fmla="*/ 2089512 h 3498714"/>
                <a:gd name="connsiteX6" fmla="*/ 2979061 w 6462083"/>
                <a:gd name="connsiteY6" fmla="*/ 2089512 h 3498714"/>
                <a:gd name="connsiteX7" fmla="*/ 2251033 w 6462083"/>
                <a:gd name="connsiteY7" fmla="*/ 2089512 h 3498714"/>
                <a:gd name="connsiteX8" fmla="*/ 2070058 w 6462083"/>
                <a:gd name="connsiteY8" fmla="*/ 2270487 h 3498714"/>
                <a:gd name="connsiteX9" fmla="*/ 2251033 w 6462083"/>
                <a:gd name="connsiteY9" fmla="*/ 2451462 h 3498714"/>
                <a:gd name="connsiteX10" fmla="*/ 2432008 w 6462083"/>
                <a:gd name="connsiteY10" fmla="*/ 2270487 h 3498714"/>
                <a:gd name="connsiteX11" fmla="*/ 2251033 w 6462083"/>
                <a:gd name="connsiteY11" fmla="*/ 2089512 h 3498714"/>
                <a:gd name="connsiteX12" fmla="*/ 2842751 w 6462083"/>
                <a:gd name="connsiteY12" fmla="*/ 1749356 h 3498714"/>
                <a:gd name="connsiteX13" fmla="*/ 2392797 w 6462083"/>
                <a:gd name="connsiteY13" fmla="*/ 1878907 h 3498714"/>
                <a:gd name="connsiteX14" fmla="*/ 2478781 w 6462083"/>
                <a:gd name="connsiteY14" fmla="*/ 1920808 h 3498714"/>
                <a:gd name="connsiteX15" fmla="*/ 2842751 w 6462083"/>
                <a:gd name="connsiteY15" fmla="*/ 1749356 h 3498714"/>
                <a:gd name="connsiteX16" fmla="*/ 2534724 w 6462083"/>
                <a:gd name="connsiteY16" fmla="*/ 982297 h 3498714"/>
                <a:gd name="connsiteX17" fmla="*/ 4802103 w 6462083"/>
                <a:gd name="connsiteY17" fmla="*/ 2588456 h 3498714"/>
                <a:gd name="connsiteX18" fmla="*/ 4904699 w 6462083"/>
                <a:gd name="connsiteY18" fmla="*/ 2705462 h 3498714"/>
                <a:gd name="connsiteX19" fmla="*/ 4904698 w 6462083"/>
                <a:gd name="connsiteY19" fmla="*/ 2705462 h 3498714"/>
                <a:gd name="connsiteX20" fmla="*/ 4784047 w 6462083"/>
                <a:gd name="connsiteY20" fmla="*/ 2826113 h 3498714"/>
                <a:gd name="connsiteX21" fmla="*/ 1970999 w 6462083"/>
                <a:gd name="connsiteY21" fmla="*/ 2826112 h 3498714"/>
                <a:gd name="connsiteX22" fmla="*/ 1850348 w 6462083"/>
                <a:gd name="connsiteY22" fmla="*/ 2705462 h 3498714"/>
                <a:gd name="connsiteX23" fmla="*/ 1956769 w 6462083"/>
                <a:gd name="connsiteY23" fmla="*/ 2587684 h 3498714"/>
                <a:gd name="connsiteX24" fmla="*/ 1823360 w 6462083"/>
                <a:gd name="connsiteY24" fmla="*/ 2279217 h 3498714"/>
                <a:gd name="connsiteX25" fmla="*/ 2217440 w 6462083"/>
                <a:gd name="connsiteY25" fmla="*/ 1856216 h 3498714"/>
                <a:gd name="connsiteX26" fmla="*/ 2534724 w 6462083"/>
                <a:gd name="connsiteY26" fmla="*/ 982297 h 3498714"/>
                <a:gd name="connsiteX27" fmla="*/ 358791 w 6462083"/>
                <a:gd name="connsiteY27" fmla="*/ 644545 h 3498714"/>
                <a:gd name="connsiteX28" fmla="*/ 1006774 w 6462083"/>
                <a:gd name="connsiteY28" fmla="*/ 644545 h 3498714"/>
                <a:gd name="connsiteX29" fmla="*/ 1542636 w 6462083"/>
                <a:gd name="connsiteY29" fmla="*/ 1193969 h 3498714"/>
                <a:gd name="connsiteX30" fmla="*/ 1929878 w 6462083"/>
                <a:gd name="connsiteY30" fmla="*/ 1193970 h 3498714"/>
                <a:gd name="connsiteX31" fmla="*/ 2070059 w 6462083"/>
                <a:gd name="connsiteY31" fmla="*/ 1334152 h 3498714"/>
                <a:gd name="connsiteX32" fmla="*/ 1929878 w 6462083"/>
                <a:gd name="connsiteY32" fmla="*/ 1474333 h 3498714"/>
                <a:gd name="connsiteX33" fmla="*/ 1520943 w 6462083"/>
                <a:gd name="connsiteY33" fmla="*/ 1470388 h 3498714"/>
                <a:gd name="connsiteX34" fmla="*/ 1332825 w 6462083"/>
                <a:gd name="connsiteY34" fmla="*/ 1367201 h 3498714"/>
                <a:gd name="connsiteX35" fmla="*/ 1106501 w 6462083"/>
                <a:gd name="connsiteY35" fmla="*/ 1098289 h 3498714"/>
                <a:gd name="connsiteX36" fmla="*/ 1101049 w 6462083"/>
                <a:gd name="connsiteY36" fmla="*/ 1092836 h 3498714"/>
                <a:gd name="connsiteX37" fmla="*/ 1046523 w 6462083"/>
                <a:gd name="connsiteY37" fmla="*/ 1092836 h 3498714"/>
                <a:gd name="connsiteX38" fmla="*/ 1041071 w 6462083"/>
                <a:gd name="connsiteY38" fmla="*/ 1098289 h 3498714"/>
                <a:gd name="connsiteX39" fmla="*/ 1042136 w 6462083"/>
                <a:gd name="connsiteY39" fmla="*/ 1419754 h 3498714"/>
                <a:gd name="connsiteX40" fmla="*/ 1042136 w 6462083"/>
                <a:gd name="connsiteY40" fmla="*/ 3337652 h 3498714"/>
                <a:gd name="connsiteX41" fmla="*/ 881075 w 6462083"/>
                <a:gd name="connsiteY41" fmla="*/ 3498714 h 3498714"/>
                <a:gd name="connsiteX42" fmla="*/ 720012 w 6462083"/>
                <a:gd name="connsiteY42" fmla="*/ 3337652 h 3498714"/>
                <a:gd name="connsiteX43" fmla="*/ 720012 w 6462083"/>
                <a:gd name="connsiteY43" fmla="*/ 2125717 h 3498714"/>
                <a:gd name="connsiteX44" fmla="*/ 718947 w 6462083"/>
                <a:gd name="connsiteY44" fmla="*/ 2033194 h 3498714"/>
                <a:gd name="connsiteX45" fmla="*/ 714162 w 6462083"/>
                <a:gd name="connsiteY45" fmla="*/ 2028410 h 3498714"/>
                <a:gd name="connsiteX46" fmla="*/ 654759 w 6462083"/>
                <a:gd name="connsiteY46" fmla="*/ 2028410 h 3498714"/>
                <a:gd name="connsiteX47" fmla="*/ 649974 w 6462083"/>
                <a:gd name="connsiteY47" fmla="*/ 2033194 h 3498714"/>
                <a:gd name="connsiteX48" fmla="*/ 649974 w 6462083"/>
                <a:gd name="connsiteY48" fmla="*/ 2125717 h 3498714"/>
                <a:gd name="connsiteX49" fmla="*/ 649574 w 6462083"/>
                <a:gd name="connsiteY49" fmla="*/ 3337652 h 3498714"/>
                <a:gd name="connsiteX50" fmla="*/ 488511 w 6462083"/>
                <a:gd name="connsiteY50" fmla="*/ 3498714 h 3498714"/>
                <a:gd name="connsiteX51" fmla="*/ 327450 w 6462083"/>
                <a:gd name="connsiteY51" fmla="*/ 3337652 h 3498714"/>
                <a:gd name="connsiteX52" fmla="*/ 327450 w 6462083"/>
                <a:gd name="connsiteY52" fmla="*/ 1458216 h 3498714"/>
                <a:gd name="connsiteX53" fmla="*/ 322427 w 6462083"/>
                <a:gd name="connsiteY53" fmla="*/ 1098205 h 3498714"/>
                <a:gd name="connsiteX54" fmla="*/ 317058 w 6462083"/>
                <a:gd name="connsiteY54" fmla="*/ 1092836 h 3498714"/>
                <a:gd name="connsiteX55" fmla="*/ 263371 w 6462083"/>
                <a:gd name="connsiteY55" fmla="*/ 1092836 h 3498714"/>
                <a:gd name="connsiteX56" fmla="*/ 258001 w 6462083"/>
                <a:gd name="connsiteY56" fmla="*/ 1098205 h 3498714"/>
                <a:gd name="connsiteX57" fmla="*/ 258001 w 6462083"/>
                <a:gd name="connsiteY57" fmla="*/ 1444446 h 3498714"/>
                <a:gd name="connsiteX58" fmla="*/ 257700 w 6462083"/>
                <a:gd name="connsiteY58" fmla="*/ 1444370 h 3498714"/>
                <a:gd name="connsiteX59" fmla="*/ 257700 w 6462083"/>
                <a:gd name="connsiteY59" fmla="*/ 1912573 h 3498714"/>
                <a:gd name="connsiteX60" fmla="*/ 128850 w 6462083"/>
                <a:gd name="connsiteY60" fmla="*/ 2041423 h 3498714"/>
                <a:gd name="connsiteX61" fmla="*/ 0 w 6462083"/>
                <a:gd name="connsiteY61" fmla="*/ 1912573 h 3498714"/>
                <a:gd name="connsiteX62" fmla="*/ 0 w 6462083"/>
                <a:gd name="connsiteY62" fmla="*/ 1101802 h 3498714"/>
                <a:gd name="connsiteX63" fmla="*/ 0 w 6462083"/>
                <a:gd name="connsiteY63" fmla="*/ 1003338 h 3498714"/>
                <a:gd name="connsiteX64" fmla="*/ 0 w 6462083"/>
                <a:gd name="connsiteY64" fmla="*/ 982486 h 3498714"/>
                <a:gd name="connsiteX65" fmla="*/ 12733 w 6462083"/>
                <a:gd name="connsiteY65" fmla="*/ 894663 h 3498714"/>
                <a:gd name="connsiteX66" fmla="*/ 20539 w 6462083"/>
                <a:gd name="connsiteY66" fmla="*/ 868773 h 3498714"/>
                <a:gd name="connsiteX67" fmla="*/ 358791 w 6462083"/>
                <a:gd name="connsiteY67" fmla="*/ 644545 h 3498714"/>
                <a:gd name="connsiteX68" fmla="*/ 682782 w 6462083"/>
                <a:gd name="connsiteY68" fmla="*/ 0 h 3498714"/>
                <a:gd name="connsiteX69" fmla="*/ 966919 w 6462083"/>
                <a:gd name="connsiteY69" fmla="*/ 284138 h 3498714"/>
                <a:gd name="connsiteX70" fmla="*/ 682782 w 6462083"/>
                <a:gd name="connsiteY70" fmla="*/ 568275 h 3498714"/>
                <a:gd name="connsiteX71" fmla="*/ 398645 w 6462083"/>
                <a:gd name="connsiteY71" fmla="*/ 284138 h 3498714"/>
                <a:gd name="connsiteX72" fmla="*/ 682782 w 6462083"/>
                <a:gd name="connsiteY72" fmla="*/ 0 h 3498714"/>
                <a:gd name="connsiteX73" fmla="*/ 4707054 w 6462083"/>
                <a:gd name="connsiteY73" fmla="*/ 2902312 h 3498714"/>
                <a:gd name="connsiteX74" fmla="*/ 4818179 w 6462083"/>
                <a:gd name="connsiteY74" fmla="*/ 3013437 h 3498714"/>
                <a:gd name="connsiteX75" fmla="*/ 4707054 w 6462083"/>
                <a:gd name="connsiteY75" fmla="*/ 3124562 h 3498714"/>
                <a:gd name="connsiteX76" fmla="*/ 4545125 w 6462083"/>
                <a:gd name="connsiteY76" fmla="*/ 3124562 h 3498714"/>
                <a:gd name="connsiteX77" fmla="*/ 4545125 w 6462083"/>
                <a:gd name="connsiteY77" fmla="*/ 3361625 h 3498714"/>
                <a:gd name="connsiteX78" fmla="*/ 4436113 w 6462083"/>
                <a:gd name="connsiteY78" fmla="*/ 3470637 h 3498714"/>
                <a:gd name="connsiteX79" fmla="*/ 4235039 w 6462083"/>
                <a:gd name="connsiteY79" fmla="*/ 3470637 h 3498714"/>
                <a:gd name="connsiteX80" fmla="*/ 4126027 w 6462083"/>
                <a:gd name="connsiteY80" fmla="*/ 3361625 h 3498714"/>
                <a:gd name="connsiteX81" fmla="*/ 4126027 w 6462083"/>
                <a:gd name="connsiteY81" fmla="*/ 3124562 h 3498714"/>
                <a:gd name="connsiteX82" fmla="*/ 2589325 w 6462083"/>
                <a:gd name="connsiteY82" fmla="*/ 3124562 h 3498714"/>
                <a:gd name="connsiteX83" fmla="*/ 2589325 w 6462083"/>
                <a:gd name="connsiteY83" fmla="*/ 3361625 h 3498714"/>
                <a:gd name="connsiteX84" fmla="*/ 2480313 w 6462083"/>
                <a:gd name="connsiteY84" fmla="*/ 3470637 h 3498714"/>
                <a:gd name="connsiteX85" fmla="*/ 2279239 w 6462083"/>
                <a:gd name="connsiteY85" fmla="*/ 3470637 h 3498714"/>
                <a:gd name="connsiteX86" fmla="*/ 2170227 w 6462083"/>
                <a:gd name="connsiteY86" fmla="*/ 3361625 h 3498714"/>
                <a:gd name="connsiteX87" fmla="*/ 2170227 w 6462083"/>
                <a:gd name="connsiteY87" fmla="*/ 3124562 h 3498714"/>
                <a:gd name="connsiteX88" fmla="*/ 2052754 w 6462083"/>
                <a:gd name="connsiteY88" fmla="*/ 3124562 h 3498714"/>
                <a:gd name="connsiteX89" fmla="*/ 1941629 w 6462083"/>
                <a:gd name="connsiteY89" fmla="*/ 3013437 h 3498714"/>
                <a:gd name="connsiteX90" fmla="*/ 2052754 w 6462083"/>
                <a:gd name="connsiteY90" fmla="*/ 2902312 h 3498714"/>
                <a:gd name="connsiteX91" fmla="*/ 682782 w 6462083"/>
                <a:gd name="connsiteY91" fmla="*/ 0 h 3498714"/>
                <a:gd name="connsiteX92" fmla="*/ 4492583 w 6462083"/>
                <a:gd name="connsiteY92" fmla="*/ 2089512 h 3498714"/>
                <a:gd name="connsiteX93" fmla="*/ 4311608 w 6462083"/>
                <a:gd name="connsiteY93" fmla="*/ 2270487 h 3498714"/>
                <a:gd name="connsiteX94" fmla="*/ 4492583 w 6462083"/>
                <a:gd name="connsiteY94" fmla="*/ 2451462 h 3498714"/>
                <a:gd name="connsiteX95" fmla="*/ 5407618 w 6462083"/>
                <a:gd name="connsiteY95" fmla="*/ 2468742 h 3498714"/>
                <a:gd name="connsiteX96" fmla="*/ 6461556 w 6462083"/>
                <a:gd name="connsiteY96" fmla="*/ 2404799 h 3498714"/>
                <a:gd name="connsiteX97" fmla="*/ 5388995 w 6462083"/>
                <a:gd name="connsiteY97" fmla="*/ 2075460 h 3498714"/>
                <a:gd name="connsiteX0" fmla="*/ 2979061 w 5470282"/>
                <a:gd name="connsiteY0" fmla="*/ 2089512 h 3498714"/>
                <a:gd name="connsiteX1" fmla="*/ 2671086 w 5470282"/>
                <a:gd name="connsiteY1" fmla="*/ 2397487 h 3498714"/>
                <a:gd name="connsiteX2" fmla="*/ 2671086 w 5470282"/>
                <a:gd name="connsiteY2" fmla="*/ 2584811 h 3498714"/>
                <a:gd name="connsiteX3" fmla="*/ 4083961 w 5470282"/>
                <a:gd name="connsiteY3" fmla="*/ 2584811 h 3498714"/>
                <a:gd name="connsiteX4" fmla="*/ 4083961 w 5470282"/>
                <a:gd name="connsiteY4" fmla="*/ 2397487 h 3498714"/>
                <a:gd name="connsiteX5" fmla="*/ 3775986 w 5470282"/>
                <a:gd name="connsiteY5" fmla="*/ 2089512 h 3498714"/>
                <a:gd name="connsiteX6" fmla="*/ 2979061 w 5470282"/>
                <a:gd name="connsiteY6" fmla="*/ 2089512 h 3498714"/>
                <a:gd name="connsiteX7" fmla="*/ 2251033 w 5470282"/>
                <a:gd name="connsiteY7" fmla="*/ 2089512 h 3498714"/>
                <a:gd name="connsiteX8" fmla="*/ 2070058 w 5470282"/>
                <a:gd name="connsiteY8" fmla="*/ 2270487 h 3498714"/>
                <a:gd name="connsiteX9" fmla="*/ 2251033 w 5470282"/>
                <a:gd name="connsiteY9" fmla="*/ 2451462 h 3498714"/>
                <a:gd name="connsiteX10" fmla="*/ 2432008 w 5470282"/>
                <a:gd name="connsiteY10" fmla="*/ 2270487 h 3498714"/>
                <a:gd name="connsiteX11" fmla="*/ 2251033 w 5470282"/>
                <a:gd name="connsiteY11" fmla="*/ 2089512 h 3498714"/>
                <a:gd name="connsiteX12" fmla="*/ 2842751 w 5470282"/>
                <a:gd name="connsiteY12" fmla="*/ 1749356 h 3498714"/>
                <a:gd name="connsiteX13" fmla="*/ 2392797 w 5470282"/>
                <a:gd name="connsiteY13" fmla="*/ 1878907 h 3498714"/>
                <a:gd name="connsiteX14" fmla="*/ 2478781 w 5470282"/>
                <a:gd name="connsiteY14" fmla="*/ 1920808 h 3498714"/>
                <a:gd name="connsiteX15" fmla="*/ 2842751 w 5470282"/>
                <a:gd name="connsiteY15" fmla="*/ 1749356 h 3498714"/>
                <a:gd name="connsiteX16" fmla="*/ 2534724 w 5470282"/>
                <a:gd name="connsiteY16" fmla="*/ 982297 h 3498714"/>
                <a:gd name="connsiteX17" fmla="*/ 4802103 w 5470282"/>
                <a:gd name="connsiteY17" fmla="*/ 2588456 h 3498714"/>
                <a:gd name="connsiteX18" fmla="*/ 4904699 w 5470282"/>
                <a:gd name="connsiteY18" fmla="*/ 2705462 h 3498714"/>
                <a:gd name="connsiteX19" fmla="*/ 4904698 w 5470282"/>
                <a:gd name="connsiteY19" fmla="*/ 2705462 h 3498714"/>
                <a:gd name="connsiteX20" fmla="*/ 4784047 w 5470282"/>
                <a:gd name="connsiteY20" fmla="*/ 2826113 h 3498714"/>
                <a:gd name="connsiteX21" fmla="*/ 1970999 w 5470282"/>
                <a:gd name="connsiteY21" fmla="*/ 2826112 h 3498714"/>
                <a:gd name="connsiteX22" fmla="*/ 1850348 w 5470282"/>
                <a:gd name="connsiteY22" fmla="*/ 2705462 h 3498714"/>
                <a:gd name="connsiteX23" fmla="*/ 1956769 w 5470282"/>
                <a:gd name="connsiteY23" fmla="*/ 2587684 h 3498714"/>
                <a:gd name="connsiteX24" fmla="*/ 1823360 w 5470282"/>
                <a:gd name="connsiteY24" fmla="*/ 2279217 h 3498714"/>
                <a:gd name="connsiteX25" fmla="*/ 2217440 w 5470282"/>
                <a:gd name="connsiteY25" fmla="*/ 1856216 h 3498714"/>
                <a:gd name="connsiteX26" fmla="*/ 2534724 w 5470282"/>
                <a:gd name="connsiteY26" fmla="*/ 982297 h 3498714"/>
                <a:gd name="connsiteX27" fmla="*/ 358791 w 5470282"/>
                <a:gd name="connsiteY27" fmla="*/ 644545 h 3498714"/>
                <a:gd name="connsiteX28" fmla="*/ 1006774 w 5470282"/>
                <a:gd name="connsiteY28" fmla="*/ 644545 h 3498714"/>
                <a:gd name="connsiteX29" fmla="*/ 1542636 w 5470282"/>
                <a:gd name="connsiteY29" fmla="*/ 1193969 h 3498714"/>
                <a:gd name="connsiteX30" fmla="*/ 1929878 w 5470282"/>
                <a:gd name="connsiteY30" fmla="*/ 1193970 h 3498714"/>
                <a:gd name="connsiteX31" fmla="*/ 2070059 w 5470282"/>
                <a:gd name="connsiteY31" fmla="*/ 1334152 h 3498714"/>
                <a:gd name="connsiteX32" fmla="*/ 1929878 w 5470282"/>
                <a:gd name="connsiteY32" fmla="*/ 1474333 h 3498714"/>
                <a:gd name="connsiteX33" fmla="*/ 1520943 w 5470282"/>
                <a:gd name="connsiteY33" fmla="*/ 1470388 h 3498714"/>
                <a:gd name="connsiteX34" fmla="*/ 1332825 w 5470282"/>
                <a:gd name="connsiteY34" fmla="*/ 1367201 h 3498714"/>
                <a:gd name="connsiteX35" fmla="*/ 1106501 w 5470282"/>
                <a:gd name="connsiteY35" fmla="*/ 1098289 h 3498714"/>
                <a:gd name="connsiteX36" fmla="*/ 1101049 w 5470282"/>
                <a:gd name="connsiteY36" fmla="*/ 1092836 h 3498714"/>
                <a:gd name="connsiteX37" fmla="*/ 1046523 w 5470282"/>
                <a:gd name="connsiteY37" fmla="*/ 1092836 h 3498714"/>
                <a:gd name="connsiteX38" fmla="*/ 1041071 w 5470282"/>
                <a:gd name="connsiteY38" fmla="*/ 1098289 h 3498714"/>
                <a:gd name="connsiteX39" fmla="*/ 1042136 w 5470282"/>
                <a:gd name="connsiteY39" fmla="*/ 1419754 h 3498714"/>
                <a:gd name="connsiteX40" fmla="*/ 1042136 w 5470282"/>
                <a:gd name="connsiteY40" fmla="*/ 3337652 h 3498714"/>
                <a:gd name="connsiteX41" fmla="*/ 881075 w 5470282"/>
                <a:gd name="connsiteY41" fmla="*/ 3498714 h 3498714"/>
                <a:gd name="connsiteX42" fmla="*/ 720012 w 5470282"/>
                <a:gd name="connsiteY42" fmla="*/ 3337652 h 3498714"/>
                <a:gd name="connsiteX43" fmla="*/ 720012 w 5470282"/>
                <a:gd name="connsiteY43" fmla="*/ 2125717 h 3498714"/>
                <a:gd name="connsiteX44" fmla="*/ 718947 w 5470282"/>
                <a:gd name="connsiteY44" fmla="*/ 2033194 h 3498714"/>
                <a:gd name="connsiteX45" fmla="*/ 714162 w 5470282"/>
                <a:gd name="connsiteY45" fmla="*/ 2028410 h 3498714"/>
                <a:gd name="connsiteX46" fmla="*/ 654759 w 5470282"/>
                <a:gd name="connsiteY46" fmla="*/ 2028410 h 3498714"/>
                <a:gd name="connsiteX47" fmla="*/ 649974 w 5470282"/>
                <a:gd name="connsiteY47" fmla="*/ 2033194 h 3498714"/>
                <a:gd name="connsiteX48" fmla="*/ 649974 w 5470282"/>
                <a:gd name="connsiteY48" fmla="*/ 2125717 h 3498714"/>
                <a:gd name="connsiteX49" fmla="*/ 649574 w 5470282"/>
                <a:gd name="connsiteY49" fmla="*/ 3337652 h 3498714"/>
                <a:gd name="connsiteX50" fmla="*/ 488511 w 5470282"/>
                <a:gd name="connsiteY50" fmla="*/ 3498714 h 3498714"/>
                <a:gd name="connsiteX51" fmla="*/ 327450 w 5470282"/>
                <a:gd name="connsiteY51" fmla="*/ 3337652 h 3498714"/>
                <a:gd name="connsiteX52" fmla="*/ 327450 w 5470282"/>
                <a:gd name="connsiteY52" fmla="*/ 1458216 h 3498714"/>
                <a:gd name="connsiteX53" fmla="*/ 322427 w 5470282"/>
                <a:gd name="connsiteY53" fmla="*/ 1098205 h 3498714"/>
                <a:gd name="connsiteX54" fmla="*/ 317058 w 5470282"/>
                <a:gd name="connsiteY54" fmla="*/ 1092836 h 3498714"/>
                <a:gd name="connsiteX55" fmla="*/ 263371 w 5470282"/>
                <a:gd name="connsiteY55" fmla="*/ 1092836 h 3498714"/>
                <a:gd name="connsiteX56" fmla="*/ 258001 w 5470282"/>
                <a:gd name="connsiteY56" fmla="*/ 1098205 h 3498714"/>
                <a:gd name="connsiteX57" fmla="*/ 258001 w 5470282"/>
                <a:gd name="connsiteY57" fmla="*/ 1444446 h 3498714"/>
                <a:gd name="connsiteX58" fmla="*/ 257700 w 5470282"/>
                <a:gd name="connsiteY58" fmla="*/ 1444370 h 3498714"/>
                <a:gd name="connsiteX59" fmla="*/ 257700 w 5470282"/>
                <a:gd name="connsiteY59" fmla="*/ 1912573 h 3498714"/>
                <a:gd name="connsiteX60" fmla="*/ 128850 w 5470282"/>
                <a:gd name="connsiteY60" fmla="*/ 2041423 h 3498714"/>
                <a:gd name="connsiteX61" fmla="*/ 0 w 5470282"/>
                <a:gd name="connsiteY61" fmla="*/ 1912573 h 3498714"/>
                <a:gd name="connsiteX62" fmla="*/ 0 w 5470282"/>
                <a:gd name="connsiteY62" fmla="*/ 1101802 h 3498714"/>
                <a:gd name="connsiteX63" fmla="*/ 0 w 5470282"/>
                <a:gd name="connsiteY63" fmla="*/ 1003338 h 3498714"/>
                <a:gd name="connsiteX64" fmla="*/ 0 w 5470282"/>
                <a:gd name="connsiteY64" fmla="*/ 982486 h 3498714"/>
                <a:gd name="connsiteX65" fmla="*/ 12733 w 5470282"/>
                <a:gd name="connsiteY65" fmla="*/ 894663 h 3498714"/>
                <a:gd name="connsiteX66" fmla="*/ 20539 w 5470282"/>
                <a:gd name="connsiteY66" fmla="*/ 868773 h 3498714"/>
                <a:gd name="connsiteX67" fmla="*/ 358791 w 5470282"/>
                <a:gd name="connsiteY67" fmla="*/ 644545 h 3498714"/>
                <a:gd name="connsiteX68" fmla="*/ 682782 w 5470282"/>
                <a:gd name="connsiteY68" fmla="*/ 0 h 3498714"/>
                <a:gd name="connsiteX69" fmla="*/ 966919 w 5470282"/>
                <a:gd name="connsiteY69" fmla="*/ 284138 h 3498714"/>
                <a:gd name="connsiteX70" fmla="*/ 682782 w 5470282"/>
                <a:gd name="connsiteY70" fmla="*/ 568275 h 3498714"/>
                <a:gd name="connsiteX71" fmla="*/ 398645 w 5470282"/>
                <a:gd name="connsiteY71" fmla="*/ 284138 h 3498714"/>
                <a:gd name="connsiteX72" fmla="*/ 682782 w 5470282"/>
                <a:gd name="connsiteY72" fmla="*/ 0 h 3498714"/>
                <a:gd name="connsiteX73" fmla="*/ 4707054 w 5470282"/>
                <a:gd name="connsiteY73" fmla="*/ 2902312 h 3498714"/>
                <a:gd name="connsiteX74" fmla="*/ 4818179 w 5470282"/>
                <a:gd name="connsiteY74" fmla="*/ 3013437 h 3498714"/>
                <a:gd name="connsiteX75" fmla="*/ 4707054 w 5470282"/>
                <a:gd name="connsiteY75" fmla="*/ 3124562 h 3498714"/>
                <a:gd name="connsiteX76" fmla="*/ 4545125 w 5470282"/>
                <a:gd name="connsiteY76" fmla="*/ 3124562 h 3498714"/>
                <a:gd name="connsiteX77" fmla="*/ 4545125 w 5470282"/>
                <a:gd name="connsiteY77" fmla="*/ 3361625 h 3498714"/>
                <a:gd name="connsiteX78" fmla="*/ 4436113 w 5470282"/>
                <a:gd name="connsiteY78" fmla="*/ 3470637 h 3498714"/>
                <a:gd name="connsiteX79" fmla="*/ 4235039 w 5470282"/>
                <a:gd name="connsiteY79" fmla="*/ 3470637 h 3498714"/>
                <a:gd name="connsiteX80" fmla="*/ 4126027 w 5470282"/>
                <a:gd name="connsiteY80" fmla="*/ 3361625 h 3498714"/>
                <a:gd name="connsiteX81" fmla="*/ 4126027 w 5470282"/>
                <a:gd name="connsiteY81" fmla="*/ 3124562 h 3498714"/>
                <a:gd name="connsiteX82" fmla="*/ 2589325 w 5470282"/>
                <a:gd name="connsiteY82" fmla="*/ 3124562 h 3498714"/>
                <a:gd name="connsiteX83" fmla="*/ 2589325 w 5470282"/>
                <a:gd name="connsiteY83" fmla="*/ 3361625 h 3498714"/>
                <a:gd name="connsiteX84" fmla="*/ 2480313 w 5470282"/>
                <a:gd name="connsiteY84" fmla="*/ 3470637 h 3498714"/>
                <a:gd name="connsiteX85" fmla="*/ 2279239 w 5470282"/>
                <a:gd name="connsiteY85" fmla="*/ 3470637 h 3498714"/>
                <a:gd name="connsiteX86" fmla="*/ 2170227 w 5470282"/>
                <a:gd name="connsiteY86" fmla="*/ 3361625 h 3498714"/>
                <a:gd name="connsiteX87" fmla="*/ 2170227 w 5470282"/>
                <a:gd name="connsiteY87" fmla="*/ 3124562 h 3498714"/>
                <a:gd name="connsiteX88" fmla="*/ 2052754 w 5470282"/>
                <a:gd name="connsiteY88" fmla="*/ 3124562 h 3498714"/>
                <a:gd name="connsiteX89" fmla="*/ 1941629 w 5470282"/>
                <a:gd name="connsiteY89" fmla="*/ 3013437 h 3498714"/>
                <a:gd name="connsiteX90" fmla="*/ 2052754 w 5470282"/>
                <a:gd name="connsiteY90" fmla="*/ 2902312 h 3498714"/>
                <a:gd name="connsiteX91" fmla="*/ 682782 w 5470282"/>
                <a:gd name="connsiteY91" fmla="*/ 0 h 3498714"/>
                <a:gd name="connsiteX92" fmla="*/ 4492583 w 5470282"/>
                <a:gd name="connsiteY92" fmla="*/ 2089512 h 3498714"/>
                <a:gd name="connsiteX93" fmla="*/ 4311608 w 5470282"/>
                <a:gd name="connsiteY93" fmla="*/ 2270487 h 3498714"/>
                <a:gd name="connsiteX94" fmla="*/ 4492583 w 5470282"/>
                <a:gd name="connsiteY94" fmla="*/ 2451462 h 3498714"/>
                <a:gd name="connsiteX95" fmla="*/ 5407618 w 5470282"/>
                <a:gd name="connsiteY95" fmla="*/ 2468742 h 3498714"/>
                <a:gd name="connsiteX96" fmla="*/ 5388995 w 5470282"/>
                <a:gd name="connsiteY96" fmla="*/ 2075460 h 3498714"/>
                <a:gd name="connsiteX0" fmla="*/ 2979061 w 5388995"/>
                <a:gd name="connsiteY0" fmla="*/ 2089512 h 3498714"/>
                <a:gd name="connsiteX1" fmla="*/ 2671086 w 5388995"/>
                <a:gd name="connsiteY1" fmla="*/ 2397487 h 3498714"/>
                <a:gd name="connsiteX2" fmla="*/ 2671086 w 5388995"/>
                <a:gd name="connsiteY2" fmla="*/ 2584811 h 3498714"/>
                <a:gd name="connsiteX3" fmla="*/ 4083961 w 5388995"/>
                <a:gd name="connsiteY3" fmla="*/ 2584811 h 3498714"/>
                <a:gd name="connsiteX4" fmla="*/ 4083961 w 5388995"/>
                <a:gd name="connsiteY4" fmla="*/ 2397487 h 3498714"/>
                <a:gd name="connsiteX5" fmla="*/ 3775986 w 5388995"/>
                <a:gd name="connsiteY5" fmla="*/ 2089512 h 3498714"/>
                <a:gd name="connsiteX6" fmla="*/ 2979061 w 5388995"/>
                <a:gd name="connsiteY6" fmla="*/ 2089512 h 3498714"/>
                <a:gd name="connsiteX7" fmla="*/ 2251033 w 5388995"/>
                <a:gd name="connsiteY7" fmla="*/ 2089512 h 3498714"/>
                <a:gd name="connsiteX8" fmla="*/ 2070058 w 5388995"/>
                <a:gd name="connsiteY8" fmla="*/ 2270487 h 3498714"/>
                <a:gd name="connsiteX9" fmla="*/ 2251033 w 5388995"/>
                <a:gd name="connsiteY9" fmla="*/ 2451462 h 3498714"/>
                <a:gd name="connsiteX10" fmla="*/ 2432008 w 5388995"/>
                <a:gd name="connsiteY10" fmla="*/ 2270487 h 3498714"/>
                <a:gd name="connsiteX11" fmla="*/ 2251033 w 5388995"/>
                <a:gd name="connsiteY11" fmla="*/ 2089512 h 3498714"/>
                <a:gd name="connsiteX12" fmla="*/ 2842751 w 5388995"/>
                <a:gd name="connsiteY12" fmla="*/ 1749356 h 3498714"/>
                <a:gd name="connsiteX13" fmla="*/ 2392797 w 5388995"/>
                <a:gd name="connsiteY13" fmla="*/ 1878907 h 3498714"/>
                <a:gd name="connsiteX14" fmla="*/ 2478781 w 5388995"/>
                <a:gd name="connsiteY14" fmla="*/ 1920808 h 3498714"/>
                <a:gd name="connsiteX15" fmla="*/ 2842751 w 5388995"/>
                <a:gd name="connsiteY15" fmla="*/ 1749356 h 3498714"/>
                <a:gd name="connsiteX16" fmla="*/ 2534724 w 5388995"/>
                <a:gd name="connsiteY16" fmla="*/ 982297 h 3498714"/>
                <a:gd name="connsiteX17" fmla="*/ 4802103 w 5388995"/>
                <a:gd name="connsiteY17" fmla="*/ 2588456 h 3498714"/>
                <a:gd name="connsiteX18" fmla="*/ 4904699 w 5388995"/>
                <a:gd name="connsiteY18" fmla="*/ 2705462 h 3498714"/>
                <a:gd name="connsiteX19" fmla="*/ 4904698 w 5388995"/>
                <a:gd name="connsiteY19" fmla="*/ 2705462 h 3498714"/>
                <a:gd name="connsiteX20" fmla="*/ 4784047 w 5388995"/>
                <a:gd name="connsiteY20" fmla="*/ 2826113 h 3498714"/>
                <a:gd name="connsiteX21" fmla="*/ 1970999 w 5388995"/>
                <a:gd name="connsiteY21" fmla="*/ 2826112 h 3498714"/>
                <a:gd name="connsiteX22" fmla="*/ 1850348 w 5388995"/>
                <a:gd name="connsiteY22" fmla="*/ 2705462 h 3498714"/>
                <a:gd name="connsiteX23" fmla="*/ 1956769 w 5388995"/>
                <a:gd name="connsiteY23" fmla="*/ 2587684 h 3498714"/>
                <a:gd name="connsiteX24" fmla="*/ 1823360 w 5388995"/>
                <a:gd name="connsiteY24" fmla="*/ 2279217 h 3498714"/>
                <a:gd name="connsiteX25" fmla="*/ 2217440 w 5388995"/>
                <a:gd name="connsiteY25" fmla="*/ 1856216 h 3498714"/>
                <a:gd name="connsiteX26" fmla="*/ 2534724 w 5388995"/>
                <a:gd name="connsiteY26" fmla="*/ 982297 h 3498714"/>
                <a:gd name="connsiteX27" fmla="*/ 358791 w 5388995"/>
                <a:gd name="connsiteY27" fmla="*/ 644545 h 3498714"/>
                <a:gd name="connsiteX28" fmla="*/ 1006774 w 5388995"/>
                <a:gd name="connsiteY28" fmla="*/ 644545 h 3498714"/>
                <a:gd name="connsiteX29" fmla="*/ 1542636 w 5388995"/>
                <a:gd name="connsiteY29" fmla="*/ 1193969 h 3498714"/>
                <a:gd name="connsiteX30" fmla="*/ 1929878 w 5388995"/>
                <a:gd name="connsiteY30" fmla="*/ 1193970 h 3498714"/>
                <a:gd name="connsiteX31" fmla="*/ 2070059 w 5388995"/>
                <a:gd name="connsiteY31" fmla="*/ 1334152 h 3498714"/>
                <a:gd name="connsiteX32" fmla="*/ 1929878 w 5388995"/>
                <a:gd name="connsiteY32" fmla="*/ 1474333 h 3498714"/>
                <a:gd name="connsiteX33" fmla="*/ 1520943 w 5388995"/>
                <a:gd name="connsiteY33" fmla="*/ 1470388 h 3498714"/>
                <a:gd name="connsiteX34" fmla="*/ 1332825 w 5388995"/>
                <a:gd name="connsiteY34" fmla="*/ 1367201 h 3498714"/>
                <a:gd name="connsiteX35" fmla="*/ 1106501 w 5388995"/>
                <a:gd name="connsiteY35" fmla="*/ 1098289 h 3498714"/>
                <a:gd name="connsiteX36" fmla="*/ 1101049 w 5388995"/>
                <a:gd name="connsiteY36" fmla="*/ 1092836 h 3498714"/>
                <a:gd name="connsiteX37" fmla="*/ 1046523 w 5388995"/>
                <a:gd name="connsiteY37" fmla="*/ 1092836 h 3498714"/>
                <a:gd name="connsiteX38" fmla="*/ 1041071 w 5388995"/>
                <a:gd name="connsiteY38" fmla="*/ 1098289 h 3498714"/>
                <a:gd name="connsiteX39" fmla="*/ 1042136 w 5388995"/>
                <a:gd name="connsiteY39" fmla="*/ 1419754 h 3498714"/>
                <a:gd name="connsiteX40" fmla="*/ 1042136 w 5388995"/>
                <a:gd name="connsiteY40" fmla="*/ 3337652 h 3498714"/>
                <a:gd name="connsiteX41" fmla="*/ 881075 w 5388995"/>
                <a:gd name="connsiteY41" fmla="*/ 3498714 h 3498714"/>
                <a:gd name="connsiteX42" fmla="*/ 720012 w 5388995"/>
                <a:gd name="connsiteY42" fmla="*/ 3337652 h 3498714"/>
                <a:gd name="connsiteX43" fmla="*/ 720012 w 5388995"/>
                <a:gd name="connsiteY43" fmla="*/ 2125717 h 3498714"/>
                <a:gd name="connsiteX44" fmla="*/ 718947 w 5388995"/>
                <a:gd name="connsiteY44" fmla="*/ 2033194 h 3498714"/>
                <a:gd name="connsiteX45" fmla="*/ 714162 w 5388995"/>
                <a:gd name="connsiteY45" fmla="*/ 2028410 h 3498714"/>
                <a:gd name="connsiteX46" fmla="*/ 654759 w 5388995"/>
                <a:gd name="connsiteY46" fmla="*/ 2028410 h 3498714"/>
                <a:gd name="connsiteX47" fmla="*/ 649974 w 5388995"/>
                <a:gd name="connsiteY47" fmla="*/ 2033194 h 3498714"/>
                <a:gd name="connsiteX48" fmla="*/ 649974 w 5388995"/>
                <a:gd name="connsiteY48" fmla="*/ 2125717 h 3498714"/>
                <a:gd name="connsiteX49" fmla="*/ 649574 w 5388995"/>
                <a:gd name="connsiteY49" fmla="*/ 3337652 h 3498714"/>
                <a:gd name="connsiteX50" fmla="*/ 488511 w 5388995"/>
                <a:gd name="connsiteY50" fmla="*/ 3498714 h 3498714"/>
                <a:gd name="connsiteX51" fmla="*/ 327450 w 5388995"/>
                <a:gd name="connsiteY51" fmla="*/ 3337652 h 3498714"/>
                <a:gd name="connsiteX52" fmla="*/ 327450 w 5388995"/>
                <a:gd name="connsiteY52" fmla="*/ 1458216 h 3498714"/>
                <a:gd name="connsiteX53" fmla="*/ 322427 w 5388995"/>
                <a:gd name="connsiteY53" fmla="*/ 1098205 h 3498714"/>
                <a:gd name="connsiteX54" fmla="*/ 317058 w 5388995"/>
                <a:gd name="connsiteY54" fmla="*/ 1092836 h 3498714"/>
                <a:gd name="connsiteX55" fmla="*/ 263371 w 5388995"/>
                <a:gd name="connsiteY55" fmla="*/ 1092836 h 3498714"/>
                <a:gd name="connsiteX56" fmla="*/ 258001 w 5388995"/>
                <a:gd name="connsiteY56" fmla="*/ 1098205 h 3498714"/>
                <a:gd name="connsiteX57" fmla="*/ 258001 w 5388995"/>
                <a:gd name="connsiteY57" fmla="*/ 1444446 h 3498714"/>
                <a:gd name="connsiteX58" fmla="*/ 257700 w 5388995"/>
                <a:gd name="connsiteY58" fmla="*/ 1444370 h 3498714"/>
                <a:gd name="connsiteX59" fmla="*/ 257700 w 5388995"/>
                <a:gd name="connsiteY59" fmla="*/ 1912573 h 3498714"/>
                <a:gd name="connsiteX60" fmla="*/ 128850 w 5388995"/>
                <a:gd name="connsiteY60" fmla="*/ 2041423 h 3498714"/>
                <a:gd name="connsiteX61" fmla="*/ 0 w 5388995"/>
                <a:gd name="connsiteY61" fmla="*/ 1912573 h 3498714"/>
                <a:gd name="connsiteX62" fmla="*/ 0 w 5388995"/>
                <a:gd name="connsiteY62" fmla="*/ 1101802 h 3498714"/>
                <a:gd name="connsiteX63" fmla="*/ 0 w 5388995"/>
                <a:gd name="connsiteY63" fmla="*/ 1003338 h 3498714"/>
                <a:gd name="connsiteX64" fmla="*/ 0 w 5388995"/>
                <a:gd name="connsiteY64" fmla="*/ 982486 h 3498714"/>
                <a:gd name="connsiteX65" fmla="*/ 12733 w 5388995"/>
                <a:gd name="connsiteY65" fmla="*/ 894663 h 3498714"/>
                <a:gd name="connsiteX66" fmla="*/ 20539 w 5388995"/>
                <a:gd name="connsiteY66" fmla="*/ 868773 h 3498714"/>
                <a:gd name="connsiteX67" fmla="*/ 358791 w 5388995"/>
                <a:gd name="connsiteY67" fmla="*/ 644545 h 3498714"/>
                <a:gd name="connsiteX68" fmla="*/ 682782 w 5388995"/>
                <a:gd name="connsiteY68" fmla="*/ 0 h 3498714"/>
                <a:gd name="connsiteX69" fmla="*/ 966919 w 5388995"/>
                <a:gd name="connsiteY69" fmla="*/ 284138 h 3498714"/>
                <a:gd name="connsiteX70" fmla="*/ 682782 w 5388995"/>
                <a:gd name="connsiteY70" fmla="*/ 568275 h 3498714"/>
                <a:gd name="connsiteX71" fmla="*/ 398645 w 5388995"/>
                <a:gd name="connsiteY71" fmla="*/ 284138 h 3498714"/>
                <a:gd name="connsiteX72" fmla="*/ 682782 w 5388995"/>
                <a:gd name="connsiteY72" fmla="*/ 0 h 3498714"/>
                <a:gd name="connsiteX73" fmla="*/ 4707054 w 5388995"/>
                <a:gd name="connsiteY73" fmla="*/ 2902312 h 3498714"/>
                <a:gd name="connsiteX74" fmla="*/ 4818179 w 5388995"/>
                <a:gd name="connsiteY74" fmla="*/ 3013437 h 3498714"/>
                <a:gd name="connsiteX75" fmla="*/ 4707054 w 5388995"/>
                <a:gd name="connsiteY75" fmla="*/ 3124562 h 3498714"/>
                <a:gd name="connsiteX76" fmla="*/ 4545125 w 5388995"/>
                <a:gd name="connsiteY76" fmla="*/ 3124562 h 3498714"/>
                <a:gd name="connsiteX77" fmla="*/ 4545125 w 5388995"/>
                <a:gd name="connsiteY77" fmla="*/ 3361625 h 3498714"/>
                <a:gd name="connsiteX78" fmla="*/ 4436113 w 5388995"/>
                <a:gd name="connsiteY78" fmla="*/ 3470637 h 3498714"/>
                <a:gd name="connsiteX79" fmla="*/ 4235039 w 5388995"/>
                <a:gd name="connsiteY79" fmla="*/ 3470637 h 3498714"/>
                <a:gd name="connsiteX80" fmla="*/ 4126027 w 5388995"/>
                <a:gd name="connsiteY80" fmla="*/ 3361625 h 3498714"/>
                <a:gd name="connsiteX81" fmla="*/ 4126027 w 5388995"/>
                <a:gd name="connsiteY81" fmla="*/ 3124562 h 3498714"/>
                <a:gd name="connsiteX82" fmla="*/ 2589325 w 5388995"/>
                <a:gd name="connsiteY82" fmla="*/ 3124562 h 3498714"/>
                <a:gd name="connsiteX83" fmla="*/ 2589325 w 5388995"/>
                <a:gd name="connsiteY83" fmla="*/ 3361625 h 3498714"/>
                <a:gd name="connsiteX84" fmla="*/ 2480313 w 5388995"/>
                <a:gd name="connsiteY84" fmla="*/ 3470637 h 3498714"/>
                <a:gd name="connsiteX85" fmla="*/ 2279239 w 5388995"/>
                <a:gd name="connsiteY85" fmla="*/ 3470637 h 3498714"/>
                <a:gd name="connsiteX86" fmla="*/ 2170227 w 5388995"/>
                <a:gd name="connsiteY86" fmla="*/ 3361625 h 3498714"/>
                <a:gd name="connsiteX87" fmla="*/ 2170227 w 5388995"/>
                <a:gd name="connsiteY87" fmla="*/ 3124562 h 3498714"/>
                <a:gd name="connsiteX88" fmla="*/ 2052754 w 5388995"/>
                <a:gd name="connsiteY88" fmla="*/ 3124562 h 3498714"/>
                <a:gd name="connsiteX89" fmla="*/ 1941629 w 5388995"/>
                <a:gd name="connsiteY89" fmla="*/ 3013437 h 3498714"/>
                <a:gd name="connsiteX90" fmla="*/ 2052754 w 5388995"/>
                <a:gd name="connsiteY90" fmla="*/ 2902312 h 3498714"/>
                <a:gd name="connsiteX91" fmla="*/ 682782 w 5388995"/>
                <a:gd name="connsiteY91" fmla="*/ 0 h 3498714"/>
                <a:gd name="connsiteX92" fmla="*/ 4492583 w 5388995"/>
                <a:gd name="connsiteY92" fmla="*/ 2089512 h 3498714"/>
                <a:gd name="connsiteX93" fmla="*/ 4311608 w 5388995"/>
                <a:gd name="connsiteY93" fmla="*/ 2270487 h 3498714"/>
                <a:gd name="connsiteX94" fmla="*/ 4492583 w 5388995"/>
                <a:gd name="connsiteY94" fmla="*/ 2451462 h 3498714"/>
                <a:gd name="connsiteX95" fmla="*/ 5388995 w 5388995"/>
                <a:gd name="connsiteY95" fmla="*/ 2075460 h 3498714"/>
                <a:gd name="connsiteX0" fmla="*/ 2979061 w 4904699"/>
                <a:gd name="connsiteY0" fmla="*/ 2089512 h 3498714"/>
                <a:gd name="connsiteX1" fmla="*/ 2671086 w 4904699"/>
                <a:gd name="connsiteY1" fmla="*/ 2397487 h 3498714"/>
                <a:gd name="connsiteX2" fmla="*/ 2671086 w 4904699"/>
                <a:gd name="connsiteY2" fmla="*/ 2584811 h 3498714"/>
                <a:gd name="connsiteX3" fmla="*/ 4083961 w 4904699"/>
                <a:gd name="connsiteY3" fmla="*/ 2584811 h 3498714"/>
                <a:gd name="connsiteX4" fmla="*/ 4083961 w 4904699"/>
                <a:gd name="connsiteY4" fmla="*/ 2397487 h 3498714"/>
                <a:gd name="connsiteX5" fmla="*/ 3775986 w 4904699"/>
                <a:gd name="connsiteY5" fmla="*/ 2089512 h 3498714"/>
                <a:gd name="connsiteX6" fmla="*/ 2979061 w 4904699"/>
                <a:gd name="connsiteY6" fmla="*/ 2089512 h 3498714"/>
                <a:gd name="connsiteX7" fmla="*/ 2251033 w 4904699"/>
                <a:gd name="connsiteY7" fmla="*/ 2089512 h 3498714"/>
                <a:gd name="connsiteX8" fmla="*/ 2070058 w 4904699"/>
                <a:gd name="connsiteY8" fmla="*/ 2270487 h 3498714"/>
                <a:gd name="connsiteX9" fmla="*/ 2251033 w 4904699"/>
                <a:gd name="connsiteY9" fmla="*/ 2451462 h 3498714"/>
                <a:gd name="connsiteX10" fmla="*/ 2432008 w 4904699"/>
                <a:gd name="connsiteY10" fmla="*/ 2270487 h 3498714"/>
                <a:gd name="connsiteX11" fmla="*/ 2251033 w 4904699"/>
                <a:gd name="connsiteY11" fmla="*/ 2089512 h 3498714"/>
                <a:gd name="connsiteX12" fmla="*/ 2842751 w 4904699"/>
                <a:gd name="connsiteY12" fmla="*/ 1749356 h 3498714"/>
                <a:gd name="connsiteX13" fmla="*/ 2392797 w 4904699"/>
                <a:gd name="connsiteY13" fmla="*/ 1878907 h 3498714"/>
                <a:gd name="connsiteX14" fmla="*/ 2478781 w 4904699"/>
                <a:gd name="connsiteY14" fmla="*/ 1920808 h 3498714"/>
                <a:gd name="connsiteX15" fmla="*/ 2842751 w 4904699"/>
                <a:gd name="connsiteY15" fmla="*/ 1749356 h 3498714"/>
                <a:gd name="connsiteX16" fmla="*/ 2534724 w 4904699"/>
                <a:gd name="connsiteY16" fmla="*/ 982297 h 3498714"/>
                <a:gd name="connsiteX17" fmla="*/ 4802103 w 4904699"/>
                <a:gd name="connsiteY17" fmla="*/ 2588456 h 3498714"/>
                <a:gd name="connsiteX18" fmla="*/ 4904699 w 4904699"/>
                <a:gd name="connsiteY18" fmla="*/ 2705462 h 3498714"/>
                <a:gd name="connsiteX19" fmla="*/ 4904698 w 4904699"/>
                <a:gd name="connsiteY19" fmla="*/ 2705462 h 3498714"/>
                <a:gd name="connsiteX20" fmla="*/ 4784047 w 4904699"/>
                <a:gd name="connsiteY20" fmla="*/ 2826113 h 3498714"/>
                <a:gd name="connsiteX21" fmla="*/ 1970999 w 4904699"/>
                <a:gd name="connsiteY21" fmla="*/ 2826112 h 3498714"/>
                <a:gd name="connsiteX22" fmla="*/ 1850348 w 4904699"/>
                <a:gd name="connsiteY22" fmla="*/ 2705462 h 3498714"/>
                <a:gd name="connsiteX23" fmla="*/ 1956769 w 4904699"/>
                <a:gd name="connsiteY23" fmla="*/ 2587684 h 3498714"/>
                <a:gd name="connsiteX24" fmla="*/ 1823360 w 4904699"/>
                <a:gd name="connsiteY24" fmla="*/ 2279217 h 3498714"/>
                <a:gd name="connsiteX25" fmla="*/ 2217440 w 4904699"/>
                <a:gd name="connsiteY25" fmla="*/ 1856216 h 3498714"/>
                <a:gd name="connsiteX26" fmla="*/ 2534724 w 4904699"/>
                <a:gd name="connsiteY26" fmla="*/ 982297 h 3498714"/>
                <a:gd name="connsiteX27" fmla="*/ 358791 w 4904699"/>
                <a:gd name="connsiteY27" fmla="*/ 644545 h 3498714"/>
                <a:gd name="connsiteX28" fmla="*/ 1006774 w 4904699"/>
                <a:gd name="connsiteY28" fmla="*/ 644545 h 3498714"/>
                <a:gd name="connsiteX29" fmla="*/ 1542636 w 4904699"/>
                <a:gd name="connsiteY29" fmla="*/ 1193969 h 3498714"/>
                <a:gd name="connsiteX30" fmla="*/ 1929878 w 4904699"/>
                <a:gd name="connsiteY30" fmla="*/ 1193970 h 3498714"/>
                <a:gd name="connsiteX31" fmla="*/ 2070059 w 4904699"/>
                <a:gd name="connsiteY31" fmla="*/ 1334152 h 3498714"/>
                <a:gd name="connsiteX32" fmla="*/ 1929878 w 4904699"/>
                <a:gd name="connsiteY32" fmla="*/ 1474333 h 3498714"/>
                <a:gd name="connsiteX33" fmla="*/ 1520943 w 4904699"/>
                <a:gd name="connsiteY33" fmla="*/ 1470388 h 3498714"/>
                <a:gd name="connsiteX34" fmla="*/ 1332825 w 4904699"/>
                <a:gd name="connsiteY34" fmla="*/ 1367201 h 3498714"/>
                <a:gd name="connsiteX35" fmla="*/ 1106501 w 4904699"/>
                <a:gd name="connsiteY35" fmla="*/ 1098289 h 3498714"/>
                <a:gd name="connsiteX36" fmla="*/ 1101049 w 4904699"/>
                <a:gd name="connsiteY36" fmla="*/ 1092836 h 3498714"/>
                <a:gd name="connsiteX37" fmla="*/ 1046523 w 4904699"/>
                <a:gd name="connsiteY37" fmla="*/ 1092836 h 3498714"/>
                <a:gd name="connsiteX38" fmla="*/ 1041071 w 4904699"/>
                <a:gd name="connsiteY38" fmla="*/ 1098289 h 3498714"/>
                <a:gd name="connsiteX39" fmla="*/ 1042136 w 4904699"/>
                <a:gd name="connsiteY39" fmla="*/ 1419754 h 3498714"/>
                <a:gd name="connsiteX40" fmla="*/ 1042136 w 4904699"/>
                <a:gd name="connsiteY40" fmla="*/ 3337652 h 3498714"/>
                <a:gd name="connsiteX41" fmla="*/ 881075 w 4904699"/>
                <a:gd name="connsiteY41" fmla="*/ 3498714 h 3498714"/>
                <a:gd name="connsiteX42" fmla="*/ 720012 w 4904699"/>
                <a:gd name="connsiteY42" fmla="*/ 3337652 h 3498714"/>
                <a:gd name="connsiteX43" fmla="*/ 720012 w 4904699"/>
                <a:gd name="connsiteY43" fmla="*/ 2125717 h 3498714"/>
                <a:gd name="connsiteX44" fmla="*/ 718947 w 4904699"/>
                <a:gd name="connsiteY44" fmla="*/ 2033194 h 3498714"/>
                <a:gd name="connsiteX45" fmla="*/ 714162 w 4904699"/>
                <a:gd name="connsiteY45" fmla="*/ 2028410 h 3498714"/>
                <a:gd name="connsiteX46" fmla="*/ 654759 w 4904699"/>
                <a:gd name="connsiteY46" fmla="*/ 2028410 h 3498714"/>
                <a:gd name="connsiteX47" fmla="*/ 649974 w 4904699"/>
                <a:gd name="connsiteY47" fmla="*/ 2033194 h 3498714"/>
                <a:gd name="connsiteX48" fmla="*/ 649974 w 4904699"/>
                <a:gd name="connsiteY48" fmla="*/ 2125717 h 3498714"/>
                <a:gd name="connsiteX49" fmla="*/ 649574 w 4904699"/>
                <a:gd name="connsiteY49" fmla="*/ 3337652 h 3498714"/>
                <a:gd name="connsiteX50" fmla="*/ 488511 w 4904699"/>
                <a:gd name="connsiteY50" fmla="*/ 3498714 h 3498714"/>
                <a:gd name="connsiteX51" fmla="*/ 327450 w 4904699"/>
                <a:gd name="connsiteY51" fmla="*/ 3337652 h 3498714"/>
                <a:gd name="connsiteX52" fmla="*/ 327450 w 4904699"/>
                <a:gd name="connsiteY52" fmla="*/ 1458216 h 3498714"/>
                <a:gd name="connsiteX53" fmla="*/ 322427 w 4904699"/>
                <a:gd name="connsiteY53" fmla="*/ 1098205 h 3498714"/>
                <a:gd name="connsiteX54" fmla="*/ 317058 w 4904699"/>
                <a:gd name="connsiteY54" fmla="*/ 1092836 h 3498714"/>
                <a:gd name="connsiteX55" fmla="*/ 263371 w 4904699"/>
                <a:gd name="connsiteY55" fmla="*/ 1092836 h 3498714"/>
                <a:gd name="connsiteX56" fmla="*/ 258001 w 4904699"/>
                <a:gd name="connsiteY56" fmla="*/ 1098205 h 3498714"/>
                <a:gd name="connsiteX57" fmla="*/ 258001 w 4904699"/>
                <a:gd name="connsiteY57" fmla="*/ 1444446 h 3498714"/>
                <a:gd name="connsiteX58" fmla="*/ 257700 w 4904699"/>
                <a:gd name="connsiteY58" fmla="*/ 1444370 h 3498714"/>
                <a:gd name="connsiteX59" fmla="*/ 257700 w 4904699"/>
                <a:gd name="connsiteY59" fmla="*/ 1912573 h 3498714"/>
                <a:gd name="connsiteX60" fmla="*/ 128850 w 4904699"/>
                <a:gd name="connsiteY60" fmla="*/ 2041423 h 3498714"/>
                <a:gd name="connsiteX61" fmla="*/ 0 w 4904699"/>
                <a:gd name="connsiteY61" fmla="*/ 1912573 h 3498714"/>
                <a:gd name="connsiteX62" fmla="*/ 0 w 4904699"/>
                <a:gd name="connsiteY62" fmla="*/ 1101802 h 3498714"/>
                <a:gd name="connsiteX63" fmla="*/ 0 w 4904699"/>
                <a:gd name="connsiteY63" fmla="*/ 1003338 h 3498714"/>
                <a:gd name="connsiteX64" fmla="*/ 0 w 4904699"/>
                <a:gd name="connsiteY64" fmla="*/ 982486 h 3498714"/>
                <a:gd name="connsiteX65" fmla="*/ 12733 w 4904699"/>
                <a:gd name="connsiteY65" fmla="*/ 894663 h 3498714"/>
                <a:gd name="connsiteX66" fmla="*/ 20539 w 4904699"/>
                <a:gd name="connsiteY66" fmla="*/ 868773 h 3498714"/>
                <a:gd name="connsiteX67" fmla="*/ 358791 w 4904699"/>
                <a:gd name="connsiteY67" fmla="*/ 644545 h 3498714"/>
                <a:gd name="connsiteX68" fmla="*/ 682782 w 4904699"/>
                <a:gd name="connsiteY68" fmla="*/ 0 h 3498714"/>
                <a:gd name="connsiteX69" fmla="*/ 966919 w 4904699"/>
                <a:gd name="connsiteY69" fmla="*/ 284138 h 3498714"/>
                <a:gd name="connsiteX70" fmla="*/ 682782 w 4904699"/>
                <a:gd name="connsiteY70" fmla="*/ 568275 h 3498714"/>
                <a:gd name="connsiteX71" fmla="*/ 398645 w 4904699"/>
                <a:gd name="connsiteY71" fmla="*/ 284138 h 3498714"/>
                <a:gd name="connsiteX72" fmla="*/ 682782 w 4904699"/>
                <a:gd name="connsiteY72" fmla="*/ 0 h 3498714"/>
                <a:gd name="connsiteX73" fmla="*/ 4707054 w 4904699"/>
                <a:gd name="connsiteY73" fmla="*/ 2902312 h 3498714"/>
                <a:gd name="connsiteX74" fmla="*/ 4818179 w 4904699"/>
                <a:gd name="connsiteY74" fmla="*/ 3013437 h 3498714"/>
                <a:gd name="connsiteX75" fmla="*/ 4707054 w 4904699"/>
                <a:gd name="connsiteY75" fmla="*/ 3124562 h 3498714"/>
                <a:gd name="connsiteX76" fmla="*/ 4545125 w 4904699"/>
                <a:gd name="connsiteY76" fmla="*/ 3124562 h 3498714"/>
                <a:gd name="connsiteX77" fmla="*/ 4545125 w 4904699"/>
                <a:gd name="connsiteY77" fmla="*/ 3361625 h 3498714"/>
                <a:gd name="connsiteX78" fmla="*/ 4436113 w 4904699"/>
                <a:gd name="connsiteY78" fmla="*/ 3470637 h 3498714"/>
                <a:gd name="connsiteX79" fmla="*/ 4235039 w 4904699"/>
                <a:gd name="connsiteY79" fmla="*/ 3470637 h 3498714"/>
                <a:gd name="connsiteX80" fmla="*/ 4126027 w 4904699"/>
                <a:gd name="connsiteY80" fmla="*/ 3361625 h 3498714"/>
                <a:gd name="connsiteX81" fmla="*/ 4126027 w 4904699"/>
                <a:gd name="connsiteY81" fmla="*/ 3124562 h 3498714"/>
                <a:gd name="connsiteX82" fmla="*/ 2589325 w 4904699"/>
                <a:gd name="connsiteY82" fmla="*/ 3124562 h 3498714"/>
                <a:gd name="connsiteX83" fmla="*/ 2589325 w 4904699"/>
                <a:gd name="connsiteY83" fmla="*/ 3361625 h 3498714"/>
                <a:gd name="connsiteX84" fmla="*/ 2480313 w 4904699"/>
                <a:gd name="connsiteY84" fmla="*/ 3470637 h 3498714"/>
                <a:gd name="connsiteX85" fmla="*/ 2279239 w 4904699"/>
                <a:gd name="connsiteY85" fmla="*/ 3470637 h 3498714"/>
                <a:gd name="connsiteX86" fmla="*/ 2170227 w 4904699"/>
                <a:gd name="connsiteY86" fmla="*/ 3361625 h 3498714"/>
                <a:gd name="connsiteX87" fmla="*/ 2170227 w 4904699"/>
                <a:gd name="connsiteY87" fmla="*/ 3124562 h 3498714"/>
                <a:gd name="connsiteX88" fmla="*/ 2052754 w 4904699"/>
                <a:gd name="connsiteY88" fmla="*/ 3124562 h 3498714"/>
                <a:gd name="connsiteX89" fmla="*/ 1941629 w 4904699"/>
                <a:gd name="connsiteY89" fmla="*/ 3013437 h 3498714"/>
                <a:gd name="connsiteX90" fmla="*/ 2052754 w 4904699"/>
                <a:gd name="connsiteY90" fmla="*/ 2902312 h 3498714"/>
                <a:gd name="connsiteX91" fmla="*/ 682782 w 4904699"/>
                <a:gd name="connsiteY91" fmla="*/ 0 h 3498714"/>
                <a:gd name="connsiteX92" fmla="*/ 4492583 w 4904699"/>
                <a:gd name="connsiteY92" fmla="*/ 2089512 h 3498714"/>
                <a:gd name="connsiteX93" fmla="*/ 4311608 w 4904699"/>
                <a:gd name="connsiteY93" fmla="*/ 2270487 h 3498714"/>
                <a:gd name="connsiteX94" fmla="*/ 4492583 w 4904699"/>
                <a:gd name="connsiteY94" fmla="*/ 2451462 h 3498714"/>
                <a:gd name="connsiteX0" fmla="*/ 2979061 w 4904699"/>
                <a:gd name="connsiteY0" fmla="*/ 2089512 h 3498714"/>
                <a:gd name="connsiteX1" fmla="*/ 2671086 w 4904699"/>
                <a:gd name="connsiteY1" fmla="*/ 2397487 h 3498714"/>
                <a:gd name="connsiteX2" fmla="*/ 2671086 w 4904699"/>
                <a:gd name="connsiteY2" fmla="*/ 2584811 h 3498714"/>
                <a:gd name="connsiteX3" fmla="*/ 4083961 w 4904699"/>
                <a:gd name="connsiteY3" fmla="*/ 2584811 h 3498714"/>
                <a:gd name="connsiteX4" fmla="*/ 4083961 w 4904699"/>
                <a:gd name="connsiteY4" fmla="*/ 2397487 h 3498714"/>
                <a:gd name="connsiteX5" fmla="*/ 3775986 w 4904699"/>
                <a:gd name="connsiteY5" fmla="*/ 2089512 h 3498714"/>
                <a:gd name="connsiteX6" fmla="*/ 2979061 w 4904699"/>
                <a:gd name="connsiteY6" fmla="*/ 2089512 h 3498714"/>
                <a:gd name="connsiteX7" fmla="*/ 2251033 w 4904699"/>
                <a:gd name="connsiteY7" fmla="*/ 2089512 h 3498714"/>
                <a:gd name="connsiteX8" fmla="*/ 2070058 w 4904699"/>
                <a:gd name="connsiteY8" fmla="*/ 2270487 h 3498714"/>
                <a:gd name="connsiteX9" fmla="*/ 2251033 w 4904699"/>
                <a:gd name="connsiteY9" fmla="*/ 2451462 h 3498714"/>
                <a:gd name="connsiteX10" fmla="*/ 2432008 w 4904699"/>
                <a:gd name="connsiteY10" fmla="*/ 2270487 h 3498714"/>
                <a:gd name="connsiteX11" fmla="*/ 2251033 w 4904699"/>
                <a:gd name="connsiteY11" fmla="*/ 2089512 h 3498714"/>
                <a:gd name="connsiteX12" fmla="*/ 2842751 w 4904699"/>
                <a:gd name="connsiteY12" fmla="*/ 1749356 h 3498714"/>
                <a:gd name="connsiteX13" fmla="*/ 2392797 w 4904699"/>
                <a:gd name="connsiteY13" fmla="*/ 1878907 h 3498714"/>
                <a:gd name="connsiteX14" fmla="*/ 2478781 w 4904699"/>
                <a:gd name="connsiteY14" fmla="*/ 1920808 h 3498714"/>
                <a:gd name="connsiteX15" fmla="*/ 2842751 w 4904699"/>
                <a:gd name="connsiteY15" fmla="*/ 1749356 h 3498714"/>
                <a:gd name="connsiteX16" fmla="*/ 2534724 w 4904699"/>
                <a:gd name="connsiteY16" fmla="*/ 982297 h 3498714"/>
                <a:gd name="connsiteX17" fmla="*/ 4802103 w 4904699"/>
                <a:gd name="connsiteY17" fmla="*/ 2588456 h 3498714"/>
                <a:gd name="connsiteX18" fmla="*/ 4904699 w 4904699"/>
                <a:gd name="connsiteY18" fmla="*/ 2705462 h 3498714"/>
                <a:gd name="connsiteX19" fmla="*/ 4904698 w 4904699"/>
                <a:gd name="connsiteY19" fmla="*/ 2705462 h 3498714"/>
                <a:gd name="connsiteX20" fmla="*/ 4784047 w 4904699"/>
                <a:gd name="connsiteY20" fmla="*/ 2826113 h 3498714"/>
                <a:gd name="connsiteX21" fmla="*/ 1970999 w 4904699"/>
                <a:gd name="connsiteY21" fmla="*/ 2826112 h 3498714"/>
                <a:gd name="connsiteX22" fmla="*/ 1850348 w 4904699"/>
                <a:gd name="connsiteY22" fmla="*/ 2705462 h 3498714"/>
                <a:gd name="connsiteX23" fmla="*/ 1956769 w 4904699"/>
                <a:gd name="connsiteY23" fmla="*/ 2587684 h 3498714"/>
                <a:gd name="connsiteX24" fmla="*/ 1823360 w 4904699"/>
                <a:gd name="connsiteY24" fmla="*/ 2279217 h 3498714"/>
                <a:gd name="connsiteX25" fmla="*/ 2217440 w 4904699"/>
                <a:gd name="connsiteY25" fmla="*/ 1856216 h 3498714"/>
                <a:gd name="connsiteX26" fmla="*/ 2534724 w 4904699"/>
                <a:gd name="connsiteY26" fmla="*/ 982297 h 3498714"/>
                <a:gd name="connsiteX27" fmla="*/ 358791 w 4904699"/>
                <a:gd name="connsiteY27" fmla="*/ 644545 h 3498714"/>
                <a:gd name="connsiteX28" fmla="*/ 1006774 w 4904699"/>
                <a:gd name="connsiteY28" fmla="*/ 644545 h 3498714"/>
                <a:gd name="connsiteX29" fmla="*/ 1542636 w 4904699"/>
                <a:gd name="connsiteY29" fmla="*/ 1193969 h 3498714"/>
                <a:gd name="connsiteX30" fmla="*/ 1929878 w 4904699"/>
                <a:gd name="connsiteY30" fmla="*/ 1193970 h 3498714"/>
                <a:gd name="connsiteX31" fmla="*/ 2070059 w 4904699"/>
                <a:gd name="connsiteY31" fmla="*/ 1334152 h 3498714"/>
                <a:gd name="connsiteX32" fmla="*/ 1929878 w 4904699"/>
                <a:gd name="connsiteY32" fmla="*/ 1474333 h 3498714"/>
                <a:gd name="connsiteX33" fmla="*/ 1520943 w 4904699"/>
                <a:gd name="connsiteY33" fmla="*/ 1470388 h 3498714"/>
                <a:gd name="connsiteX34" fmla="*/ 1332825 w 4904699"/>
                <a:gd name="connsiteY34" fmla="*/ 1367201 h 3498714"/>
                <a:gd name="connsiteX35" fmla="*/ 1106501 w 4904699"/>
                <a:gd name="connsiteY35" fmla="*/ 1098289 h 3498714"/>
                <a:gd name="connsiteX36" fmla="*/ 1101049 w 4904699"/>
                <a:gd name="connsiteY36" fmla="*/ 1092836 h 3498714"/>
                <a:gd name="connsiteX37" fmla="*/ 1046523 w 4904699"/>
                <a:gd name="connsiteY37" fmla="*/ 1092836 h 3498714"/>
                <a:gd name="connsiteX38" fmla="*/ 1041071 w 4904699"/>
                <a:gd name="connsiteY38" fmla="*/ 1098289 h 3498714"/>
                <a:gd name="connsiteX39" fmla="*/ 1042136 w 4904699"/>
                <a:gd name="connsiteY39" fmla="*/ 1419754 h 3498714"/>
                <a:gd name="connsiteX40" fmla="*/ 1042136 w 4904699"/>
                <a:gd name="connsiteY40" fmla="*/ 3337652 h 3498714"/>
                <a:gd name="connsiteX41" fmla="*/ 881075 w 4904699"/>
                <a:gd name="connsiteY41" fmla="*/ 3498714 h 3498714"/>
                <a:gd name="connsiteX42" fmla="*/ 720012 w 4904699"/>
                <a:gd name="connsiteY42" fmla="*/ 3337652 h 3498714"/>
                <a:gd name="connsiteX43" fmla="*/ 720012 w 4904699"/>
                <a:gd name="connsiteY43" fmla="*/ 2125717 h 3498714"/>
                <a:gd name="connsiteX44" fmla="*/ 718947 w 4904699"/>
                <a:gd name="connsiteY44" fmla="*/ 2033194 h 3498714"/>
                <a:gd name="connsiteX45" fmla="*/ 714162 w 4904699"/>
                <a:gd name="connsiteY45" fmla="*/ 2028410 h 3498714"/>
                <a:gd name="connsiteX46" fmla="*/ 654759 w 4904699"/>
                <a:gd name="connsiteY46" fmla="*/ 2028410 h 3498714"/>
                <a:gd name="connsiteX47" fmla="*/ 649974 w 4904699"/>
                <a:gd name="connsiteY47" fmla="*/ 2033194 h 3498714"/>
                <a:gd name="connsiteX48" fmla="*/ 649974 w 4904699"/>
                <a:gd name="connsiteY48" fmla="*/ 2125717 h 3498714"/>
                <a:gd name="connsiteX49" fmla="*/ 649574 w 4904699"/>
                <a:gd name="connsiteY49" fmla="*/ 3337652 h 3498714"/>
                <a:gd name="connsiteX50" fmla="*/ 488511 w 4904699"/>
                <a:gd name="connsiteY50" fmla="*/ 3498714 h 3498714"/>
                <a:gd name="connsiteX51" fmla="*/ 327450 w 4904699"/>
                <a:gd name="connsiteY51" fmla="*/ 3337652 h 3498714"/>
                <a:gd name="connsiteX52" fmla="*/ 327450 w 4904699"/>
                <a:gd name="connsiteY52" fmla="*/ 1458216 h 3498714"/>
                <a:gd name="connsiteX53" fmla="*/ 322427 w 4904699"/>
                <a:gd name="connsiteY53" fmla="*/ 1098205 h 3498714"/>
                <a:gd name="connsiteX54" fmla="*/ 317058 w 4904699"/>
                <a:gd name="connsiteY54" fmla="*/ 1092836 h 3498714"/>
                <a:gd name="connsiteX55" fmla="*/ 263371 w 4904699"/>
                <a:gd name="connsiteY55" fmla="*/ 1092836 h 3498714"/>
                <a:gd name="connsiteX56" fmla="*/ 258001 w 4904699"/>
                <a:gd name="connsiteY56" fmla="*/ 1098205 h 3498714"/>
                <a:gd name="connsiteX57" fmla="*/ 258001 w 4904699"/>
                <a:gd name="connsiteY57" fmla="*/ 1444446 h 3498714"/>
                <a:gd name="connsiteX58" fmla="*/ 257700 w 4904699"/>
                <a:gd name="connsiteY58" fmla="*/ 1444370 h 3498714"/>
                <a:gd name="connsiteX59" fmla="*/ 257700 w 4904699"/>
                <a:gd name="connsiteY59" fmla="*/ 1912573 h 3498714"/>
                <a:gd name="connsiteX60" fmla="*/ 128850 w 4904699"/>
                <a:gd name="connsiteY60" fmla="*/ 2041423 h 3498714"/>
                <a:gd name="connsiteX61" fmla="*/ 0 w 4904699"/>
                <a:gd name="connsiteY61" fmla="*/ 1912573 h 3498714"/>
                <a:gd name="connsiteX62" fmla="*/ 0 w 4904699"/>
                <a:gd name="connsiteY62" fmla="*/ 1101802 h 3498714"/>
                <a:gd name="connsiteX63" fmla="*/ 0 w 4904699"/>
                <a:gd name="connsiteY63" fmla="*/ 1003338 h 3498714"/>
                <a:gd name="connsiteX64" fmla="*/ 0 w 4904699"/>
                <a:gd name="connsiteY64" fmla="*/ 982486 h 3498714"/>
                <a:gd name="connsiteX65" fmla="*/ 12733 w 4904699"/>
                <a:gd name="connsiteY65" fmla="*/ 894663 h 3498714"/>
                <a:gd name="connsiteX66" fmla="*/ 20539 w 4904699"/>
                <a:gd name="connsiteY66" fmla="*/ 868773 h 3498714"/>
                <a:gd name="connsiteX67" fmla="*/ 358791 w 4904699"/>
                <a:gd name="connsiteY67" fmla="*/ 644545 h 3498714"/>
                <a:gd name="connsiteX68" fmla="*/ 682782 w 4904699"/>
                <a:gd name="connsiteY68" fmla="*/ 0 h 3498714"/>
                <a:gd name="connsiteX69" fmla="*/ 966919 w 4904699"/>
                <a:gd name="connsiteY69" fmla="*/ 284138 h 3498714"/>
                <a:gd name="connsiteX70" fmla="*/ 682782 w 4904699"/>
                <a:gd name="connsiteY70" fmla="*/ 568275 h 3498714"/>
                <a:gd name="connsiteX71" fmla="*/ 398645 w 4904699"/>
                <a:gd name="connsiteY71" fmla="*/ 284138 h 3498714"/>
                <a:gd name="connsiteX72" fmla="*/ 682782 w 4904699"/>
                <a:gd name="connsiteY72" fmla="*/ 0 h 3498714"/>
                <a:gd name="connsiteX73" fmla="*/ 4707054 w 4904699"/>
                <a:gd name="connsiteY73" fmla="*/ 2902312 h 3498714"/>
                <a:gd name="connsiteX74" fmla="*/ 4818179 w 4904699"/>
                <a:gd name="connsiteY74" fmla="*/ 3013437 h 3498714"/>
                <a:gd name="connsiteX75" fmla="*/ 4707054 w 4904699"/>
                <a:gd name="connsiteY75" fmla="*/ 3124562 h 3498714"/>
                <a:gd name="connsiteX76" fmla="*/ 4545125 w 4904699"/>
                <a:gd name="connsiteY76" fmla="*/ 3124562 h 3498714"/>
                <a:gd name="connsiteX77" fmla="*/ 4545125 w 4904699"/>
                <a:gd name="connsiteY77" fmla="*/ 3361625 h 3498714"/>
                <a:gd name="connsiteX78" fmla="*/ 4436113 w 4904699"/>
                <a:gd name="connsiteY78" fmla="*/ 3470637 h 3498714"/>
                <a:gd name="connsiteX79" fmla="*/ 4235039 w 4904699"/>
                <a:gd name="connsiteY79" fmla="*/ 3470637 h 3498714"/>
                <a:gd name="connsiteX80" fmla="*/ 4126027 w 4904699"/>
                <a:gd name="connsiteY80" fmla="*/ 3361625 h 3498714"/>
                <a:gd name="connsiteX81" fmla="*/ 4126027 w 4904699"/>
                <a:gd name="connsiteY81" fmla="*/ 3124562 h 3498714"/>
                <a:gd name="connsiteX82" fmla="*/ 2589325 w 4904699"/>
                <a:gd name="connsiteY82" fmla="*/ 3124562 h 3498714"/>
                <a:gd name="connsiteX83" fmla="*/ 2589325 w 4904699"/>
                <a:gd name="connsiteY83" fmla="*/ 3361625 h 3498714"/>
                <a:gd name="connsiteX84" fmla="*/ 2480313 w 4904699"/>
                <a:gd name="connsiteY84" fmla="*/ 3470637 h 3498714"/>
                <a:gd name="connsiteX85" fmla="*/ 2279239 w 4904699"/>
                <a:gd name="connsiteY85" fmla="*/ 3470637 h 3498714"/>
                <a:gd name="connsiteX86" fmla="*/ 2170227 w 4904699"/>
                <a:gd name="connsiteY86" fmla="*/ 3361625 h 3498714"/>
                <a:gd name="connsiteX87" fmla="*/ 2170227 w 4904699"/>
                <a:gd name="connsiteY87" fmla="*/ 3124562 h 3498714"/>
                <a:gd name="connsiteX88" fmla="*/ 2052754 w 4904699"/>
                <a:gd name="connsiteY88" fmla="*/ 3124562 h 3498714"/>
                <a:gd name="connsiteX89" fmla="*/ 1941629 w 4904699"/>
                <a:gd name="connsiteY89" fmla="*/ 3013437 h 3498714"/>
                <a:gd name="connsiteX90" fmla="*/ 2052754 w 4904699"/>
                <a:gd name="connsiteY90" fmla="*/ 2902312 h 3498714"/>
                <a:gd name="connsiteX91" fmla="*/ 682782 w 4904699"/>
                <a:gd name="connsiteY91" fmla="*/ 0 h 3498714"/>
                <a:gd name="connsiteX92" fmla="*/ 4311608 w 4904699"/>
                <a:gd name="connsiteY92" fmla="*/ 2270487 h 3498714"/>
                <a:gd name="connsiteX93" fmla="*/ 4492583 w 4904699"/>
                <a:gd name="connsiteY93" fmla="*/ 2451462 h 3498714"/>
                <a:gd name="connsiteX0" fmla="*/ 2979061 w 4904699"/>
                <a:gd name="connsiteY0" fmla="*/ 2089512 h 3498714"/>
                <a:gd name="connsiteX1" fmla="*/ 2671086 w 4904699"/>
                <a:gd name="connsiteY1" fmla="*/ 2397487 h 3498714"/>
                <a:gd name="connsiteX2" fmla="*/ 2671086 w 4904699"/>
                <a:gd name="connsiteY2" fmla="*/ 2584811 h 3498714"/>
                <a:gd name="connsiteX3" fmla="*/ 4083961 w 4904699"/>
                <a:gd name="connsiteY3" fmla="*/ 2584811 h 3498714"/>
                <a:gd name="connsiteX4" fmla="*/ 4083961 w 4904699"/>
                <a:gd name="connsiteY4" fmla="*/ 2397487 h 3498714"/>
                <a:gd name="connsiteX5" fmla="*/ 3775986 w 4904699"/>
                <a:gd name="connsiteY5" fmla="*/ 2089512 h 3498714"/>
                <a:gd name="connsiteX6" fmla="*/ 2979061 w 4904699"/>
                <a:gd name="connsiteY6" fmla="*/ 2089512 h 3498714"/>
                <a:gd name="connsiteX7" fmla="*/ 2251033 w 4904699"/>
                <a:gd name="connsiteY7" fmla="*/ 2089512 h 3498714"/>
                <a:gd name="connsiteX8" fmla="*/ 2070058 w 4904699"/>
                <a:gd name="connsiteY8" fmla="*/ 2270487 h 3498714"/>
                <a:gd name="connsiteX9" fmla="*/ 2251033 w 4904699"/>
                <a:gd name="connsiteY9" fmla="*/ 2451462 h 3498714"/>
                <a:gd name="connsiteX10" fmla="*/ 2432008 w 4904699"/>
                <a:gd name="connsiteY10" fmla="*/ 2270487 h 3498714"/>
                <a:gd name="connsiteX11" fmla="*/ 2251033 w 4904699"/>
                <a:gd name="connsiteY11" fmla="*/ 2089512 h 3498714"/>
                <a:gd name="connsiteX12" fmla="*/ 2842751 w 4904699"/>
                <a:gd name="connsiteY12" fmla="*/ 1749356 h 3498714"/>
                <a:gd name="connsiteX13" fmla="*/ 2392797 w 4904699"/>
                <a:gd name="connsiteY13" fmla="*/ 1878907 h 3498714"/>
                <a:gd name="connsiteX14" fmla="*/ 2478781 w 4904699"/>
                <a:gd name="connsiteY14" fmla="*/ 1920808 h 3498714"/>
                <a:gd name="connsiteX15" fmla="*/ 2842751 w 4904699"/>
                <a:gd name="connsiteY15" fmla="*/ 1749356 h 3498714"/>
                <a:gd name="connsiteX16" fmla="*/ 2534724 w 4904699"/>
                <a:gd name="connsiteY16" fmla="*/ 982297 h 3498714"/>
                <a:gd name="connsiteX17" fmla="*/ 4802103 w 4904699"/>
                <a:gd name="connsiteY17" fmla="*/ 2588456 h 3498714"/>
                <a:gd name="connsiteX18" fmla="*/ 4904699 w 4904699"/>
                <a:gd name="connsiteY18" fmla="*/ 2705462 h 3498714"/>
                <a:gd name="connsiteX19" fmla="*/ 4904698 w 4904699"/>
                <a:gd name="connsiteY19" fmla="*/ 2705462 h 3498714"/>
                <a:gd name="connsiteX20" fmla="*/ 4784047 w 4904699"/>
                <a:gd name="connsiteY20" fmla="*/ 2826113 h 3498714"/>
                <a:gd name="connsiteX21" fmla="*/ 1970999 w 4904699"/>
                <a:gd name="connsiteY21" fmla="*/ 2826112 h 3498714"/>
                <a:gd name="connsiteX22" fmla="*/ 1850348 w 4904699"/>
                <a:gd name="connsiteY22" fmla="*/ 2705462 h 3498714"/>
                <a:gd name="connsiteX23" fmla="*/ 1956769 w 4904699"/>
                <a:gd name="connsiteY23" fmla="*/ 2587684 h 3498714"/>
                <a:gd name="connsiteX24" fmla="*/ 1823360 w 4904699"/>
                <a:gd name="connsiteY24" fmla="*/ 2279217 h 3498714"/>
                <a:gd name="connsiteX25" fmla="*/ 2217440 w 4904699"/>
                <a:gd name="connsiteY25" fmla="*/ 1856216 h 3498714"/>
                <a:gd name="connsiteX26" fmla="*/ 2534724 w 4904699"/>
                <a:gd name="connsiteY26" fmla="*/ 982297 h 3498714"/>
                <a:gd name="connsiteX27" fmla="*/ 358791 w 4904699"/>
                <a:gd name="connsiteY27" fmla="*/ 644545 h 3498714"/>
                <a:gd name="connsiteX28" fmla="*/ 1006774 w 4904699"/>
                <a:gd name="connsiteY28" fmla="*/ 644545 h 3498714"/>
                <a:gd name="connsiteX29" fmla="*/ 1542636 w 4904699"/>
                <a:gd name="connsiteY29" fmla="*/ 1193969 h 3498714"/>
                <a:gd name="connsiteX30" fmla="*/ 1929878 w 4904699"/>
                <a:gd name="connsiteY30" fmla="*/ 1193970 h 3498714"/>
                <a:gd name="connsiteX31" fmla="*/ 2070059 w 4904699"/>
                <a:gd name="connsiteY31" fmla="*/ 1334152 h 3498714"/>
                <a:gd name="connsiteX32" fmla="*/ 1929878 w 4904699"/>
                <a:gd name="connsiteY32" fmla="*/ 1474333 h 3498714"/>
                <a:gd name="connsiteX33" fmla="*/ 1520943 w 4904699"/>
                <a:gd name="connsiteY33" fmla="*/ 1470388 h 3498714"/>
                <a:gd name="connsiteX34" fmla="*/ 1332825 w 4904699"/>
                <a:gd name="connsiteY34" fmla="*/ 1367201 h 3498714"/>
                <a:gd name="connsiteX35" fmla="*/ 1106501 w 4904699"/>
                <a:gd name="connsiteY35" fmla="*/ 1098289 h 3498714"/>
                <a:gd name="connsiteX36" fmla="*/ 1101049 w 4904699"/>
                <a:gd name="connsiteY36" fmla="*/ 1092836 h 3498714"/>
                <a:gd name="connsiteX37" fmla="*/ 1046523 w 4904699"/>
                <a:gd name="connsiteY37" fmla="*/ 1092836 h 3498714"/>
                <a:gd name="connsiteX38" fmla="*/ 1041071 w 4904699"/>
                <a:gd name="connsiteY38" fmla="*/ 1098289 h 3498714"/>
                <a:gd name="connsiteX39" fmla="*/ 1042136 w 4904699"/>
                <a:gd name="connsiteY39" fmla="*/ 1419754 h 3498714"/>
                <a:gd name="connsiteX40" fmla="*/ 1042136 w 4904699"/>
                <a:gd name="connsiteY40" fmla="*/ 3337652 h 3498714"/>
                <a:gd name="connsiteX41" fmla="*/ 881075 w 4904699"/>
                <a:gd name="connsiteY41" fmla="*/ 3498714 h 3498714"/>
                <a:gd name="connsiteX42" fmla="*/ 720012 w 4904699"/>
                <a:gd name="connsiteY42" fmla="*/ 3337652 h 3498714"/>
                <a:gd name="connsiteX43" fmla="*/ 720012 w 4904699"/>
                <a:gd name="connsiteY43" fmla="*/ 2125717 h 3498714"/>
                <a:gd name="connsiteX44" fmla="*/ 718947 w 4904699"/>
                <a:gd name="connsiteY44" fmla="*/ 2033194 h 3498714"/>
                <a:gd name="connsiteX45" fmla="*/ 714162 w 4904699"/>
                <a:gd name="connsiteY45" fmla="*/ 2028410 h 3498714"/>
                <a:gd name="connsiteX46" fmla="*/ 654759 w 4904699"/>
                <a:gd name="connsiteY46" fmla="*/ 2028410 h 3498714"/>
                <a:gd name="connsiteX47" fmla="*/ 649974 w 4904699"/>
                <a:gd name="connsiteY47" fmla="*/ 2033194 h 3498714"/>
                <a:gd name="connsiteX48" fmla="*/ 649974 w 4904699"/>
                <a:gd name="connsiteY48" fmla="*/ 2125717 h 3498714"/>
                <a:gd name="connsiteX49" fmla="*/ 649574 w 4904699"/>
                <a:gd name="connsiteY49" fmla="*/ 3337652 h 3498714"/>
                <a:gd name="connsiteX50" fmla="*/ 488511 w 4904699"/>
                <a:gd name="connsiteY50" fmla="*/ 3498714 h 3498714"/>
                <a:gd name="connsiteX51" fmla="*/ 327450 w 4904699"/>
                <a:gd name="connsiteY51" fmla="*/ 3337652 h 3498714"/>
                <a:gd name="connsiteX52" fmla="*/ 327450 w 4904699"/>
                <a:gd name="connsiteY52" fmla="*/ 1458216 h 3498714"/>
                <a:gd name="connsiteX53" fmla="*/ 322427 w 4904699"/>
                <a:gd name="connsiteY53" fmla="*/ 1098205 h 3498714"/>
                <a:gd name="connsiteX54" fmla="*/ 317058 w 4904699"/>
                <a:gd name="connsiteY54" fmla="*/ 1092836 h 3498714"/>
                <a:gd name="connsiteX55" fmla="*/ 263371 w 4904699"/>
                <a:gd name="connsiteY55" fmla="*/ 1092836 h 3498714"/>
                <a:gd name="connsiteX56" fmla="*/ 258001 w 4904699"/>
                <a:gd name="connsiteY56" fmla="*/ 1098205 h 3498714"/>
                <a:gd name="connsiteX57" fmla="*/ 258001 w 4904699"/>
                <a:gd name="connsiteY57" fmla="*/ 1444446 h 3498714"/>
                <a:gd name="connsiteX58" fmla="*/ 257700 w 4904699"/>
                <a:gd name="connsiteY58" fmla="*/ 1444370 h 3498714"/>
                <a:gd name="connsiteX59" fmla="*/ 257700 w 4904699"/>
                <a:gd name="connsiteY59" fmla="*/ 1912573 h 3498714"/>
                <a:gd name="connsiteX60" fmla="*/ 128850 w 4904699"/>
                <a:gd name="connsiteY60" fmla="*/ 2041423 h 3498714"/>
                <a:gd name="connsiteX61" fmla="*/ 0 w 4904699"/>
                <a:gd name="connsiteY61" fmla="*/ 1912573 h 3498714"/>
                <a:gd name="connsiteX62" fmla="*/ 0 w 4904699"/>
                <a:gd name="connsiteY62" fmla="*/ 1101802 h 3498714"/>
                <a:gd name="connsiteX63" fmla="*/ 0 w 4904699"/>
                <a:gd name="connsiteY63" fmla="*/ 1003338 h 3498714"/>
                <a:gd name="connsiteX64" fmla="*/ 0 w 4904699"/>
                <a:gd name="connsiteY64" fmla="*/ 982486 h 3498714"/>
                <a:gd name="connsiteX65" fmla="*/ 12733 w 4904699"/>
                <a:gd name="connsiteY65" fmla="*/ 894663 h 3498714"/>
                <a:gd name="connsiteX66" fmla="*/ 20539 w 4904699"/>
                <a:gd name="connsiteY66" fmla="*/ 868773 h 3498714"/>
                <a:gd name="connsiteX67" fmla="*/ 358791 w 4904699"/>
                <a:gd name="connsiteY67" fmla="*/ 644545 h 3498714"/>
                <a:gd name="connsiteX68" fmla="*/ 682782 w 4904699"/>
                <a:gd name="connsiteY68" fmla="*/ 0 h 3498714"/>
                <a:gd name="connsiteX69" fmla="*/ 966919 w 4904699"/>
                <a:gd name="connsiteY69" fmla="*/ 284138 h 3498714"/>
                <a:gd name="connsiteX70" fmla="*/ 682782 w 4904699"/>
                <a:gd name="connsiteY70" fmla="*/ 568275 h 3498714"/>
                <a:gd name="connsiteX71" fmla="*/ 398645 w 4904699"/>
                <a:gd name="connsiteY71" fmla="*/ 284138 h 3498714"/>
                <a:gd name="connsiteX72" fmla="*/ 682782 w 4904699"/>
                <a:gd name="connsiteY72" fmla="*/ 0 h 3498714"/>
                <a:gd name="connsiteX73" fmla="*/ 4707054 w 4904699"/>
                <a:gd name="connsiteY73" fmla="*/ 2902312 h 3498714"/>
                <a:gd name="connsiteX74" fmla="*/ 4818179 w 4904699"/>
                <a:gd name="connsiteY74" fmla="*/ 3013437 h 3498714"/>
                <a:gd name="connsiteX75" fmla="*/ 4707054 w 4904699"/>
                <a:gd name="connsiteY75" fmla="*/ 3124562 h 3498714"/>
                <a:gd name="connsiteX76" fmla="*/ 4545125 w 4904699"/>
                <a:gd name="connsiteY76" fmla="*/ 3124562 h 3498714"/>
                <a:gd name="connsiteX77" fmla="*/ 4545125 w 4904699"/>
                <a:gd name="connsiteY77" fmla="*/ 3361625 h 3498714"/>
                <a:gd name="connsiteX78" fmla="*/ 4436113 w 4904699"/>
                <a:gd name="connsiteY78" fmla="*/ 3470637 h 3498714"/>
                <a:gd name="connsiteX79" fmla="*/ 4235039 w 4904699"/>
                <a:gd name="connsiteY79" fmla="*/ 3470637 h 3498714"/>
                <a:gd name="connsiteX80" fmla="*/ 4126027 w 4904699"/>
                <a:gd name="connsiteY80" fmla="*/ 3361625 h 3498714"/>
                <a:gd name="connsiteX81" fmla="*/ 4126027 w 4904699"/>
                <a:gd name="connsiteY81" fmla="*/ 3124562 h 3498714"/>
                <a:gd name="connsiteX82" fmla="*/ 2589325 w 4904699"/>
                <a:gd name="connsiteY82" fmla="*/ 3124562 h 3498714"/>
                <a:gd name="connsiteX83" fmla="*/ 2589325 w 4904699"/>
                <a:gd name="connsiteY83" fmla="*/ 3361625 h 3498714"/>
                <a:gd name="connsiteX84" fmla="*/ 2480313 w 4904699"/>
                <a:gd name="connsiteY84" fmla="*/ 3470637 h 3498714"/>
                <a:gd name="connsiteX85" fmla="*/ 2279239 w 4904699"/>
                <a:gd name="connsiteY85" fmla="*/ 3470637 h 3498714"/>
                <a:gd name="connsiteX86" fmla="*/ 2170227 w 4904699"/>
                <a:gd name="connsiteY86" fmla="*/ 3361625 h 3498714"/>
                <a:gd name="connsiteX87" fmla="*/ 2170227 w 4904699"/>
                <a:gd name="connsiteY87" fmla="*/ 3124562 h 3498714"/>
                <a:gd name="connsiteX88" fmla="*/ 2052754 w 4904699"/>
                <a:gd name="connsiteY88" fmla="*/ 3124562 h 3498714"/>
                <a:gd name="connsiteX89" fmla="*/ 1941629 w 4904699"/>
                <a:gd name="connsiteY89" fmla="*/ 3013437 h 3498714"/>
                <a:gd name="connsiteX90" fmla="*/ 2052754 w 4904699"/>
                <a:gd name="connsiteY90" fmla="*/ 2902312 h 3498714"/>
                <a:gd name="connsiteX91" fmla="*/ 682782 w 4904699"/>
                <a:gd name="connsiteY91" fmla="*/ 0 h 3498714"/>
                <a:gd name="connsiteX92" fmla="*/ 4311608 w 4904699"/>
                <a:gd name="connsiteY92" fmla="*/ 2270487 h 3498714"/>
                <a:gd name="connsiteX93" fmla="*/ 4492583 w 4904699"/>
                <a:gd name="connsiteY93" fmla="*/ 2451462 h 3498714"/>
                <a:gd name="connsiteX0" fmla="*/ 2979061 w 4904699"/>
                <a:gd name="connsiteY0" fmla="*/ 2089512 h 3498714"/>
                <a:gd name="connsiteX1" fmla="*/ 2671086 w 4904699"/>
                <a:gd name="connsiteY1" fmla="*/ 2397487 h 3498714"/>
                <a:gd name="connsiteX2" fmla="*/ 2671086 w 4904699"/>
                <a:gd name="connsiteY2" fmla="*/ 2584811 h 3498714"/>
                <a:gd name="connsiteX3" fmla="*/ 4083961 w 4904699"/>
                <a:gd name="connsiteY3" fmla="*/ 2584811 h 3498714"/>
                <a:gd name="connsiteX4" fmla="*/ 4083961 w 4904699"/>
                <a:gd name="connsiteY4" fmla="*/ 2397487 h 3498714"/>
                <a:gd name="connsiteX5" fmla="*/ 3775986 w 4904699"/>
                <a:gd name="connsiteY5" fmla="*/ 2089512 h 3498714"/>
                <a:gd name="connsiteX6" fmla="*/ 2979061 w 4904699"/>
                <a:gd name="connsiteY6" fmla="*/ 2089512 h 3498714"/>
                <a:gd name="connsiteX7" fmla="*/ 2251033 w 4904699"/>
                <a:gd name="connsiteY7" fmla="*/ 2089512 h 3498714"/>
                <a:gd name="connsiteX8" fmla="*/ 2070058 w 4904699"/>
                <a:gd name="connsiteY8" fmla="*/ 2270487 h 3498714"/>
                <a:gd name="connsiteX9" fmla="*/ 2251033 w 4904699"/>
                <a:gd name="connsiteY9" fmla="*/ 2451462 h 3498714"/>
                <a:gd name="connsiteX10" fmla="*/ 2432008 w 4904699"/>
                <a:gd name="connsiteY10" fmla="*/ 2270487 h 3498714"/>
                <a:gd name="connsiteX11" fmla="*/ 2251033 w 4904699"/>
                <a:gd name="connsiteY11" fmla="*/ 2089512 h 3498714"/>
                <a:gd name="connsiteX12" fmla="*/ 2842751 w 4904699"/>
                <a:gd name="connsiteY12" fmla="*/ 1749356 h 3498714"/>
                <a:gd name="connsiteX13" fmla="*/ 2392797 w 4904699"/>
                <a:gd name="connsiteY13" fmla="*/ 1878907 h 3498714"/>
                <a:gd name="connsiteX14" fmla="*/ 2478781 w 4904699"/>
                <a:gd name="connsiteY14" fmla="*/ 1920808 h 3498714"/>
                <a:gd name="connsiteX15" fmla="*/ 2842751 w 4904699"/>
                <a:gd name="connsiteY15" fmla="*/ 1749356 h 3498714"/>
                <a:gd name="connsiteX16" fmla="*/ 2534724 w 4904699"/>
                <a:gd name="connsiteY16" fmla="*/ 982297 h 3498714"/>
                <a:gd name="connsiteX17" fmla="*/ 4904699 w 4904699"/>
                <a:gd name="connsiteY17" fmla="*/ 2705462 h 3498714"/>
                <a:gd name="connsiteX18" fmla="*/ 4904698 w 4904699"/>
                <a:gd name="connsiteY18" fmla="*/ 2705462 h 3498714"/>
                <a:gd name="connsiteX19" fmla="*/ 4784047 w 4904699"/>
                <a:gd name="connsiteY19" fmla="*/ 2826113 h 3498714"/>
                <a:gd name="connsiteX20" fmla="*/ 1970999 w 4904699"/>
                <a:gd name="connsiteY20" fmla="*/ 2826112 h 3498714"/>
                <a:gd name="connsiteX21" fmla="*/ 1850348 w 4904699"/>
                <a:gd name="connsiteY21" fmla="*/ 2705462 h 3498714"/>
                <a:gd name="connsiteX22" fmla="*/ 1956769 w 4904699"/>
                <a:gd name="connsiteY22" fmla="*/ 2587684 h 3498714"/>
                <a:gd name="connsiteX23" fmla="*/ 1823360 w 4904699"/>
                <a:gd name="connsiteY23" fmla="*/ 2279217 h 3498714"/>
                <a:gd name="connsiteX24" fmla="*/ 2217440 w 4904699"/>
                <a:gd name="connsiteY24" fmla="*/ 1856216 h 3498714"/>
                <a:gd name="connsiteX25" fmla="*/ 2534724 w 4904699"/>
                <a:gd name="connsiteY25" fmla="*/ 982297 h 3498714"/>
                <a:gd name="connsiteX26" fmla="*/ 358791 w 4904699"/>
                <a:gd name="connsiteY26" fmla="*/ 644545 h 3498714"/>
                <a:gd name="connsiteX27" fmla="*/ 1006774 w 4904699"/>
                <a:gd name="connsiteY27" fmla="*/ 644545 h 3498714"/>
                <a:gd name="connsiteX28" fmla="*/ 1542636 w 4904699"/>
                <a:gd name="connsiteY28" fmla="*/ 1193969 h 3498714"/>
                <a:gd name="connsiteX29" fmla="*/ 1929878 w 4904699"/>
                <a:gd name="connsiteY29" fmla="*/ 1193970 h 3498714"/>
                <a:gd name="connsiteX30" fmla="*/ 2070059 w 4904699"/>
                <a:gd name="connsiteY30" fmla="*/ 1334152 h 3498714"/>
                <a:gd name="connsiteX31" fmla="*/ 1929878 w 4904699"/>
                <a:gd name="connsiteY31" fmla="*/ 1474333 h 3498714"/>
                <a:gd name="connsiteX32" fmla="*/ 1520943 w 4904699"/>
                <a:gd name="connsiteY32" fmla="*/ 1470388 h 3498714"/>
                <a:gd name="connsiteX33" fmla="*/ 1332825 w 4904699"/>
                <a:gd name="connsiteY33" fmla="*/ 1367201 h 3498714"/>
                <a:gd name="connsiteX34" fmla="*/ 1106501 w 4904699"/>
                <a:gd name="connsiteY34" fmla="*/ 1098289 h 3498714"/>
                <a:gd name="connsiteX35" fmla="*/ 1101049 w 4904699"/>
                <a:gd name="connsiteY35" fmla="*/ 1092836 h 3498714"/>
                <a:gd name="connsiteX36" fmla="*/ 1046523 w 4904699"/>
                <a:gd name="connsiteY36" fmla="*/ 1092836 h 3498714"/>
                <a:gd name="connsiteX37" fmla="*/ 1041071 w 4904699"/>
                <a:gd name="connsiteY37" fmla="*/ 1098289 h 3498714"/>
                <a:gd name="connsiteX38" fmla="*/ 1042136 w 4904699"/>
                <a:gd name="connsiteY38" fmla="*/ 1419754 h 3498714"/>
                <a:gd name="connsiteX39" fmla="*/ 1042136 w 4904699"/>
                <a:gd name="connsiteY39" fmla="*/ 3337652 h 3498714"/>
                <a:gd name="connsiteX40" fmla="*/ 881075 w 4904699"/>
                <a:gd name="connsiteY40" fmla="*/ 3498714 h 3498714"/>
                <a:gd name="connsiteX41" fmla="*/ 720012 w 4904699"/>
                <a:gd name="connsiteY41" fmla="*/ 3337652 h 3498714"/>
                <a:gd name="connsiteX42" fmla="*/ 720012 w 4904699"/>
                <a:gd name="connsiteY42" fmla="*/ 2125717 h 3498714"/>
                <a:gd name="connsiteX43" fmla="*/ 718947 w 4904699"/>
                <a:gd name="connsiteY43" fmla="*/ 2033194 h 3498714"/>
                <a:gd name="connsiteX44" fmla="*/ 714162 w 4904699"/>
                <a:gd name="connsiteY44" fmla="*/ 2028410 h 3498714"/>
                <a:gd name="connsiteX45" fmla="*/ 654759 w 4904699"/>
                <a:gd name="connsiteY45" fmla="*/ 2028410 h 3498714"/>
                <a:gd name="connsiteX46" fmla="*/ 649974 w 4904699"/>
                <a:gd name="connsiteY46" fmla="*/ 2033194 h 3498714"/>
                <a:gd name="connsiteX47" fmla="*/ 649974 w 4904699"/>
                <a:gd name="connsiteY47" fmla="*/ 2125717 h 3498714"/>
                <a:gd name="connsiteX48" fmla="*/ 649574 w 4904699"/>
                <a:gd name="connsiteY48" fmla="*/ 3337652 h 3498714"/>
                <a:gd name="connsiteX49" fmla="*/ 488511 w 4904699"/>
                <a:gd name="connsiteY49" fmla="*/ 3498714 h 3498714"/>
                <a:gd name="connsiteX50" fmla="*/ 327450 w 4904699"/>
                <a:gd name="connsiteY50" fmla="*/ 3337652 h 3498714"/>
                <a:gd name="connsiteX51" fmla="*/ 327450 w 4904699"/>
                <a:gd name="connsiteY51" fmla="*/ 1458216 h 3498714"/>
                <a:gd name="connsiteX52" fmla="*/ 322427 w 4904699"/>
                <a:gd name="connsiteY52" fmla="*/ 1098205 h 3498714"/>
                <a:gd name="connsiteX53" fmla="*/ 317058 w 4904699"/>
                <a:gd name="connsiteY53" fmla="*/ 1092836 h 3498714"/>
                <a:gd name="connsiteX54" fmla="*/ 263371 w 4904699"/>
                <a:gd name="connsiteY54" fmla="*/ 1092836 h 3498714"/>
                <a:gd name="connsiteX55" fmla="*/ 258001 w 4904699"/>
                <a:gd name="connsiteY55" fmla="*/ 1098205 h 3498714"/>
                <a:gd name="connsiteX56" fmla="*/ 258001 w 4904699"/>
                <a:gd name="connsiteY56" fmla="*/ 1444446 h 3498714"/>
                <a:gd name="connsiteX57" fmla="*/ 257700 w 4904699"/>
                <a:gd name="connsiteY57" fmla="*/ 1444370 h 3498714"/>
                <a:gd name="connsiteX58" fmla="*/ 257700 w 4904699"/>
                <a:gd name="connsiteY58" fmla="*/ 1912573 h 3498714"/>
                <a:gd name="connsiteX59" fmla="*/ 128850 w 4904699"/>
                <a:gd name="connsiteY59" fmla="*/ 2041423 h 3498714"/>
                <a:gd name="connsiteX60" fmla="*/ 0 w 4904699"/>
                <a:gd name="connsiteY60" fmla="*/ 1912573 h 3498714"/>
                <a:gd name="connsiteX61" fmla="*/ 0 w 4904699"/>
                <a:gd name="connsiteY61" fmla="*/ 1101802 h 3498714"/>
                <a:gd name="connsiteX62" fmla="*/ 0 w 4904699"/>
                <a:gd name="connsiteY62" fmla="*/ 1003338 h 3498714"/>
                <a:gd name="connsiteX63" fmla="*/ 0 w 4904699"/>
                <a:gd name="connsiteY63" fmla="*/ 982486 h 3498714"/>
                <a:gd name="connsiteX64" fmla="*/ 12733 w 4904699"/>
                <a:gd name="connsiteY64" fmla="*/ 894663 h 3498714"/>
                <a:gd name="connsiteX65" fmla="*/ 20539 w 4904699"/>
                <a:gd name="connsiteY65" fmla="*/ 868773 h 3498714"/>
                <a:gd name="connsiteX66" fmla="*/ 358791 w 4904699"/>
                <a:gd name="connsiteY66" fmla="*/ 644545 h 3498714"/>
                <a:gd name="connsiteX67" fmla="*/ 682782 w 4904699"/>
                <a:gd name="connsiteY67" fmla="*/ 0 h 3498714"/>
                <a:gd name="connsiteX68" fmla="*/ 966919 w 4904699"/>
                <a:gd name="connsiteY68" fmla="*/ 284138 h 3498714"/>
                <a:gd name="connsiteX69" fmla="*/ 682782 w 4904699"/>
                <a:gd name="connsiteY69" fmla="*/ 568275 h 3498714"/>
                <a:gd name="connsiteX70" fmla="*/ 398645 w 4904699"/>
                <a:gd name="connsiteY70" fmla="*/ 284138 h 3498714"/>
                <a:gd name="connsiteX71" fmla="*/ 682782 w 4904699"/>
                <a:gd name="connsiteY71" fmla="*/ 0 h 3498714"/>
                <a:gd name="connsiteX72" fmla="*/ 4707054 w 4904699"/>
                <a:gd name="connsiteY72" fmla="*/ 2902312 h 3498714"/>
                <a:gd name="connsiteX73" fmla="*/ 4818179 w 4904699"/>
                <a:gd name="connsiteY73" fmla="*/ 3013437 h 3498714"/>
                <a:gd name="connsiteX74" fmla="*/ 4707054 w 4904699"/>
                <a:gd name="connsiteY74" fmla="*/ 3124562 h 3498714"/>
                <a:gd name="connsiteX75" fmla="*/ 4545125 w 4904699"/>
                <a:gd name="connsiteY75" fmla="*/ 3124562 h 3498714"/>
                <a:gd name="connsiteX76" fmla="*/ 4545125 w 4904699"/>
                <a:gd name="connsiteY76" fmla="*/ 3361625 h 3498714"/>
                <a:gd name="connsiteX77" fmla="*/ 4436113 w 4904699"/>
                <a:gd name="connsiteY77" fmla="*/ 3470637 h 3498714"/>
                <a:gd name="connsiteX78" fmla="*/ 4235039 w 4904699"/>
                <a:gd name="connsiteY78" fmla="*/ 3470637 h 3498714"/>
                <a:gd name="connsiteX79" fmla="*/ 4126027 w 4904699"/>
                <a:gd name="connsiteY79" fmla="*/ 3361625 h 3498714"/>
                <a:gd name="connsiteX80" fmla="*/ 4126027 w 4904699"/>
                <a:gd name="connsiteY80" fmla="*/ 3124562 h 3498714"/>
                <a:gd name="connsiteX81" fmla="*/ 2589325 w 4904699"/>
                <a:gd name="connsiteY81" fmla="*/ 3124562 h 3498714"/>
                <a:gd name="connsiteX82" fmla="*/ 2589325 w 4904699"/>
                <a:gd name="connsiteY82" fmla="*/ 3361625 h 3498714"/>
                <a:gd name="connsiteX83" fmla="*/ 2480313 w 4904699"/>
                <a:gd name="connsiteY83" fmla="*/ 3470637 h 3498714"/>
                <a:gd name="connsiteX84" fmla="*/ 2279239 w 4904699"/>
                <a:gd name="connsiteY84" fmla="*/ 3470637 h 3498714"/>
                <a:gd name="connsiteX85" fmla="*/ 2170227 w 4904699"/>
                <a:gd name="connsiteY85" fmla="*/ 3361625 h 3498714"/>
                <a:gd name="connsiteX86" fmla="*/ 2170227 w 4904699"/>
                <a:gd name="connsiteY86" fmla="*/ 3124562 h 3498714"/>
                <a:gd name="connsiteX87" fmla="*/ 2052754 w 4904699"/>
                <a:gd name="connsiteY87" fmla="*/ 3124562 h 3498714"/>
                <a:gd name="connsiteX88" fmla="*/ 1941629 w 4904699"/>
                <a:gd name="connsiteY88" fmla="*/ 3013437 h 3498714"/>
                <a:gd name="connsiteX89" fmla="*/ 2052754 w 4904699"/>
                <a:gd name="connsiteY89" fmla="*/ 2902312 h 3498714"/>
                <a:gd name="connsiteX90" fmla="*/ 682782 w 4904699"/>
                <a:gd name="connsiteY90" fmla="*/ 0 h 3498714"/>
                <a:gd name="connsiteX91" fmla="*/ 4311608 w 4904699"/>
                <a:gd name="connsiteY91" fmla="*/ 2270487 h 3498714"/>
                <a:gd name="connsiteX92" fmla="*/ 4492583 w 4904699"/>
                <a:gd name="connsiteY92" fmla="*/ 2451462 h 3498714"/>
                <a:gd name="connsiteX0" fmla="*/ 2979061 w 4904699"/>
                <a:gd name="connsiteY0" fmla="*/ 2089512 h 3498714"/>
                <a:gd name="connsiteX1" fmla="*/ 2671086 w 4904699"/>
                <a:gd name="connsiteY1" fmla="*/ 2397487 h 3498714"/>
                <a:gd name="connsiteX2" fmla="*/ 2671086 w 4904699"/>
                <a:gd name="connsiteY2" fmla="*/ 2584811 h 3498714"/>
                <a:gd name="connsiteX3" fmla="*/ 4083961 w 4904699"/>
                <a:gd name="connsiteY3" fmla="*/ 2584811 h 3498714"/>
                <a:gd name="connsiteX4" fmla="*/ 4083961 w 4904699"/>
                <a:gd name="connsiteY4" fmla="*/ 2397487 h 3498714"/>
                <a:gd name="connsiteX5" fmla="*/ 3775986 w 4904699"/>
                <a:gd name="connsiteY5" fmla="*/ 2089512 h 3498714"/>
                <a:gd name="connsiteX6" fmla="*/ 2979061 w 4904699"/>
                <a:gd name="connsiteY6" fmla="*/ 2089512 h 3498714"/>
                <a:gd name="connsiteX7" fmla="*/ 2251033 w 4904699"/>
                <a:gd name="connsiteY7" fmla="*/ 2089512 h 3498714"/>
                <a:gd name="connsiteX8" fmla="*/ 2070058 w 4904699"/>
                <a:gd name="connsiteY8" fmla="*/ 2270487 h 3498714"/>
                <a:gd name="connsiteX9" fmla="*/ 2251033 w 4904699"/>
                <a:gd name="connsiteY9" fmla="*/ 2451462 h 3498714"/>
                <a:gd name="connsiteX10" fmla="*/ 2432008 w 4904699"/>
                <a:gd name="connsiteY10" fmla="*/ 2270487 h 3498714"/>
                <a:gd name="connsiteX11" fmla="*/ 2251033 w 4904699"/>
                <a:gd name="connsiteY11" fmla="*/ 2089512 h 3498714"/>
                <a:gd name="connsiteX12" fmla="*/ 2842751 w 4904699"/>
                <a:gd name="connsiteY12" fmla="*/ 1749356 h 3498714"/>
                <a:gd name="connsiteX13" fmla="*/ 2392797 w 4904699"/>
                <a:gd name="connsiteY13" fmla="*/ 1878907 h 3498714"/>
                <a:gd name="connsiteX14" fmla="*/ 2478781 w 4904699"/>
                <a:gd name="connsiteY14" fmla="*/ 1920808 h 3498714"/>
                <a:gd name="connsiteX15" fmla="*/ 2842751 w 4904699"/>
                <a:gd name="connsiteY15" fmla="*/ 1749356 h 3498714"/>
                <a:gd name="connsiteX16" fmla="*/ 2534724 w 4904699"/>
                <a:gd name="connsiteY16" fmla="*/ 982297 h 3498714"/>
                <a:gd name="connsiteX17" fmla="*/ 4904699 w 4904699"/>
                <a:gd name="connsiteY17" fmla="*/ 2705462 h 3498714"/>
                <a:gd name="connsiteX18" fmla="*/ 4784047 w 4904699"/>
                <a:gd name="connsiteY18" fmla="*/ 2826113 h 3498714"/>
                <a:gd name="connsiteX19" fmla="*/ 1970999 w 4904699"/>
                <a:gd name="connsiteY19" fmla="*/ 2826112 h 3498714"/>
                <a:gd name="connsiteX20" fmla="*/ 1850348 w 4904699"/>
                <a:gd name="connsiteY20" fmla="*/ 2705462 h 3498714"/>
                <a:gd name="connsiteX21" fmla="*/ 1956769 w 4904699"/>
                <a:gd name="connsiteY21" fmla="*/ 2587684 h 3498714"/>
                <a:gd name="connsiteX22" fmla="*/ 1823360 w 4904699"/>
                <a:gd name="connsiteY22" fmla="*/ 2279217 h 3498714"/>
                <a:gd name="connsiteX23" fmla="*/ 2217440 w 4904699"/>
                <a:gd name="connsiteY23" fmla="*/ 1856216 h 3498714"/>
                <a:gd name="connsiteX24" fmla="*/ 2534724 w 4904699"/>
                <a:gd name="connsiteY24" fmla="*/ 982297 h 3498714"/>
                <a:gd name="connsiteX25" fmla="*/ 358791 w 4904699"/>
                <a:gd name="connsiteY25" fmla="*/ 644545 h 3498714"/>
                <a:gd name="connsiteX26" fmla="*/ 1006774 w 4904699"/>
                <a:gd name="connsiteY26" fmla="*/ 644545 h 3498714"/>
                <a:gd name="connsiteX27" fmla="*/ 1542636 w 4904699"/>
                <a:gd name="connsiteY27" fmla="*/ 1193969 h 3498714"/>
                <a:gd name="connsiteX28" fmla="*/ 1929878 w 4904699"/>
                <a:gd name="connsiteY28" fmla="*/ 1193970 h 3498714"/>
                <a:gd name="connsiteX29" fmla="*/ 2070059 w 4904699"/>
                <a:gd name="connsiteY29" fmla="*/ 1334152 h 3498714"/>
                <a:gd name="connsiteX30" fmla="*/ 1929878 w 4904699"/>
                <a:gd name="connsiteY30" fmla="*/ 1474333 h 3498714"/>
                <a:gd name="connsiteX31" fmla="*/ 1520943 w 4904699"/>
                <a:gd name="connsiteY31" fmla="*/ 1470388 h 3498714"/>
                <a:gd name="connsiteX32" fmla="*/ 1332825 w 4904699"/>
                <a:gd name="connsiteY32" fmla="*/ 1367201 h 3498714"/>
                <a:gd name="connsiteX33" fmla="*/ 1106501 w 4904699"/>
                <a:gd name="connsiteY33" fmla="*/ 1098289 h 3498714"/>
                <a:gd name="connsiteX34" fmla="*/ 1101049 w 4904699"/>
                <a:gd name="connsiteY34" fmla="*/ 1092836 h 3498714"/>
                <a:gd name="connsiteX35" fmla="*/ 1046523 w 4904699"/>
                <a:gd name="connsiteY35" fmla="*/ 1092836 h 3498714"/>
                <a:gd name="connsiteX36" fmla="*/ 1041071 w 4904699"/>
                <a:gd name="connsiteY36" fmla="*/ 1098289 h 3498714"/>
                <a:gd name="connsiteX37" fmla="*/ 1042136 w 4904699"/>
                <a:gd name="connsiteY37" fmla="*/ 1419754 h 3498714"/>
                <a:gd name="connsiteX38" fmla="*/ 1042136 w 4904699"/>
                <a:gd name="connsiteY38" fmla="*/ 3337652 h 3498714"/>
                <a:gd name="connsiteX39" fmla="*/ 881075 w 4904699"/>
                <a:gd name="connsiteY39" fmla="*/ 3498714 h 3498714"/>
                <a:gd name="connsiteX40" fmla="*/ 720012 w 4904699"/>
                <a:gd name="connsiteY40" fmla="*/ 3337652 h 3498714"/>
                <a:gd name="connsiteX41" fmla="*/ 720012 w 4904699"/>
                <a:gd name="connsiteY41" fmla="*/ 2125717 h 3498714"/>
                <a:gd name="connsiteX42" fmla="*/ 718947 w 4904699"/>
                <a:gd name="connsiteY42" fmla="*/ 2033194 h 3498714"/>
                <a:gd name="connsiteX43" fmla="*/ 714162 w 4904699"/>
                <a:gd name="connsiteY43" fmla="*/ 2028410 h 3498714"/>
                <a:gd name="connsiteX44" fmla="*/ 654759 w 4904699"/>
                <a:gd name="connsiteY44" fmla="*/ 2028410 h 3498714"/>
                <a:gd name="connsiteX45" fmla="*/ 649974 w 4904699"/>
                <a:gd name="connsiteY45" fmla="*/ 2033194 h 3498714"/>
                <a:gd name="connsiteX46" fmla="*/ 649974 w 4904699"/>
                <a:gd name="connsiteY46" fmla="*/ 2125717 h 3498714"/>
                <a:gd name="connsiteX47" fmla="*/ 649574 w 4904699"/>
                <a:gd name="connsiteY47" fmla="*/ 3337652 h 3498714"/>
                <a:gd name="connsiteX48" fmla="*/ 488511 w 4904699"/>
                <a:gd name="connsiteY48" fmla="*/ 3498714 h 3498714"/>
                <a:gd name="connsiteX49" fmla="*/ 327450 w 4904699"/>
                <a:gd name="connsiteY49" fmla="*/ 3337652 h 3498714"/>
                <a:gd name="connsiteX50" fmla="*/ 327450 w 4904699"/>
                <a:gd name="connsiteY50" fmla="*/ 1458216 h 3498714"/>
                <a:gd name="connsiteX51" fmla="*/ 322427 w 4904699"/>
                <a:gd name="connsiteY51" fmla="*/ 1098205 h 3498714"/>
                <a:gd name="connsiteX52" fmla="*/ 317058 w 4904699"/>
                <a:gd name="connsiteY52" fmla="*/ 1092836 h 3498714"/>
                <a:gd name="connsiteX53" fmla="*/ 263371 w 4904699"/>
                <a:gd name="connsiteY53" fmla="*/ 1092836 h 3498714"/>
                <a:gd name="connsiteX54" fmla="*/ 258001 w 4904699"/>
                <a:gd name="connsiteY54" fmla="*/ 1098205 h 3498714"/>
                <a:gd name="connsiteX55" fmla="*/ 258001 w 4904699"/>
                <a:gd name="connsiteY55" fmla="*/ 1444446 h 3498714"/>
                <a:gd name="connsiteX56" fmla="*/ 257700 w 4904699"/>
                <a:gd name="connsiteY56" fmla="*/ 1444370 h 3498714"/>
                <a:gd name="connsiteX57" fmla="*/ 257700 w 4904699"/>
                <a:gd name="connsiteY57" fmla="*/ 1912573 h 3498714"/>
                <a:gd name="connsiteX58" fmla="*/ 128850 w 4904699"/>
                <a:gd name="connsiteY58" fmla="*/ 2041423 h 3498714"/>
                <a:gd name="connsiteX59" fmla="*/ 0 w 4904699"/>
                <a:gd name="connsiteY59" fmla="*/ 1912573 h 3498714"/>
                <a:gd name="connsiteX60" fmla="*/ 0 w 4904699"/>
                <a:gd name="connsiteY60" fmla="*/ 1101802 h 3498714"/>
                <a:gd name="connsiteX61" fmla="*/ 0 w 4904699"/>
                <a:gd name="connsiteY61" fmla="*/ 1003338 h 3498714"/>
                <a:gd name="connsiteX62" fmla="*/ 0 w 4904699"/>
                <a:gd name="connsiteY62" fmla="*/ 982486 h 3498714"/>
                <a:gd name="connsiteX63" fmla="*/ 12733 w 4904699"/>
                <a:gd name="connsiteY63" fmla="*/ 894663 h 3498714"/>
                <a:gd name="connsiteX64" fmla="*/ 20539 w 4904699"/>
                <a:gd name="connsiteY64" fmla="*/ 868773 h 3498714"/>
                <a:gd name="connsiteX65" fmla="*/ 358791 w 4904699"/>
                <a:gd name="connsiteY65" fmla="*/ 644545 h 3498714"/>
                <a:gd name="connsiteX66" fmla="*/ 682782 w 4904699"/>
                <a:gd name="connsiteY66" fmla="*/ 0 h 3498714"/>
                <a:gd name="connsiteX67" fmla="*/ 966919 w 4904699"/>
                <a:gd name="connsiteY67" fmla="*/ 284138 h 3498714"/>
                <a:gd name="connsiteX68" fmla="*/ 682782 w 4904699"/>
                <a:gd name="connsiteY68" fmla="*/ 568275 h 3498714"/>
                <a:gd name="connsiteX69" fmla="*/ 398645 w 4904699"/>
                <a:gd name="connsiteY69" fmla="*/ 284138 h 3498714"/>
                <a:gd name="connsiteX70" fmla="*/ 682782 w 4904699"/>
                <a:gd name="connsiteY70" fmla="*/ 0 h 3498714"/>
                <a:gd name="connsiteX71" fmla="*/ 4707054 w 4904699"/>
                <a:gd name="connsiteY71" fmla="*/ 2902312 h 3498714"/>
                <a:gd name="connsiteX72" fmla="*/ 4818179 w 4904699"/>
                <a:gd name="connsiteY72" fmla="*/ 3013437 h 3498714"/>
                <a:gd name="connsiteX73" fmla="*/ 4707054 w 4904699"/>
                <a:gd name="connsiteY73" fmla="*/ 3124562 h 3498714"/>
                <a:gd name="connsiteX74" fmla="*/ 4545125 w 4904699"/>
                <a:gd name="connsiteY74" fmla="*/ 3124562 h 3498714"/>
                <a:gd name="connsiteX75" fmla="*/ 4545125 w 4904699"/>
                <a:gd name="connsiteY75" fmla="*/ 3361625 h 3498714"/>
                <a:gd name="connsiteX76" fmla="*/ 4436113 w 4904699"/>
                <a:gd name="connsiteY76" fmla="*/ 3470637 h 3498714"/>
                <a:gd name="connsiteX77" fmla="*/ 4235039 w 4904699"/>
                <a:gd name="connsiteY77" fmla="*/ 3470637 h 3498714"/>
                <a:gd name="connsiteX78" fmla="*/ 4126027 w 4904699"/>
                <a:gd name="connsiteY78" fmla="*/ 3361625 h 3498714"/>
                <a:gd name="connsiteX79" fmla="*/ 4126027 w 4904699"/>
                <a:gd name="connsiteY79" fmla="*/ 3124562 h 3498714"/>
                <a:gd name="connsiteX80" fmla="*/ 2589325 w 4904699"/>
                <a:gd name="connsiteY80" fmla="*/ 3124562 h 3498714"/>
                <a:gd name="connsiteX81" fmla="*/ 2589325 w 4904699"/>
                <a:gd name="connsiteY81" fmla="*/ 3361625 h 3498714"/>
                <a:gd name="connsiteX82" fmla="*/ 2480313 w 4904699"/>
                <a:gd name="connsiteY82" fmla="*/ 3470637 h 3498714"/>
                <a:gd name="connsiteX83" fmla="*/ 2279239 w 4904699"/>
                <a:gd name="connsiteY83" fmla="*/ 3470637 h 3498714"/>
                <a:gd name="connsiteX84" fmla="*/ 2170227 w 4904699"/>
                <a:gd name="connsiteY84" fmla="*/ 3361625 h 3498714"/>
                <a:gd name="connsiteX85" fmla="*/ 2170227 w 4904699"/>
                <a:gd name="connsiteY85" fmla="*/ 3124562 h 3498714"/>
                <a:gd name="connsiteX86" fmla="*/ 2052754 w 4904699"/>
                <a:gd name="connsiteY86" fmla="*/ 3124562 h 3498714"/>
                <a:gd name="connsiteX87" fmla="*/ 1941629 w 4904699"/>
                <a:gd name="connsiteY87" fmla="*/ 3013437 h 3498714"/>
                <a:gd name="connsiteX88" fmla="*/ 2052754 w 4904699"/>
                <a:gd name="connsiteY88" fmla="*/ 2902312 h 3498714"/>
                <a:gd name="connsiteX89" fmla="*/ 682782 w 4904699"/>
                <a:gd name="connsiteY89" fmla="*/ 0 h 3498714"/>
                <a:gd name="connsiteX90" fmla="*/ 4311608 w 4904699"/>
                <a:gd name="connsiteY90" fmla="*/ 2270487 h 3498714"/>
                <a:gd name="connsiteX91" fmla="*/ 4492583 w 4904699"/>
                <a:gd name="connsiteY91" fmla="*/ 2451462 h 3498714"/>
                <a:gd name="connsiteX0" fmla="*/ 2979061 w 4904699"/>
                <a:gd name="connsiteY0" fmla="*/ 2089512 h 3498714"/>
                <a:gd name="connsiteX1" fmla="*/ 2671086 w 4904699"/>
                <a:gd name="connsiteY1" fmla="*/ 2397487 h 3498714"/>
                <a:gd name="connsiteX2" fmla="*/ 2671086 w 4904699"/>
                <a:gd name="connsiteY2" fmla="*/ 2584811 h 3498714"/>
                <a:gd name="connsiteX3" fmla="*/ 4083961 w 4904699"/>
                <a:gd name="connsiteY3" fmla="*/ 2584811 h 3498714"/>
                <a:gd name="connsiteX4" fmla="*/ 4083961 w 4904699"/>
                <a:gd name="connsiteY4" fmla="*/ 2397487 h 3498714"/>
                <a:gd name="connsiteX5" fmla="*/ 3775986 w 4904699"/>
                <a:gd name="connsiteY5" fmla="*/ 2089512 h 3498714"/>
                <a:gd name="connsiteX6" fmla="*/ 2979061 w 4904699"/>
                <a:gd name="connsiteY6" fmla="*/ 2089512 h 3498714"/>
                <a:gd name="connsiteX7" fmla="*/ 2251033 w 4904699"/>
                <a:gd name="connsiteY7" fmla="*/ 2089512 h 3498714"/>
                <a:gd name="connsiteX8" fmla="*/ 2070058 w 4904699"/>
                <a:gd name="connsiteY8" fmla="*/ 2270487 h 3498714"/>
                <a:gd name="connsiteX9" fmla="*/ 2251033 w 4904699"/>
                <a:gd name="connsiteY9" fmla="*/ 2451462 h 3498714"/>
                <a:gd name="connsiteX10" fmla="*/ 2432008 w 4904699"/>
                <a:gd name="connsiteY10" fmla="*/ 2270487 h 3498714"/>
                <a:gd name="connsiteX11" fmla="*/ 2251033 w 4904699"/>
                <a:gd name="connsiteY11" fmla="*/ 2089512 h 3498714"/>
                <a:gd name="connsiteX12" fmla="*/ 2842751 w 4904699"/>
                <a:gd name="connsiteY12" fmla="*/ 1749356 h 3498714"/>
                <a:gd name="connsiteX13" fmla="*/ 2392797 w 4904699"/>
                <a:gd name="connsiteY13" fmla="*/ 1878907 h 3498714"/>
                <a:gd name="connsiteX14" fmla="*/ 2478781 w 4904699"/>
                <a:gd name="connsiteY14" fmla="*/ 1920808 h 3498714"/>
                <a:gd name="connsiteX15" fmla="*/ 2842751 w 4904699"/>
                <a:gd name="connsiteY15" fmla="*/ 1749356 h 3498714"/>
                <a:gd name="connsiteX16" fmla="*/ 2534724 w 4904699"/>
                <a:gd name="connsiteY16" fmla="*/ 982297 h 3498714"/>
                <a:gd name="connsiteX17" fmla="*/ 4904699 w 4904699"/>
                <a:gd name="connsiteY17" fmla="*/ 2705462 h 3498714"/>
                <a:gd name="connsiteX18" fmla="*/ 1970999 w 4904699"/>
                <a:gd name="connsiteY18" fmla="*/ 2826112 h 3498714"/>
                <a:gd name="connsiteX19" fmla="*/ 1850348 w 4904699"/>
                <a:gd name="connsiteY19" fmla="*/ 2705462 h 3498714"/>
                <a:gd name="connsiteX20" fmla="*/ 1956769 w 4904699"/>
                <a:gd name="connsiteY20" fmla="*/ 2587684 h 3498714"/>
                <a:gd name="connsiteX21" fmla="*/ 1823360 w 4904699"/>
                <a:gd name="connsiteY21" fmla="*/ 2279217 h 3498714"/>
                <a:gd name="connsiteX22" fmla="*/ 2217440 w 4904699"/>
                <a:gd name="connsiteY22" fmla="*/ 1856216 h 3498714"/>
                <a:gd name="connsiteX23" fmla="*/ 2534724 w 4904699"/>
                <a:gd name="connsiteY23" fmla="*/ 982297 h 3498714"/>
                <a:gd name="connsiteX24" fmla="*/ 358791 w 4904699"/>
                <a:gd name="connsiteY24" fmla="*/ 644545 h 3498714"/>
                <a:gd name="connsiteX25" fmla="*/ 1006774 w 4904699"/>
                <a:gd name="connsiteY25" fmla="*/ 644545 h 3498714"/>
                <a:gd name="connsiteX26" fmla="*/ 1542636 w 4904699"/>
                <a:gd name="connsiteY26" fmla="*/ 1193969 h 3498714"/>
                <a:gd name="connsiteX27" fmla="*/ 1929878 w 4904699"/>
                <a:gd name="connsiteY27" fmla="*/ 1193970 h 3498714"/>
                <a:gd name="connsiteX28" fmla="*/ 2070059 w 4904699"/>
                <a:gd name="connsiteY28" fmla="*/ 1334152 h 3498714"/>
                <a:gd name="connsiteX29" fmla="*/ 1929878 w 4904699"/>
                <a:gd name="connsiteY29" fmla="*/ 1474333 h 3498714"/>
                <a:gd name="connsiteX30" fmla="*/ 1520943 w 4904699"/>
                <a:gd name="connsiteY30" fmla="*/ 1470388 h 3498714"/>
                <a:gd name="connsiteX31" fmla="*/ 1332825 w 4904699"/>
                <a:gd name="connsiteY31" fmla="*/ 1367201 h 3498714"/>
                <a:gd name="connsiteX32" fmla="*/ 1106501 w 4904699"/>
                <a:gd name="connsiteY32" fmla="*/ 1098289 h 3498714"/>
                <a:gd name="connsiteX33" fmla="*/ 1101049 w 4904699"/>
                <a:gd name="connsiteY33" fmla="*/ 1092836 h 3498714"/>
                <a:gd name="connsiteX34" fmla="*/ 1046523 w 4904699"/>
                <a:gd name="connsiteY34" fmla="*/ 1092836 h 3498714"/>
                <a:gd name="connsiteX35" fmla="*/ 1041071 w 4904699"/>
                <a:gd name="connsiteY35" fmla="*/ 1098289 h 3498714"/>
                <a:gd name="connsiteX36" fmla="*/ 1042136 w 4904699"/>
                <a:gd name="connsiteY36" fmla="*/ 1419754 h 3498714"/>
                <a:gd name="connsiteX37" fmla="*/ 1042136 w 4904699"/>
                <a:gd name="connsiteY37" fmla="*/ 3337652 h 3498714"/>
                <a:gd name="connsiteX38" fmla="*/ 881075 w 4904699"/>
                <a:gd name="connsiteY38" fmla="*/ 3498714 h 3498714"/>
                <a:gd name="connsiteX39" fmla="*/ 720012 w 4904699"/>
                <a:gd name="connsiteY39" fmla="*/ 3337652 h 3498714"/>
                <a:gd name="connsiteX40" fmla="*/ 720012 w 4904699"/>
                <a:gd name="connsiteY40" fmla="*/ 2125717 h 3498714"/>
                <a:gd name="connsiteX41" fmla="*/ 718947 w 4904699"/>
                <a:gd name="connsiteY41" fmla="*/ 2033194 h 3498714"/>
                <a:gd name="connsiteX42" fmla="*/ 714162 w 4904699"/>
                <a:gd name="connsiteY42" fmla="*/ 2028410 h 3498714"/>
                <a:gd name="connsiteX43" fmla="*/ 654759 w 4904699"/>
                <a:gd name="connsiteY43" fmla="*/ 2028410 h 3498714"/>
                <a:gd name="connsiteX44" fmla="*/ 649974 w 4904699"/>
                <a:gd name="connsiteY44" fmla="*/ 2033194 h 3498714"/>
                <a:gd name="connsiteX45" fmla="*/ 649974 w 4904699"/>
                <a:gd name="connsiteY45" fmla="*/ 2125717 h 3498714"/>
                <a:gd name="connsiteX46" fmla="*/ 649574 w 4904699"/>
                <a:gd name="connsiteY46" fmla="*/ 3337652 h 3498714"/>
                <a:gd name="connsiteX47" fmla="*/ 488511 w 4904699"/>
                <a:gd name="connsiteY47" fmla="*/ 3498714 h 3498714"/>
                <a:gd name="connsiteX48" fmla="*/ 327450 w 4904699"/>
                <a:gd name="connsiteY48" fmla="*/ 3337652 h 3498714"/>
                <a:gd name="connsiteX49" fmla="*/ 327450 w 4904699"/>
                <a:gd name="connsiteY49" fmla="*/ 1458216 h 3498714"/>
                <a:gd name="connsiteX50" fmla="*/ 322427 w 4904699"/>
                <a:gd name="connsiteY50" fmla="*/ 1098205 h 3498714"/>
                <a:gd name="connsiteX51" fmla="*/ 317058 w 4904699"/>
                <a:gd name="connsiteY51" fmla="*/ 1092836 h 3498714"/>
                <a:gd name="connsiteX52" fmla="*/ 263371 w 4904699"/>
                <a:gd name="connsiteY52" fmla="*/ 1092836 h 3498714"/>
                <a:gd name="connsiteX53" fmla="*/ 258001 w 4904699"/>
                <a:gd name="connsiteY53" fmla="*/ 1098205 h 3498714"/>
                <a:gd name="connsiteX54" fmla="*/ 258001 w 4904699"/>
                <a:gd name="connsiteY54" fmla="*/ 1444446 h 3498714"/>
                <a:gd name="connsiteX55" fmla="*/ 257700 w 4904699"/>
                <a:gd name="connsiteY55" fmla="*/ 1444370 h 3498714"/>
                <a:gd name="connsiteX56" fmla="*/ 257700 w 4904699"/>
                <a:gd name="connsiteY56" fmla="*/ 1912573 h 3498714"/>
                <a:gd name="connsiteX57" fmla="*/ 128850 w 4904699"/>
                <a:gd name="connsiteY57" fmla="*/ 2041423 h 3498714"/>
                <a:gd name="connsiteX58" fmla="*/ 0 w 4904699"/>
                <a:gd name="connsiteY58" fmla="*/ 1912573 h 3498714"/>
                <a:gd name="connsiteX59" fmla="*/ 0 w 4904699"/>
                <a:gd name="connsiteY59" fmla="*/ 1101802 h 3498714"/>
                <a:gd name="connsiteX60" fmla="*/ 0 w 4904699"/>
                <a:gd name="connsiteY60" fmla="*/ 1003338 h 3498714"/>
                <a:gd name="connsiteX61" fmla="*/ 0 w 4904699"/>
                <a:gd name="connsiteY61" fmla="*/ 982486 h 3498714"/>
                <a:gd name="connsiteX62" fmla="*/ 12733 w 4904699"/>
                <a:gd name="connsiteY62" fmla="*/ 894663 h 3498714"/>
                <a:gd name="connsiteX63" fmla="*/ 20539 w 4904699"/>
                <a:gd name="connsiteY63" fmla="*/ 868773 h 3498714"/>
                <a:gd name="connsiteX64" fmla="*/ 358791 w 4904699"/>
                <a:gd name="connsiteY64" fmla="*/ 644545 h 3498714"/>
                <a:gd name="connsiteX65" fmla="*/ 682782 w 4904699"/>
                <a:gd name="connsiteY65" fmla="*/ 0 h 3498714"/>
                <a:gd name="connsiteX66" fmla="*/ 966919 w 4904699"/>
                <a:gd name="connsiteY66" fmla="*/ 284138 h 3498714"/>
                <a:gd name="connsiteX67" fmla="*/ 682782 w 4904699"/>
                <a:gd name="connsiteY67" fmla="*/ 568275 h 3498714"/>
                <a:gd name="connsiteX68" fmla="*/ 398645 w 4904699"/>
                <a:gd name="connsiteY68" fmla="*/ 284138 h 3498714"/>
                <a:gd name="connsiteX69" fmla="*/ 682782 w 4904699"/>
                <a:gd name="connsiteY69" fmla="*/ 0 h 3498714"/>
                <a:gd name="connsiteX70" fmla="*/ 4707054 w 4904699"/>
                <a:gd name="connsiteY70" fmla="*/ 2902312 h 3498714"/>
                <a:gd name="connsiteX71" fmla="*/ 4818179 w 4904699"/>
                <a:gd name="connsiteY71" fmla="*/ 3013437 h 3498714"/>
                <a:gd name="connsiteX72" fmla="*/ 4707054 w 4904699"/>
                <a:gd name="connsiteY72" fmla="*/ 3124562 h 3498714"/>
                <a:gd name="connsiteX73" fmla="*/ 4545125 w 4904699"/>
                <a:gd name="connsiteY73" fmla="*/ 3124562 h 3498714"/>
                <a:gd name="connsiteX74" fmla="*/ 4545125 w 4904699"/>
                <a:gd name="connsiteY74" fmla="*/ 3361625 h 3498714"/>
                <a:gd name="connsiteX75" fmla="*/ 4436113 w 4904699"/>
                <a:gd name="connsiteY75" fmla="*/ 3470637 h 3498714"/>
                <a:gd name="connsiteX76" fmla="*/ 4235039 w 4904699"/>
                <a:gd name="connsiteY76" fmla="*/ 3470637 h 3498714"/>
                <a:gd name="connsiteX77" fmla="*/ 4126027 w 4904699"/>
                <a:gd name="connsiteY77" fmla="*/ 3361625 h 3498714"/>
                <a:gd name="connsiteX78" fmla="*/ 4126027 w 4904699"/>
                <a:gd name="connsiteY78" fmla="*/ 3124562 h 3498714"/>
                <a:gd name="connsiteX79" fmla="*/ 2589325 w 4904699"/>
                <a:gd name="connsiteY79" fmla="*/ 3124562 h 3498714"/>
                <a:gd name="connsiteX80" fmla="*/ 2589325 w 4904699"/>
                <a:gd name="connsiteY80" fmla="*/ 3361625 h 3498714"/>
                <a:gd name="connsiteX81" fmla="*/ 2480313 w 4904699"/>
                <a:gd name="connsiteY81" fmla="*/ 3470637 h 3498714"/>
                <a:gd name="connsiteX82" fmla="*/ 2279239 w 4904699"/>
                <a:gd name="connsiteY82" fmla="*/ 3470637 h 3498714"/>
                <a:gd name="connsiteX83" fmla="*/ 2170227 w 4904699"/>
                <a:gd name="connsiteY83" fmla="*/ 3361625 h 3498714"/>
                <a:gd name="connsiteX84" fmla="*/ 2170227 w 4904699"/>
                <a:gd name="connsiteY84" fmla="*/ 3124562 h 3498714"/>
                <a:gd name="connsiteX85" fmla="*/ 2052754 w 4904699"/>
                <a:gd name="connsiteY85" fmla="*/ 3124562 h 3498714"/>
                <a:gd name="connsiteX86" fmla="*/ 1941629 w 4904699"/>
                <a:gd name="connsiteY86" fmla="*/ 3013437 h 3498714"/>
                <a:gd name="connsiteX87" fmla="*/ 2052754 w 4904699"/>
                <a:gd name="connsiteY87" fmla="*/ 2902312 h 3498714"/>
                <a:gd name="connsiteX88" fmla="*/ 682782 w 4904699"/>
                <a:gd name="connsiteY88" fmla="*/ 0 h 3498714"/>
                <a:gd name="connsiteX89" fmla="*/ 4311608 w 4904699"/>
                <a:gd name="connsiteY89" fmla="*/ 2270487 h 3498714"/>
                <a:gd name="connsiteX90" fmla="*/ 4492583 w 4904699"/>
                <a:gd name="connsiteY90" fmla="*/ 2451462 h 3498714"/>
                <a:gd name="connsiteX0" fmla="*/ 2979061 w 4818179"/>
                <a:gd name="connsiteY0" fmla="*/ 2089512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4083961 w 4818179"/>
                <a:gd name="connsiteY4" fmla="*/ 2397487 h 3498714"/>
                <a:gd name="connsiteX5" fmla="*/ 3775986 w 4818179"/>
                <a:gd name="connsiteY5" fmla="*/ 2089512 h 3498714"/>
                <a:gd name="connsiteX6" fmla="*/ 2979061 w 4818179"/>
                <a:gd name="connsiteY6" fmla="*/ 2089512 h 3498714"/>
                <a:gd name="connsiteX7" fmla="*/ 2251033 w 4818179"/>
                <a:gd name="connsiteY7" fmla="*/ 2089512 h 3498714"/>
                <a:gd name="connsiteX8" fmla="*/ 2070058 w 4818179"/>
                <a:gd name="connsiteY8" fmla="*/ 2270487 h 3498714"/>
                <a:gd name="connsiteX9" fmla="*/ 2251033 w 4818179"/>
                <a:gd name="connsiteY9" fmla="*/ 2451462 h 3498714"/>
                <a:gd name="connsiteX10" fmla="*/ 2432008 w 4818179"/>
                <a:gd name="connsiteY10" fmla="*/ 2270487 h 3498714"/>
                <a:gd name="connsiteX11" fmla="*/ 2251033 w 4818179"/>
                <a:gd name="connsiteY11" fmla="*/ 2089512 h 3498714"/>
                <a:gd name="connsiteX12" fmla="*/ 2842751 w 4818179"/>
                <a:gd name="connsiteY12" fmla="*/ 1749356 h 3498714"/>
                <a:gd name="connsiteX13" fmla="*/ 2392797 w 4818179"/>
                <a:gd name="connsiteY13" fmla="*/ 1878907 h 3498714"/>
                <a:gd name="connsiteX14" fmla="*/ 2478781 w 4818179"/>
                <a:gd name="connsiteY14" fmla="*/ 1920808 h 3498714"/>
                <a:gd name="connsiteX15" fmla="*/ 2842751 w 4818179"/>
                <a:gd name="connsiteY15" fmla="*/ 1749356 h 3498714"/>
                <a:gd name="connsiteX16" fmla="*/ 2534724 w 4818179"/>
                <a:gd name="connsiteY16" fmla="*/ 982297 h 3498714"/>
                <a:gd name="connsiteX17" fmla="*/ 1970999 w 4818179"/>
                <a:gd name="connsiteY17" fmla="*/ 2826112 h 3498714"/>
                <a:gd name="connsiteX18" fmla="*/ 1850348 w 4818179"/>
                <a:gd name="connsiteY18" fmla="*/ 2705462 h 3498714"/>
                <a:gd name="connsiteX19" fmla="*/ 1956769 w 4818179"/>
                <a:gd name="connsiteY19" fmla="*/ 2587684 h 3498714"/>
                <a:gd name="connsiteX20" fmla="*/ 1823360 w 4818179"/>
                <a:gd name="connsiteY20" fmla="*/ 2279217 h 3498714"/>
                <a:gd name="connsiteX21" fmla="*/ 2217440 w 4818179"/>
                <a:gd name="connsiteY21" fmla="*/ 1856216 h 3498714"/>
                <a:gd name="connsiteX22" fmla="*/ 2534724 w 4818179"/>
                <a:gd name="connsiteY22" fmla="*/ 982297 h 3498714"/>
                <a:gd name="connsiteX23" fmla="*/ 358791 w 4818179"/>
                <a:gd name="connsiteY23" fmla="*/ 644545 h 3498714"/>
                <a:gd name="connsiteX24" fmla="*/ 1006774 w 4818179"/>
                <a:gd name="connsiteY24" fmla="*/ 644545 h 3498714"/>
                <a:gd name="connsiteX25" fmla="*/ 1542636 w 4818179"/>
                <a:gd name="connsiteY25" fmla="*/ 1193969 h 3498714"/>
                <a:gd name="connsiteX26" fmla="*/ 1929878 w 4818179"/>
                <a:gd name="connsiteY26" fmla="*/ 1193970 h 3498714"/>
                <a:gd name="connsiteX27" fmla="*/ 2070059 w 4818179"/>
                <a:gd name="connsiteY27" fmla="*/ 1334152 h 3498714"/>
                <a:gd name="connsiteX28" fmla="*/ 1929878 w 4818179"/>
                <a:gd name="connsiteY28" fmla="*/ 1474333 h 3498714"/>
                <a:gd name="connsiteX29" fmla="*/ 1520943 w 4818179"/>
                <a:gd name="connsiteY29" fmla="*/ 1470388 h 3498714"/>
                <a:gd name="connsiteX30" fmla="*/ 1332825 w 4818179"/>
                <a:gd name="connsiteY30" fmla="*/ 1367201 h 3498714"/>
                <a:gd name="connsiteX31" fmla="*/ 1106501 w 4818179"/>
                <a:gd name="connsiteY31" fmla="*/ 1098289 h 3498714"/>
                <a:gd name="connsiteX32" fmla="*/ 1101049 w 4818179"/>
                <a:gd name="connsiteY32" fmla="*/ 1092836 h 3498714"/>
                <a:gd name="connsiteX33" fmla="*/ 1046523 w 4818179"/>
                <a:gd name="connsiteY33" fmla="*/ 1092836 h 3498714"/>
                <a:gd name="connsiteX34" fmla="*/ 1041071 w 4818179"/>
                <a:gd name="connsiteY34" fmla="*/ 1098289 h 3498714"/>
                <a:gd name="connsiteX35" fmla="*/ 1042136 w 4818179"/>
                <a:gd name="connsiteY35" fmla="*/ 1419754 h 3498714"/>
                <a:gd name="connsiteX36" fmla="*/ 1042136 w 4818179"/>
                <a:gd name="connsiteY36" fmla="*/ 3337652 h 3498714"/>
                <a:gd name="connsiteX37" fmla="*/ 881075 w 4818179"/>
                <a:gd name="connsiteY37" fmla="*/ 3498714 h 3498714"/>
                <a:gd name="connsiteX38" fmla="*/ 720012 w 4818179"/>
                <a:gd name="connsiteY38" fmla="*/ 3337652 h 3498714"/>
                <a:gd name="connsiteX39" fmla="*/ 720012 w 4818179"/>
                <a:gd name="connsiteY39" fmla="*/ 2125717 h 3498714"/>
                <a:gd name="connsiteX40" fmla="*/ 718947 w 4818179"/>
                <a:gd name="connsiteY40" fmla="*/ 2033194 h 3498714"/>
                <a:gd name="connsiteX41" fmla="*/ 714162 w 4818179"/>
                <a:gd name="connsiteY41" fmla="*/ 2028410 h 3498714"/>
                <a:gd name="connsiteX42" fmla="*/ 654759 w 4818179"/>
                <a:gd name="connsiteY42" fmla="*/ 2028410 h 3498714"/>
                <a:gd name="connsiteX43" fmla="*/ 649974 w 4818179"/>
                <a:gd name="connsiteY43" fmla="*/ 2033194 h 3498714"/>
                <a:gd name="connsiteX44" fmla="*/ 649974 w 4818179"/>
                <a:gd name="connsiteY44" fmla="*/ 2125717 h 3498714"/>
                <a:gd name="connsiteX45" fmla="*/ 649574 w 4818179"/>
                <a:gd name="connsiteY45" fmla="*/ 3337652 h 3498714"/>
                <a:gd name="connsiteX46" fmla="*/ 488511 w 4818179"/>
                <a:gd name="connsiteY46" fmla="*/ 3498714 h 3498714"/>
                <a:gd name="connsiteX47" fmla="*/ 327450 w 4818179"/>
                <a:gd name="connsiteY47" fmla="*/ 3337652 h 3498714"/>
                <a:gd name="connsiteX48" fmla="*/ 327450 w 4818179"/>
                <a:gd name="connsiteY48" fmla="*/ 1458216 h 3498714"/>
                <a:gd name="connsiteX49" fmla="*/ 322427 w 4818179"/>
                <a:gd name="connsiteY49" fmla="*/ 1098205 h 3498714"/>
                <a:gd name="connsiteX50" fmla="*/ 317058 w 4818179"/>
                <a:gd name="connsiteY50" fmla="*/ 1092836 h 3498714"/>
                <a:gd name="connsiteX51" fmla="*/ 263371 w 4818179"/>
                <a:gd name="connsiteY51" fmla="*/ 1092836 h 3498714"/>
                <a:gd name="connsiteX52" fmla="*/ 258001 w 4818179"/>
                <a:gd name="connsiteY52" fmla="*/ 1098205 h 3498714"/>
                <a:gd name="connsiteX53" fmla="*/ 258001 w 4818179"/>
                <a:gd name="connsiteY53" fmla="*/ 1444446 h 3498714"/>
                <a:gd name="connsiteX54" fmla="*/ 257700 w 4818179"/>
                <a:gd name="connsiteY54" fmla="*/ 1444370 h 3498714"/>
                <a:gd name="connsiteX55" fmla="*/ 257700 w 4818179"/>
                <a:gd name="connsiteY55" fmla="*/ 1912573 h 3498714"/>
                <a:gd name="connsiteX56" fmla="*/ 128850 w 4818179"/>
                <a:gd name="connsiteY56" fmla="*/ 2041423 h 3498714"/>
                <a:gd name="connsiteX57" fmla="*/ 0 w 4818179"/>
                <a:gd name="connsiteY57" fmla="*/ 1912573 h 3498714"/>
                <a:gd name="connsiteX58" fmla="*/ 0 w 4818179"/>
                <a:gd name="connsiteY58" fmla="*/ 1101802 h 3498714"/>
                <a:gd name="connsiteX59" fmla="*/ 0 w 4818179"/>
                <a:gd name="connsiteY59" fmla="*/ 1003338 h 3498714"/>
                <a:gd name="connsiteX60" fmla="*/ 0 w 4818179"/>
                <a:gd name="connsiteY60" fmla="*/ 982486 h 3498714"/>
                <a:gd name="connsiteX61" fmla="*/ 12733 w 4818179"/>
                <a:gd name="connsiteY61" fmla="*/ 894663 h 3498714"/>
                <a:gd name="connsiteX62" fmla="*/ 20539 w 4818179"/>
                <a:gd name="connsiteY62" fmla="*/ 868773 h 3498714"/>
                <a:gd name="connsiteX63" fmla="*/ 358791 w 4818179"/>
                <a:gd name="connsiteY63" fmla="*/ 644545 h 3498714"/>
                <a:gd name="connsiteX64" fmla="*/ 682782 w 4818179"/>
                <a:gd name="connsiteY64" fmla="*/ 0 h 3498714"/>
                <a:gd name="connsiteX65" fmla="*/ 966919 w 4818179"/>
                <a:gd name="connsiteY65" fmla="*/ 284138 h 3498714"/>
                <a:gd name="connsiteX66" fmla="*/ 682782 w 4818179"/>
                <a:gd name="connsiteY66" fmla="*/ 568275 h 3498714"/>
                <a:gd name="connsiteX67" fmla="*/ 398645 w 4818179"/>
                <a:gd name="connsiteY67" fmla="*/ 284138 h 3498714"/>
                <a:gd name="connsiteX68" fmla="*/ 682782 w 4818179"/>
                <a:gd name="connsiteY68" fmla="*/ 0 h 3498714"/>
                <a:gd name="connsiteX69" fmla="*/ 4707054 w 4818179"/>
                <a:gd name="connsiteY69" fmla="*/ 2902312 h 3498714"/>
                <a:gd name="connsiteX70" fmla="*/ 4818179 w 4818179"/>
                <a:gd name="connsiteY70" fmla="*/ 3013437 h 3498714"/>
                <a:gd name="connsiteX71" fmla="*/ 4707054 w 4818179"/>
                <a:gd name="connsiteY71" fmla="*/ 3124562 h 3498714"/>
                <a:gd name="connsiteX72" fmla="*/ 4545125 w 4818179"/>
                <a:gd name="connsiteY72" fmla="*/ 3124562 h 3498714"/>
                <a:gd name="connsiteX73" fmla="*/ 4545125 w 4818179"/>
                <a:gd name="connsiteY73" fmla="*/ 3361625 h 3498714"/>
                <a:gd name="connsiteX74" fmla="*/ 4436113 w 4818179"/>
                <a:gd name="connsiteY74" fmla="*/ 3470637 h 3498714"/>
                <a:gd name="connsiteX75" fmla="*/ 4235039 w 4818179"/>
                <a:gd name="connsiteY75" fmla="*/ 3470637 h 3498714"/>
                <a:gd name="connsiteX76" fmla="*/ 4126027 w 4818179"/>
                <a:gd name="connsiteY76" fmla="*/ 3361625 h 3498714"/>
                <a:gd name="connsiteX77" fmla="*/ 4126027 w 4818179"/>
                <a:gd name="connsiteY77" fmla="*/ 3124562 h 3498714"/>
                <a:gd name="connsiteX78" fmla="*/ 2589325 w 4818179"/>
                <a:gd name="connsiteY78" fmla="*/ 3124562 h 3498714"/>
                <a:gd name="connsiteX79" fmla="*/ 2589325 w 4818179"/>
                <a:gd name="connsiteY79" fmla="*/ 3361625 h 3498714"/>
                <a:gd name="connsiteX80" fmla="*/ 2480313 w 4818179"/>
                <a:gd name="connsiteY80" fmla="*/ 3470637 h 3498714"/>
                <a:gd name="connsiteX81" fmla="*/ 2279239 w 4818179"/>
                <a:gd name="connsiteY81" fmla="*/ 3470637 h 3498714"/>
                <a:gd name="connsiteX82" fmla="*/ 2170227 w 4818179"/>
                <a:gd name="connsiteY82" fmla="*/ 3361625 h 3498714"/>
                <a:gd name="connsiteX83" fmla="*/ 2170227 w 4818179"/>
                <a:gd name="connsiteY83" fmla="*/ 3124562 h 3498714"/>
                <a:gd name="connsiteX84" fmla="*/ 2052754 w 4818179"/>
                <a:gd name="connsiteY84" fmla="*/ 3124562 h 3498714"/>
                <a:gd name="connsiteX85" fmla="*/ 1941629 w 4818179"/>
                <a:gd name="connsiteY85" fmla="*/ 3013437 h 3498714"/>
                <a:gd name="connsiteX86" fmla="*/ 2052754 w 4818179"/>
                <a:gd name="connsiteY86" fmla="*/ 2902312 h 3498714"/>
                <a:gd name="connsiteX87" fmla="*/ 682782 w 4818179"/>
                <a:gd name="connsiteY87" fmla="*/ 0 h 3498714"/>
                <a:gd name="connsiteX88" fmla="*/ 4311608 w 4818179"/>
                <a:gd name="connsiteY88" fmla="*/ 2270487 h 3498714"/>
                <a:gd name="connsiteX89" fmla="*/ 4492583 w 4818179"/>
                <a:gd name="connsiteY89" fmla="*/ 2451462 h 3498714"/>
                <a:gd name="connsiteX0" fmla="*/ 2979061 w 4818179"/>
                <a:gd name="connsiteY0" fmla="*/ 2089512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4083961 w 4818179"/>
                <a:gd name="connsiteY4" fmla="*/ 2397487 h 3498714"/>
                <a:gd name="connsiteX5" fmla="*/ 3775986 w 4818179"/>
                <a:gd name="connsiteY5" fmla="*/ 2089512 h 3498714"/>
                <a:gd name="connsiteX6" fmla="*/ 2979061 w 4818179"/>
                <a:gd name="connsiteY6" fmla="*/ 2089512 h 3498714"/>
                <a:gd name="connsiteX7" fmla="*/ 2251033 w 4818179"/>
                <a:gd name="connsiteY7" fmla="*/ 2089512 h 3498714"/>
                <a:gd name="connsiteX8" fmla="*/ 2070058 w 4818179"/>
                <a:gd name="connsiteY8" fmla="*/ 2270487 h 3498714"/>
                <a:gd name="connsiteX9" fmla="*/ 2251033 w 4818179"/>
                <a:gd name="connsiteY9" fmla="*/ 2451462 h 3498714"/>
                <a:gd name="connsiteX10" fmla="*/ 2432008 w 4818179"/>
                <a:gd name="connsiteY10" fmla="*/ 2270487 h 3498714"/>
                <a:gd name="connsiteX11" fmla="*/ 2251033 w 4818179"/>
                <a:gd name="connsiteY11" fmla="*/ 2089512 h 3498714"/>
                <a:gd name="connsiteX12" fmla="*/ 2842751 w 4818179"/>
                <a:gd name="connsiteY12" fmla="*/ 1749356 h 3498714"/>
                <a:gd name="connsiteX13" fmla="*/ 2392797 w 4818179"/>
                <a:gd name="connsiteY13" fmla="*/ 1878907 h 3498714"/>
                <a:gd name="connsiteX14" fmla="*/ 2478781 w 4818179"/>
                <a:gd name="connsiteY14" fmla="*/ 1920808 h 3498714"/>
                <a:gd name="connsiteX15" fmla="*/ 2842751 w 4818179"/>
                <a:gd name="connsiteY15" fmla="*/ 1749356 h 3498714"/>
                <a:gd name="connsiteX16" fmla="*/ 2534724 w 4818179"/>
                <a:gd name="connsiteY16" fmla="*/ 982297 h 3498714"/>
                <a:gd name="connsiteX17" fmla="*/ 1970999 w 4818179"/>
                <a:gd name="connsiteY17" fmla="*/ 2826112 h 3498714"/>
                <a:gd name="connsiteX18" fmla="*/ 1850348 w 4818179"/>
                <a:gd name="connsiteY18" fmla="*/ 2705462 h 3498714"/>
                <a:gd name="connsiteX19" fmla="*/ 1956769 w 4818179"/>
                <a:gd name="connsiteY19" fmla="*/ 2587684 h 3498714"/>
                <a:gd name="connsiteX20" fmla="*/ 1823360 w 4818179"/>
                <a:gd name="connsiteY20" fmla="*/ 2279217 h 3498714"/>
                <a:gd name="connsiteX21" fmla="*/ 2217440 w 4818179"/>
                <a:gd name="connsiteY21" fmla="*/ 1856216 h 3498714"/>
                <a:gd name="connsiteX22" fmla="*/ 2534724 w 4818179"/>
                <a:gd name="connsiteY22" fmla="*/ 982297 h 3498714"/>
                <a:gd name="connsiteX23" fmla="*/ 358791 w 4818179"/>
                <a:gd name="connsiteY23" fmla="*/ 644545 h 3498714"/>
                <a:gd name="connsiteX24" fmla="*/ 1006774 w 4818179"/>
                <a:gd name="connsiteY24" fmla="*/ 644545 h 3498714"/>
                <a:gd name="connsiteX25" fmla="*/ 1542636 w 4818179"/>
                <a:gd name="connsiteY25" fmla="*/ 1193969 h 3498714"/>
                <a:gd name="connsiteX26" fmla="*/ 1929878 w 4818179"/>
                <a:gd name="connsiteY26" fmla="*/ 1193970 h 3498714"/>
                <a:gd name="connsiteX27" fmla="*/ 2070059 w 4818179"/>
                <a:gd name="connsiteY27" fmla="*/ 1334152 h 3498714"/>
                <a:gd name="connsiteX28" fmla="*/ 1929878 w 4818179"/>
                <a:gd name="connsiteY28" fmla="*/ 1474333 h 3498714"/>
                <a:gd name="connsiteX29" fmla="*/ 1520943 w 4818179"/>
                <a:gd name="connsiteY29" fmla="*/ 1470388 h 3498714"/>
                <a:gd name="connsiteX30" fmla="*/ 1332825 w 4818179"/>
                <a:gd name="connsiteY30" fmla="*/ 1367201 h 3498714"/>
                <a:gd name="connsiteX31" fmla="*/ 1106501 w 4818179"/>
                <a:gd name="connsiteY31" fmla="*/ 1098289 h 3498714"/>
                <a:gd name="connsiteX32" fmla="*/ 1101049 w 4818179"/>
                <a:gd name="connsiteY32" fmla="*/ 1092836 h 3498714"/>
                <a:gd name="connsiteX33" fmla="*/ 1046523 w 4818179"/>
                <a:gd name="connsiteY33" fmla="*/ 1092836 h 3498714"/>
                <a:gd name="connsiteX34" fmla="*/ 1041071 w 4818179"/>
                <a:gd name="connsiteY34" fmla="*/ 1098289 h 3498714"/>
                <a:gd name="connsiteX35" fmla="*/ 1042136 w 4818179"/>
                <a:gd name="connsiteY35" fmla="*/ 1419754 h 3498714"/>
                <a:gd name="connsiteX36" fmla="*/ 1042136 w 4818179"/>
                <a:gd name="connsiteY36" fmla="*/ 3337652 h 3498714"/>
                <a:gd name="connsiteX37" fmla="*/ 881075 w 4818179"/>
                <a:gd name="connsiteY37" fmla="*/ 3498714 h 3498714"/>
                <a:gd name="connsiteX38" fmla="*/ 720012 w 4818179"/>
                <a:gd name="connsiteY38" fmla="*/ 3337652 h 3498714"/>
                <a:gd name="connsiteX39" fmla="*/ 720012 w 4818179"/>
                <a:gd name="connsiteY39" fmla="*/ 2125717 h 3498714"/>
                <a:gd name="connsiteX40" fmla="*/ 718947 w 4818179"/>
                <a:gd name="connsiteY40" fmla="*/ 2033194 h 3498714"/>
                <a:gd name="connsiteX41" fmla="*/ 714162 w 4818179"/>
                <a:gd name="connsiteY41" fmla="*/ 2028410 h 3498714"/>
                <a:gd name="connsiteX42" fmla="*/ 654759 w 4818179"/>
                <a:gd name="connsiteY42" fmla="*/ 2028410 h 3498714"/>
                <a:gd name="connsiteX43" fmla="*/ 649974 w 4818179"/>
                <a:gd name="connsiteY43" fmla="*/ 2033194 h 3498714"/>
                <a:gd name="connsiteX44" fmla="*/ 649974 w 4818179"/>
                <a:gd name="connsiteY44" fmla="*/ 2125717 h 3498714"/>
                <a:gd name="connsiteX45" fmla="*/ 649574 w 4818179"/>
                <a:gd name="connsiteY45" fmla="*/ 3337652 h 3498714"/>
                <a:gd name="connsiteX46" fmla="*/ 488511 w 4818179"/>
                <a:gd name="connsiteY46" fmla="*/ 3498714 h 3498714"/>
                <a:gd name="connsiteX47" fmla="*/ 327450 w 4818179"/>
                <a:gd name="connsiteY47" fmla="*/ 3337652 h 3498714"/>
                <a:gd name="connsiteX48" fmla="*/ 327450 w 4818179"/>
                <a:gd name="connsiteY48" fmla="*/ 1458216 h 3498714"/>
                <a:gd name="connsiteX49" fmla="*/ 322427 w 4818179"/>
                <a:gd name="connsiteY49" fmla="*/ 1098205 h 3498714"/>
                <a:gd name="connsiteX50" fmla="*/ 317058 w 4818179"/>
                <a:gd name="connsiteY50" fmla="*/ 1092836 h 3498714"/>
                <a:gd name="connsiteX51" fmla="*/ 263371 w 4818179"/>
                <a:gd name="connsiteY51" fmla="*/ 1092836 h 3498714"/>
                <a:gd name="connsiteX52" fmla="*/ 258001 w 4818179"/>
                <a:gd name="connsiteY52" fmla="*/ 1098205 h 3498714"/>
                <a:gd name="connsiteX53" fmla="*/ 258001 w 4818179"/>
                <a:gd name="connsiteY53" fmla="*/ 1444446 h 3498714"/>
                <a:gd name="connsiteX54" fmla="*/ 257700 w 4818179"/>
                <a:gd name="connsiteY54" fmla="*/ 1444370 h 3498714"/>
                <a:gd name="connsiteX55" fmla="*/ 257700 w 4818179"/>
                <a:gd name="connsiteY55" fmla="*/ 1912573 h 3498714"/>
                <a:gd name="connsiteX56" fmla="*/ 128850 w 4818179"/>
                <a:gd name="connsiteY56" fmla="*/ 2041423 h 3498714"/>
                <a:gd name="connsiteX57" fmla="*/ 0 w 4818179"/>
                <a:gd name="connsiteY57" fmla="*/ 1912573 h 3498714"/>
                <a:gd name="connsiteX58" fmla="*/ 0 w 4818179"/>
                <a:gd name="connsiteY58" fmla="*/ 1101802 h 3498714"/>
                <a:gd name="connsiteX59" fmla="*/ 0 w 4818179"/>
                <a:gd name="connsiteY59" fmla="*/ 1003338 h 3498714"/>
                <a:gd name="connsiteX60" fmla="*/ 0 w 4818179"/>
                <a:gd name="connsiteY60" fmla="*/ 982486 h 3498714"/>
                <a:gd name="connsiteX61" fmla="*/ 12733 w 4818179"/>
                <a:gd name="connsiteY61" fmla="*/ 894663 h 3498714"/>
                <a:gd name="connsiteX62" fmla="*/ 20539 w 4818179"/>
                <a:gd name="connsiteY62" fmla="*/ 868773 h 3498714"/>
                <a:gd name="connsiteX63" fmla="*/ 358791 w 4818179"/>
                <a:gd name="connsiteY63" fmla="*/ 644545 h 3498714"/>
                <a:gd name="connsiteX64" fmla="*/ 682782 w 4818179"/>
                <a:gd name="connsiteY64" fmla="*/ 0 h 3498714"/>
                <a:gd name="connsiteX65" fmla="*/ 966919 w 4818179"/>
                <a:gd name="connsiteY65" fmla="*/ 284138 h 3498714"/>
                <a:gd name="connsiteX66" fmla="*/ 682782 w 4818179"/>
                <a:gd name="connsiteY66" fmla="*/ 568275 h 3498714"/>
                <a:gd name="connsiteX67" fmla="*/ 398645 w 4818179"/>
                <a:gd name="connsiteY67" fmla="*/ 284138 h 3498714"/>
                <a:gd name="connsiteX68" fmla="*/ 682782 w 4818179"/>
                <a:gd name="connsiteY68" fmla="*/ 0 h 3498714"/>
                <a:gd name="connsiteX69" fmla="*/ 4707054 w 4818179"/>
                <a:gd name="connsiteY69" fmla="*/ 2902312 h 3498714"/>
                <a:gd name="connsiteX70" fmla="*/ 4818179 w 4818179"/>
                <a:gd name="connsiteY70" fmla="*/ 3013437 h 3498714"/>
                <a:gd name="connsiteX71" fmla="*/ 4707054 w 4818179"/>
                <a:gd name="connsiteY71" fmla="*/ 3124562 h 3498714"/>
                <a:gd name="connsiteX72" fmla="*/ 4545125 w 4818179"/>
                <a:gd name="connsiteY72" fmla="*/ 3124562 h 3498714"/>
                <a:gd name="connsiteX73" fmla="*/ 4545125 w 4818179"/>
                <a:gd name="connsiteY73" fmla="*/ 3361625 h 3498714"/>
                <a:gd name="connsiteX74" fmla="*/ 4436113 w 4818179"/>
                <a:gd name="connsiteY74" fmla="*/ 3470637 h 3498714"/>
                <a:gd name="connsiteX75" fmla="*/ 4235039 w 4818179"/>
                <a:gd name="connsiteY75" fmla="*/ 3470637 h 3498714"/>
                <a:gd name="connsiteX76" fmla="*/ 4126027 w 4818179"/>
                <a:gd name="connsiteY76" fmla="*/ 3361625 h 3498714"/>
                <a:gd name="connsiteX77" fmla="*/ 4126027 w 4818179"/>
                <a:gd name="connsiteY77" fmla="*/ 3124562 h 3498714"/>
                <a:gd name="connsiteX78" fmla="*/ 2589325 w 4818179"/>
                <a:gd name="connsiteY78" fmla="*/ 3124562 h 3498714"/>
                <a:gd name="connsiteX79" fmla="*/ 2589325 w 4818179"/>
                <a:gd name="connsiteY79" fmla="*/ 3361625 h 3498714"/>
                <a:gd name="connsiteX80" fmla="*/ 2480313 w 4818179"/>
                <a:gd name="connsiteY80" fmla="*/ 3470637 h 3498714"/>
                <a:gd name="connsiteX81" fmla="*/ 2279239 w 4818179"/>
                <a:gd name="connsiteY81" fmla="*/ 3470637 h 3498714"/>
                <a:gd name="connsiteX82" fmla="*/ 2170227 w 4818179"/>
                <a:gd name="connsiteY82" fmla="*/ 3361625 h 3498714"/>
                <a:gd name="connsiteX83" fmla="*/ 2170227 w 4818179"/>
                <a:gd name="connsiteY83" fmla="*/ 3124562 h 3498714"/>
                <a:gd name="connsiteX84" fmla="*/ 2052754 w 4818179"/>
                <a:gd name="connsiteY84" fmla="*/ 3124562 h 3498714"/>
                <a:gd name="connsiteX85" fmla="*/ 1941629 w 4818179"/>
                <a:gd name="connsiteY85" fmla="*/ 3013437 h 3498714"/>
                <a:gd name="connsiteX86" fmla="*/ 2052754 w 4818179"/>
                <a:gd name="connsiteY86" fmla="*/ 2902312 h 3498714"/>
                <a:gd name="connsiteX87" fmla="*/ 682782 w 4818179"/>
                <a:gd name="connsiteY87" fmla="*/ 0 h 3498714"/>
                <a:gd name="connsiteX0" fmla="*/ 2979061 w 4818179"/>
                <a:gd name="connsiteY0" fmla="*/ 2089512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3775986 w 4818179"/>
                <a:gd name="connsiteY4" fmla="*/ 2089512 h 3498714"/>
                <a:gd name="connsiteX5" fmla="*/ 2979061 w 4818179"/>
                <a:gd name="connsiteY5" fmla="*/ 2089512 h 3498714"/>
                <a:gd name="connsiteX6" fmla="*/ 2251033 w 4818179"/>
                <a:gd name="connsiteY6" fmla="*/ 2089512 h 3498714"/>
                <a:gd name="connsiteX7" fmla="*/ 2070058 w 4818179"/>
                <a:gd name="connsiteY7" fmla="*/ 2270487 h 3498714"/>
                <a:gd name="connsiteX8" fmla="*/ 2251033 w 4818179"/>
                <a:gd name="connsiteY8" fmla="*/ 2451462 h 3498714"/>
                <a:gd name="connsiteX9" fmla="*/ 2432008 w 4818179"/>
                <a:gd name="connsiteY9" fmla="*/ 2270487 h 3498714"/>
                <a:gd name="connsiteX10" fmla="*/ 2251033 w 4818179"/>
                <a:gd name="connsiteY10" fmla="*/ 2089512 h 3498714"/>
                <a:gd name="connsiteX11" fmla="*/ 2842751 w 4818179"/>
                <a:gd name="connsiteY11" fmla="*/ 1749356 h 3498714"/>
                <a:gd name="connsiteX12" fmla="*/ 2392797 w 4818179"/>
                <a:gd name="connsiteY12" fmla="*/ 1878907 h 3498714"/>
                <a:gd name="connsiteX13" fmla="*/ 2478781 w 4818179"/>
                <a:gd name="connsiteY13" fmla="*/ 1920808 h 3498714"/>
                <a:gd name="connsiteX14" fmla="*/ 2842751 w 4818179"/>
                <a:gd name="connsiteY14" fmla="*/ 1749356 h 3498714"/>
                <a:gd name="connsiteX15" fmla="*/ 2534724 w 4818179"/>
                <a:gd name="connsiteY15" fmla="*/ 982297 h 3498714"/>
                <a:gd name="connsiteX16" fmla="*/ 1970999 w 4818179"/>
                <a:gd name="connsiteY16" fmla="*/ 2826112 h 3498714"/>
                <a:gd name="connsiteX17" fmla="*/ 1850348 w 4818179"/>
                <a:gd name="connsiteY17" fmla="*/ 2705462 h 3498714"/>
                <a:gd name="connsiteX18" fmla="*/ 1956769 w 4818179"/>
                <a:gd name="connsiteY18" fmla="*/ 2587684 h 3498714"/>
                <a:gd name="connsiteX19" fmla="*/ 1823360 w 4818179"/>
                <a:gd name="connsiteY19" fmla="*/ 2279217 h 3498714"/>
                <a:gd name="connsiteX20" fmla="*/ 2217440 w 4818179"/>
                <a:gd name="connsiteY20" fmla="*/ 1856216 h 3498714"/>
                <a:gd name="connsiteX21" fmla="*/ 2534724 w 4818179"/>
                <a:gd name="connsiteY21" fmla="*/ 982297 h 3498714"/>
                <a:gd name="connsiteX22" fmla="*/ 358791 w 4818179"/>
                <a:gd name="connsiteY22" fmla="*/ 644545 h 3498714"/>
                <a:gd name="connsiteX23" fmla="*/ 1006774 w 4818179"/>
                <a:gd name="connsiteY23" fmla="*/ 644545 h 3498714"/>
                <a:gd name="connsiteX24" fmla="*/ 1542636 w 4818179"/>
                <a:gd name="connsiteY24" fmla="*/ 1193969 h 3498714"/>
                <a:gd name="connsiteX25" fmla="*/ 1929878 w 4818179"/>
                <a:gd name="connsiteY25" fmla="*/ 1193970 h 3498714"/>
                <a:gd name="connsiteX26" fmla="*/ 2070059 w 4818179"/>
                <a:gd name="connsiteY26" fmla="*/ 1334152 h 3498714"/>
                <a:gd name="connsiteX27" fmla="*/ 1929878 w 4818179"/>
                <a:gd name="connsiteY27" fmla="*/ 1474333 h 3498714"/>
                <a:gd name="connsiteX28" fmla="*/ 1520943 w 4818179"/>
                <a:gd name="connsiteY28" fmla="*/ 1470388 h 3498714"/>
                <a:gd name="connsiteX29" fmla="*/ 1332825 w 4818179"/>
                <a:gd name="connsiteY29" fmla="*/ 1367201 h 3498714"/>
                <a:gd name="connsiteX30" fmla="*/ 1106501 w 4818179"/>
                <a:gd name="connsiteY30" fmla="*/ 1098289 h 3498714"/>
                <a:gd name="connsiteX31" fmla="*/ 1101049 w 4818179"/>
                <a:gd name="connsiteY31" fmla="*/ 1092836 h 3498714"/>
                <a:gd name="connsiteX32" fmla="*/ 1046523 w 4818179"/>
                <a:gd name="connsiteY32" fmla="*/ 1092836 h 3498714"/>
                <a:gd name="connsiteX33" fmla="*/ 1041071 w 4818179"/>
                <a:gd name="connsiteY33" fmla="*/ 1098289 h 3498714"/>
                <a:gd name="connsiteX34" fmla="*/ 1042136 w 4818179"/>
                <a:gd name="connsiteY34" fmla="*/ 1419754 h 3498714"/>
                <a:gd name="connsiteX35" fmla="*/ 1042136 w 4818179"/>
                <a:gd name="connsiteY35" fmla="*/ 3337652 h 3498714"/>
                <a:gd name="connsiteX36" fmla="*/ 881075 w 4818179"/>
                <a:gd name="connsiteY36" fmla="*/ 3498714 h 3498714"/>
                <a:gd name="connsiteX37" fmla="*/ 720012 w 4818179"/>
                <a:gd name="connsiteY37" fmla="*/ 3337652 h 3498714"/>
                <a:gd name="connsiteX38" fmla="*/ 720012 w 4818179"/>
                <a:gd name="connsiteY38" fmla="*/ 2125717 h 3498714"/>
                <a:gd name="connsiteX39" fmla="*/ 718947 w 4818179"/>
                <a:gd name="connsiteY39" fmla="*/ 2033194 h 3498714"/>
                <a:gd name="connsiteX40" fmla="*/ 714162 w 4818179"/>
                <a:gd name="connsiteY40" fmla="*/ 2028410 h 3498714"/>
                <a:gd name="connsiteX41" fmla="*/ 654759 w 4818179"/>
                <a:gd name="connsiteY41" fmla="*/ 2028410 h 3498714"/>
                <a:gd name="connsiteX42" fmla="*/ 649974 w 4818179"/>
                <a:gd name="connsiteY42" fmla="*/ 2033194 h 3498714"/>
                <a:gd name="connsiteX43" fmla="*/ 649974 w 4818179"/>
                <a:gd name="connsiteY43" fmla="*/ 2125717 h 3498714"/>
                <a:gd name="connsiteX44" fmla="*/ 649574 w 4818179"/>
                <a:gd name="connsiteY44" fmla="*/ 3337652 h 3498714"/>
                <a:gd name="connsiteX45" fmla="*/ 488511 w 4818179"/>
                <a:gd name="connsiteY45" fmla="*/ 3498714 h 3498714"/>
                <a:gd name="connsiteX46" fmla="*/ 327450 w 4818179"/>
                <a:gd name="connsiteY46" fmla="*/ 3337652 h 3498714"/>
                <a:gd name="connsiteX47" fmla="*/ 327450 w 4818179"/>
                <a:gd name="connsiteY47" fmla="*/ 1458216 h 3498714"/>
                <a:gd name="connsiteX48" fmla="*/ 322427 w 4818179"/>
                <a:gd name="connsiteY48" fmla="*/ 1098205 h 3498714"/>
                <a:gd name="connsiteX49" fmla="*/ 317058 w 4818179"/>
                <a:gd name="connsiteY49" fmla="*/ 1092836 h 3498714"/>
                <a:gd name="connsiteX50" fmla="*/ 263371 w 4818179"/>
                <a:gd name="connsiteY50" fmla="*/ 1092836 h 3498714"/>
                <a:gd name="connsiteX51" fmla="*/ 258001 w 4818179"/>
                <a:gd name="connsiteY51" fmla="*/ 1098205 h 3498714"/>
                <a:gd name="connsiteX52" fmla="*/ 258001 w 4818179"/>
                <a:gd name="connsiteY52" fmla="*/ 1444446 h 3498714"/>
                <a:gd name="connsiteX53" fmla="*/ 257700 w 4818179"/>
                <a:gd name="connsiteY53" fmla="*/ 1444370 h 3498714"/>
                <a:gd name="connsiteX54" fmla="*/ 257700 w 4818179"/>
                <a:gd name="connsiteY54" fmla="*/ 1912573 h 3498714"/>
                <a:gd name="connsiteX55" fmla="*/ 128850 w 4818179"/>
                <a:gd name="connsiteY55" fmla="*/ 2041423 h 3498714"/>
                <a:gd name="connsiteX56" fmla="*/ 0 w 4818179"/>
                <a:gd name="connsiteY56" fmla="*/ 1912573 h 3498714"/>
                <a:gd name="connsiteX57" fmla="*/ 0 w 4818179"/>
                <a:gd name="connsiteY57" fmla="*/ 1101802 h 3498714"/>
                <a:gd name="connsiteX58" fmla="*/ 0 w 4818179"/>
                <a:gd name="connsiteY58" fmla="*/ 1003338 h 3498714"/>
                <a:gd name="connsiteX59" fmla="*/ 0 w 4818179"/>
                <a:gd name="connsiteY59" fmla="*/ 982486 h 3498714"/>
                <a:gd name="connsiteX60" fmla="*/ 12733 w 4818179"/>
                <a:gd name="connsiteY60" fmla="*/ 894663 h 3498714"/>
                <a:gd name="connsiteX61" fmla="*/ 20539 w 4818179"/>
                <a:gd name="connsiteY61" fmla="*/ 868773 h 3498714"/>
                <a:gd name="connsiteX62" fmla="*/ 358791 w 4818179"/>
                <a:gd name="connsiteY62" fmla="*/ 644545 h 3498714"/>
                <a:gd name="connsiteX63" fmla="*/ 682782 w 4818179"/>
                <a:gd name="connsiteY63" fmla="*/ 0 h 3498714"/>
                <a:gd name="connsiteX64" fmla="*/ 966919 w 4818179"/>
                <a:gd name="connsiteY64" fmla="*/ 284138 h 3498714"/>
                <a:gd name="connsiteX65" fmla="*/ 682782 w 4818179"/>
                <a:gd name="connsiteY65" fmla="*/ 568275 h 3498714"/>
                <a:gd name="connsiteX66" fmla="*/ 398645 w 4818179"/>
                <a:gd name="connsiteY66" fmla="*/ 284138 h 3498714"/>
                <a:gd name="connsiteX67" fmla="*/ 682782 w 4818179"/>
                <a:gd name="connsiteY67" fmla="*/ 0 h 3498714"/>
                <a:gd name="connsiteX68" fmla="*/ 4707054 w 4818179"/>
                <a:gd name="connsiteY68" fmla="*/ 2902312 h 3498714"/>
                <a:gd name="connsiteX69" fmla="*/ 4818179 w 4818179"/>
                <a:gd name="connsiteY69" fmla="*/ 3013437 h 3498714"/>
                <a:gd name="connsiteX70" fmla="*/ 4707054 w 4818179"/>
                <a:gd name="connsiteY70" fmla="*/ 3124562 h 3498714"/>
                <a:gd name="connsiteX71" fmla="*/ 4545125 w 4818179"/>
                <a:gd name="connsiteY71" fmla="*/ 3124562 h 3498714"/>
                <a:gd name="connsiteX72" fmla="*/ 4545125 w 4818179"/>
                <a:gd name="connsiteY72" fmla="*/ 3361625 h 3498714"/>
                <a:gd name="connsiteX73" fmla="*/ 4436113 w 4818179"/>
                <a:gd name="connsiteY73" fmla="*/ 3470637 h 3498714"/>
                <a:gd name="connsiteX74" fmla="*/ 4235039 w 4818179"/>
                <a:gd name="connsiteY74" fmla="*/ 3470637 h 3498714"/>
                <a:gd name="connsiteX75" fmla="*/ 4126027 w 4818179"/>
                <a:gd name="connsiteY75" fmla="*/ 3361625 h 3498714"/>
                <a:gd name="connsiteX76" fmla="*/ 4126027 w 4818179"/>
                <a:gd name="connsiteY76" fmla="*/ 3124562 h 3498714"/>
                <a:gd name="connsiteX77" fmla="*/ 2589325 w 4818179"/>
                <a:gd name="connsiteY77" fmla="*/ 3124562 h 3498714"/>
                <a:gd name="connsiteX78" fmla="*/ 2589325 w 4818179"/>
                <a:gd name="connsiteY78" fmla="*/ 3361625 h 3498714"/>
                <a:gd name="connsiteX79" fmla="*/ 2480313 w 4818179"/>
                <a:gd name="connsiteY79" fmla="*/ 3470637 h 3498714"/>
                <a:gd name="connsiteX80" fmla="*/ 2279239 w 4818179"/>
                <a:gd name="connsiteY80" fmla="*/ 3470637 h 3498714"/>
                <a:gd name="connsiteX81" fmla="*/ 2170227 w 4818179"/>
                <a:gd name="connsiteY81" fmla="*/ 3361625 h 3498714"/>
                <a:gd name="connsiteX82" fmla="*/ 2170227 w 4818179"/>
                <a:gd name="connsiteY82" fmla="*/ 3124562 h 3498714"/>
                <a:gd name="connsiteX83" fmla="*/ 2052754 w 4818179"/>
                <a:gd name="connsiteY83" fmla="*/ 3124562 h 3498714"/>
                <a:gd name="connsiteX84" fmla="*/ 1941629 w 4818179"/>
                <a:gd name="connsiteY84" fmla="*/ 3013437 h 3498714"/>
                <a:gd name="connsiteX85" fmla="*/ 2052754 w 4818179"/>
                <a:gd name="connsiteY85" fmla="*/ 2902312 h 3498714"/>
                <a:gd name="connsiteX86" fmla="*/ 682782 w 4818179"/>
                <a:gd name="connsiteY86" fmla="*/ 0 h 3498714"/>
                <a:gd name="connsiteX0" fmla="*/ 2979061 w 4818179"/>
                <a:gd name="connsiteY0" fmla="*/ 2089512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3775986 w 4818179"/>
                <a:gd name="connsiteY4" fmla="*/ 2089512 h 3498714"/>
                <a:gd name="connsiteX5" fmla="*/ 2979061 w 4818179"/>
                <a:gd name="connsiteY5" fmla="*/ 2089512 h 3498714"/>
                <a:gd name="connsiteX6" fmla="*/ 2251033 w 4818179"/>
                <a:gd name="connsiteY6" fmla="*/ 2089512 h 3498714"/>
                <a:gd name="connsiteX7" fmla="*/ 2070058 w 4818179"/>
                <a:gd name="connsiteY7" fmla="*/ 2270487 h 3498714"/>
                <a:gd name="connsiteX8" fmla="*/ 2251033 w 4818179"/>
                <a:gd name="connsiteY8" fmla="*/ 2451462 h 3498714"/>
                <a:gd name="connsiteX9" fmla="*/ 2432008 w 4818179"/>
                <a:gd name="connsiteY9" fmla="*/ 2270487 h 3498714"/>
                <a:gd name="connsiteX10" fmla="*/ 2251033 w 4818179"/>
                <a:gd name="connsiteY10" fmla="*/ 2089512 h 3498714"/>
                <a:gd name="connsiteX11" fmla="*/ 2842751 w 4818179"/>
                <a:gd name="connsiteY11" fmla="*/ 1749356 h 3498714"/>
                <a:gd name="connsiteX12" fmla="*/ 2392797 w 4818179"/>
                <a:gd name="connsiteY12" fmla="*/ 1878907 h 3498714"/>
                <a:gd name="connsiteX13" fmla="*/ 2478781 w 4818179"/>
                <a:gd name="connsiteY13" fmla="*/ 1920808 h 3498714"/>
                <a:gd name="connsiteX14" fmla="*/ 2842751 w 4818179"/>
                <a:gd name="connsiteY14" fmla="*/ 1749356 h 3498714"/>
                <a:gd name="connsiteX15" fmla="*/ 2534724 w 4818179"/>
                <a:gd name="connsiteY15" fmla="*/ 982297 h 3498714"/>
                <a:gd name="connsiteX16" fmla="*/ 1970999 w 4818179"/>
                <a:gd name="connsiteY16" fmla="*/ 2826112 h 3498714"/>
                <a:gd name="connsiteX17" fmla="*/ 1850348 w 4818179"/>
                <a:gd name="connsiteY17" fmla="*/ 2705462 h 3498714"/>
                <a:gd name="connsiteX18" fmla="*/ 1956769 w 4818179"/>
                <a:gd name="connsiteY18" fmla="*/ 2587684 h 3498714"/>
                <a:gd name="connsiteX19" fmla="*/ 1823360 w 4818179"/>
                <a:gd name="connsiteY19" fmla="*/ 2279217 h 3498714"/>
                <a:gd name="connsiteX20" fmla="*/ 2217440 w 4818179"/>
                <a:gd name="connsiteY20" fmla="*/ 1856216 h 3498714"/>
                <a:gd name="connsiteX21" fmla="*/ 2534724 w 4818179"/>
                <a:gd name="connsiteY21" fmla="*/ 982297 h 3498714"/>
                <a:gd name="connsiteX22" fmla="*/ 358791 w 4818179"/>
                <a:gd name="connsiteY22" fmla="*/ 644545 h 3498714"/>
                <a:gd name="connsiteX23" fmla="*/ 1006774 w 4818179"/>
                <a:gd name="connsiteY23" fmla="*/ 644545 h 3498714"/>
                <a:gd name="connsiteX24" fmla="*/ 1542636 w 4818179"/>
                <a:gd name="connsiteY24" fmla="*/ 1193969 h 3498714"/>
                <a:gd name="connsiteX25" fmla="*/ 1929878 w 4818179"/>
                <a:gd name="connsiteY25" fmla="*/ 1193970 h 3498714"/>
                <a:gd name="connsiteX26" fmla="*/ 2070059 w 4818179"/>
                <a:gd name="connsiteY26" fmla="*/ 1334152 h 3498714"/>
                <a:gd name="connsiteX27" fmla="*/ 1929878 w 4818179"/>
                <a:gd name="connsiteY27" fmla="*/ 1474333 h 3498714"/>
                <a:gd name="connsiteX28" fmla="*/ 1520943 w 4818179"/>
                <a:gd name="connsiteY28" fmla="*/ 1470388 h 3498714"/>
                <a:gd name="connsiteX29" fmla="*/ 1332825 w 4818179"/>
                <a:gd name="connsiteY29" fmla="*/ 1367201 h 3498714"/>
                <a:gd name="connsiteX30" fmla="*/ 1106501 w 4818179"/>
                <a:gd name="connsiteY30" fmla="*/ 1098289 h 3498714"/>
                <a:gd name="connsiteX31" fmla="*/ 1101049 w 4818179"/>
                <a:gd name="connsiteY31" fmla="*/ 1092836 h 3498714"/>
                <a:gd name="connsiteX32" fmla="*/ 1046523 w 4818179"/>
                <a:gd name="connsiteY32" fmla="*/ 1092836 h 3498714"/>
                <a:gd name="connsiteX33" fmla="*/ 1041071 w 4818179"/>
                <a:gd name="connsiteY33" fmla="*/ 1098289 h 3498714"/>
                <a:gd name="connsiteX34" fmla="*/ 1042136 w 4818179"/>
                <a:gd name="connsiteY34" fmla="*/ 1419754 h 3498714"/>
                <a:gd name="connsiteX35" fmla="*/ 1042136 w 4818179"/>
                <a:gd name="connsiteY35" fmla="*/ 3337652 h 3498714"/>
                <a:gd name="connsiteX36" fmla="*/ 881075 w 4818179"/>
                <a:gd name="connsiteY36" fmla="*/ 3498714 h 3498714"/>
                <a:gd name="connsiteX37" fmla="*/ 720012 w 4818179"/>
                <a:gd name="connsiteY37" fmla="*/ 3337652 h 3498714"/>
                <a:gd name="connsiteX38" fmla="*/ 720012 w 4818179"/>
                <a:gd name="connsiteY38" fmla="*/ 2125717 h 3498714"/>
                <a:gd name="connsiteX39" fmla="*/ 718947 w 4818179"/>
                <a:gd name="connsiteY39" fmla="*/ 2033194 h 3498714"/>
                <a:gd name="connsiteX40" fmla="*/ 714162 w 4818179"/>
                <a:gd name="connsiteY40" fmla="*/ 2028410 h 3498714"/>
                <a:gd name="connsiteX41" fmla="*/ 654759 w 4818179"/>
                <a:gd name="connsiteY41" fmla="*/ 2028410 h 3498714"/>
                <a:gd name="connsiteX42" fmla="*/ 649974 w 4818179"/>
                <a:gd name="connsiteY42" fmla="*/ 2033194 h 3498714"/>
                <a:gd name="connsiteX43" fmla="*/ 649974 w 4818179"/>
                <a:gd name="connsiteY43" fmla="*/ 2125717 h 3498714"/>
                <a:gd name="connsiteX44" fmla="*/ 649574 w 4818179"/>
                <a:gd name="connsiteY44" fmla="*/ 3337652 h 3498714"/>
                <a:gd name="connsiteX45" fmla="*/ 488511 w 4818179"/>
                <a:gd name="connsiteY45" fmla="*/ 3498714 h 3498714"/>
                <a:gd name="connsiteX46" fmla="*/ 327450 w 4818179"/>
                <a:gd name="connsiteY46" fmla="*/ 3337652 h 3498714"/>
                <a:gd name="connsiteX47" fmla="*/ 327450 w 4818179"/>
                <a:gd name="connsiteY47" fmla="*/ 1458216 h 3498714"/>
                <a:gd name="connsiteX48" fmla="*/ 322427 w 4818179"/>
                <a:gd name="connsiteY48" fmla="*/ 1098205 h 3498714"/>
                <a:gd name="connsiteX49" fmla="*/ 317058 w 4818179"/>
                <a:gd name="connsiteY49" fmla="*/ 1092836 h 3498714"/>
                <a:gd name="connsiteX50" fmla="*/ 263371 w 4818179"/>
                <a:gd name="connsiteY50" fmla="*/ 1092836 h 3498714"/>
                <a:gd name="connsiteX51" fmla="*/ 258001 w 4818179"/>
                <a:gd name="connsiteY51" fmla="*/ 1098205 h 3498714"/>
                <a:gd name="connsiteX52" fmla="*/ 258001 w 4818179"/>
                <a:gd name="connsiteY52" fmla="*/ 1444446 h 3498714"/>
                <a:gd name="connsiteX53" fmla="*/ 257700 w 4818179"/>
                <a:gd name="connsiteY53" fmla="*/ 1444370 h 3498714"/>
                <a:gd name="connsiteX54" fmla="*/ 257700 w 4818179"/>
                <a:gd name="connsiteY54" fmla="*/ 1912573 h 3498714"/>
                <a:gd name="connsiteX55" fmla="*/ 128850 w 4818179"/>
                <a:gd name="connsiteY55" fmla="*/ 2041423 h 3498714"/>
                <a:gd name="connsiteX56" fmla="*/ 0 w 4818179"/>
                <a:gd name="connsiteY56" fmla="*/ 1912573 h 3498714"/>
                <a:gd name="connsiteX57" fmla="*/ 0 w 4818179"/>
                <a:gd name="connsiteY57" fmla="*/ 1101802 h 3498714"/>
                <a:gd name="connsiteX58" fmla="*/ 0 w 4818179"/>
                <a:gd name="connsiteY58" fmla="*/ 1003338 h 3498714"/>
                <a:gd name="connsiteX59" fmla="*/ 0 w 4818179"/>
                <a:gd name="connsiteY59" fmla="*/ 982486 h 3498714"/>
                <a:gd name="connsiteX60" fmla="*/ 12733 w 4818179"/>
                <a:gd name="connsiteY60" fmla="*/ 894663 h 3498714"/>
                <a:gd name="connsiteX61" fmla="*/ 20539 w 4818179"/>
                <a:gd name="connsiteY61" fmla="*/ 868773 h 3498714"/>
                <a:gd name="connsiteX62" fmla="*/ 358791 w 4818179"/>
                <a:gd name="connsiteY62" fmla="*/ 644545 h 3498714"/>
                <a:gd name="connsiteX63" fmla="*/ 682782 w 4818179"/>
                <a:gd name="connsiteY63" fmla="*/ 0 h 3498714"/>
                <a:gd name="connsiteX64" fmla="*/ 966919 w 4818179"/>
                <a:gd name="connsiteY64" fmla="*/ 284138 h 3498714"/>
                <a:gd name="connsiteX65" fmla="*/ 682782 w 4818179"/>
                <a:gd name="connsiteY65" fmla="*/ 568275 h 3498714"/>
                <a:gd name="connsiteX66" fmla="*/ 398645 w 4818179"/>
                <a:gd name="connsiteY66" fmla="*/ 284138 h 3498714"/>
                <a:gd name="connsiteX67" fmla="*/ 682782 w 4818179"/>
                <a:gd name="connsiteY67" fmla="*/ 0 h 3498714"/>
                <a:gd name="connsiteX68" fmla="*/ 4707054 w 4818179"/>
                <a:gd name="connsiteY68" fmla="*/ 2902312 h 3498714"/>
                <a:gd name="connsiteX69" fmla="*/ 4818179 w 4818179"/>
                <a:gd name="connsiteY69" fmla="*/ 3013437 h 3498714"/>
                <a:gd name="connsiteX70" fmla="*/ 4707054 w 4818179"/>
                <a:gd name="connsiteY70" fmla="*/ 3124562 h 3498714"/>
                <a:gd name="connsiteX71" fmla="*/ 4545125 w 4818179"/>
                <a:gd name="connsiteY71" fmla="*/ 3124562 h 3498714"/>
                <a:gd name="connsiteX72" fmla="*/ 4545125 w 4818179"/>
                <a:gd name="connsiteY72" fmla="*/ 3361625 h 3498714"/>
                <a:gd name="connsiteX73" fmla="*/ 4436113 w 4818179"/>
                <a:gd name="connsiteY73" fmla="*/ 3470637 h 3498714"/>
                <a:gd name="connsiteX74" fmla="*/ 4235039 w 4818179"/>
                <a:gd name="connsiteY74" fmla="*/ 3470637 h 3498714"/>
                <a:gd name="connsiteX75" fmla="*/ 4126027 w 4818179"/>
                <a:gd name="connsiteY75" fmla="*/ 3361625 h 3498714"/>
                <a:gd name="connsiteX76" fmla="*/ 2589325 w 4818179"/>
                <a:gd name="connsiteY76" fmla="*/ 3124562 h 3498714"/>
                <a:gd name="connsiteX77" fmla="*/ 2589325 w 4818179"/>
                <a:gd name="connsiteY77" fmla="*/ 3361625 h 3498714"/>
                <a:gd name="connsiteX78" fmla="*/ 2480313 w 4818179"/>
                <a:gd name="connsiteY78" fmla="*/ 3470637 h 3498714"/>
                <a:gd name="connsiteX79" fmla="*/ 2279239 w 4818179"/>
                <a:gd name="connsiteY79" fmla="*/ 3470637 h 3498714"/>
                <a:gd name="connsiteX80" fmla="*/ 2170227 w 4818179"/>
                <a:gd name="connsiteY80" fmla="*/ 3361625 h 3498714"/>
                <a:gd name="connsiteX81" fmla="*/ 2170227 w 4818179"/>
                <a:gd name="connsiteY81" fmla="*/ 3124562 h 3498714"/>
                <a:gd name="connsiteX82" fmla="*/ 2052754 w 4818179"/>
                <a:gd name="connsiteY82" fmla="*/ 3124562 h 3498714"/>
                <a:gd name="connsiteX83" fmla="*/ 1941629 w 4818179"/>
                <a:gd name="connsiteY83" fmla="*/ 3013437 h 3498714"/>
                <a:gd name="connsiteX84" fmla="*/ 2052754 w 4818179"/>
                <a:gd name="connsiteY84" fmla="*/ 2902312 h 3498714"/>
                <a:gd name="connsiteX85" fmla="*/ 682782 w 4818179"/>
                <a:gd name="connsiteY85" fmla="*/ 0 h 3498714"/>
                <a:gd name="connsiteX0" fmla="*/ 2979061 w 4818179"/>
                <a:gd name="connsiteY0" fmla="*/ 2089512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3775986 w 4818179"/>
                <a:gd name="connsiteY4" fmla="*/ 2089512 h 3498714"/>
                <a:gd name="connsiteX5" fmla="*/ 2979061 w 4818179"/>
                <a:gd name="connsiteY5" fmla="*/ 2089512 h 3498714"/>
                <a:gd name="connsiteX6" fmla="*/ 2251033 w 4818179"/>
                <a:gd name="connsiteY6" fmla="*/ 2089512 h 3498714"/>
                <a:gd name="connsiteX7" fmla="*/ 2070058 w 4818179"/>
                <a:gd name="connsiteY7" fmla="*/ 2270487 h 3498714"/>
                <a:gd name="connsiteX8" fmla="*/ 2251033 w 4818179"/>
                <a:gd name="connsiteY8" fmla="*/ 2451462 h 3498714"/>
                <a:gd name="connsiteX9" fmla="*/ 2432008 w 4818179"/>
                <a:gd name="connsiteY9" fmla="*/ 2270487 h 3498714"/>
                <a:gd name="connsiteX10" fmla="*/ 2251033 w 4818179"/>
                <a:gd name="connsiteY10" fmla="*/ 2089512 h 3498714"/>
                <a:gd name="connsiteX11" fmla="*/ 2842751 w 4818179"/>
                <a:gd name="connsiteY11" fmla="*/ 1749356 h 3498714"/>
                <a:gd name="connsiteX12" fmla="*/ 2392797 w 4818179"/>
                <a:gd name="connsiteY12" fmla="*/ 1878907 h 3498714"/>
                <a:gd name="connsiteX13" fmla="*/ 2478781 w 4818179"/>
                <a:gd name="connsiteY13" fmla="*/ 1920808 h 3498714"/>
                <a:gd name="connsiteX14" fmla="*/ 2842751 w 4818179"/>
                <a:gd name="connsiteY14" fmla="*/ 1749356 h 3498714"/>
                <a:gd name="connsiteX15" fmla="*/ 2534724 w 4818179"/>
                <a:gd name="connsiteY15" fmla="*/ 982297 h 3498714"/>
                <a:gd name="connsiteX16" fmla="*/ 1970999 w 4818179"/>
                <a:gd name="connsiteY16" fmla="*/ 2826112 h 3498714"/>
                <a:gd name="connsiteX17" fmla="*/ 1850348 w 4818179"/>
                <a:gd name="connsiteY17" fmla="*/ 2705462 h 3498714"/>
                <a:gd name="connsiteX18" fmla="*/ 1956769 w 4818179"/>
                <a:gd name="connsiteY18" fmla="*/ 2587684 h 3498714"/>
                <a:gd name="connsiteX19" fmla="*/ 1823360 w 4818179"/>
                <a:gd name="connsiteY19" fmla="*/ 2279217 h 3498714"/>
                <a:gd name="connsiteX20" fmla="*/ 2217440 w 4818179"/>
                <a:gd name="connsiteY20" fmla="*/ 1856216 h 3498714"/>
                <a:gd name="connsiteX21" fmla="*/ 2534724 w 4818179"/>
                <a:gd name="connsiteY21" fmla="*/ 982297 h 3498714"/>
                <a:gd name="connsiteX22" fmla="*/ 358791 w 4818179"/>
                <a:gd name="connsiteY22" fmla="*/ 644545 h 3498714"/>
                <a:gd name="connsiteX23" fmla="*/ 1006774 w 4818179"/>
                <a:gd name="connsiteY23" fmla="*/ 644545 h 3498714"/>
                <a:gd name="connsiteX24" fmla="*/ 1542636 w 4818179"/>
                <a:gd name="connsiteY24" fmla="*/ 1193969 h 3498714"/>
                <a:gd name="connsiteX25" fmla="*/ 1929878 w 4818179"/>
                <a:gd name="connsiteY25" fmla="*/ 1193970 h 3498714"/>
                <a:gd name="connsiteX26" fmla="*/ 2070059 w 4818179"/>
                <a:gd name="connsiteY26" fmla="*/ 1334152 h 3498714"/>
                <a:gd name="connsiteX27" fmla="*/ 1929878 w 4818179"/>
                <a:gd name="connsiteY27" fmla="*/ 1474333 h 3498714"/>
                <a:gd name="connsiteX28" fmla="*/ 1520943 w 4818179"/>
                <a:gd name="connsiteY28" fmla="*/ 1470388 h 3498714"/>
                <a:gd name="connsiteX29" fmla="*/ 1332825 w 4818179"/>
                <a:gd name="connsiteY29" fmla="*/ 1367201 h 3498714"/>
                <a:gd name="connsiteX30" fmla="*/ 1106501 w 4818179"/>
                <a:gd name="connsiteY30" fmla="*/ 1098289 h 3498714"/>
                <a:gd name="connsiteX31" fmla="*/ 1101049 w 4818179"/>
                <a:gd name="connsiteY31" fmla="*/ 1092836 h 3498714"/>
                <a:gd name="connsiteX32" fmla="*/ 1046523 w 4818179"/>
                <a:gd name="connsiteY32" fmla="*/ 1092836 h 3498714"/>
                <a:gd name="connsiteX33" fmla="*/ 1041071 w 4818179"/>
                <a:gd name="connsiteY33" fmla="*/ 1098289 h 3498714"/>
                <a:gd name="connsiteX34" fmla="*/ 1042136 w 4818179"/>
                <a:gd name="connsiteY34" fmla="*/ 1419754 h 3498714"/>
                <a:gd name="connsiteX35" fmla="*/ 1042136 w 4818179"/>
                <a:gd name="connsiteY35" fmla="*/ 3337652 h 3498714"/>
                <a:gd name="connsiteX36" fmla="*/ 881075 w 4818179"/>
                <a:gd name="connsiteY36" fmla="*/ 3498714 h 3498714"/>
                <a:gd name="connsiteX37" fmla="*/ 720012 w 4818179"/>
                <a:gd name="connsiteY37" fmla="*/ 3337652 h 3498714"/>
                <a:gd name="connsiteX38" fmla="*/ 720012 w 4818179"/>
                <a:gd name="connsiteY38" fmla="*/ 2125717 h 3498714"/>
                <a:gd name="connsiteX39" fmla="*/ 718947 w 4818179"/>
                <a:gd name="connsiteY39" fmla="*/ 2033194 h 3498714"/>
                <a:gd name="connsiteX40" fmla="*/ 714162 w 4818179"/>
                <a:gd name="connsiteY40" fmla="*/ 2028410 h 3498714"/>
                <a:gd name="connsiteX41" fmla="*/ 654759 w 4818179"/>
                <a:gd name="connsiteY41" fmla="*/ 2028410 h 3498714"/>
                <a:gd name="connsiteX42" fmla="*/ 649974 w 4818179"/>
                <a:gd name="connsiteY42" fmla="*/ 2033194 h 3498714"/>
                <a:gd name="connsiteX43" fmla="*/ 649974 w 4818179"/>
                <a:gd name="connsiteY43" fmla="*/ 2125717 h 3498714"/>
                <a:gd name="connsiteX44" fmla="*/ 649574 w 4818179"/>
                <a:gd name="connsiteY44" fmla="*/ 3337652 h 3498714"/>
                <a:gd name="connsiteX45" fmla="*/ 488511 w 4818179"/>
                <a:gd name="connsiteY45" fmla="*/ 3498714 h 3498714"/>
                <a:gd name="connsiteX46" fmla="*/ 327450 w 4818179"/>
                <a:gd name="connsiteY46" fmla="*/ 3337652 h 3498714"/>
                <a:gd name="connsiteX47" fmla="*/ 327450 w 4818179"/>
                <a:gd name="connsiteY47" fmla="*/ 1458216 h 3498714"/>
                <a:gd name="connsiteX48" fmla="*/ 322427 w 4818179"/>
                <a:gd name="connsiteY48" fmla="*/ 1098205 h 3498714"/>
                <a:gd name="connsiteX49" fmla="*/ 317058 w 4818179"/>
                <a:gd name="connsiteY49" fmla="*/ 1092836 h 3498714"/>
                <a:gd name="connsiteX50" fmla="*/ 263371 w 4818179"/>
                <a:gd name="connsiteY50" fmla="*/ 1092836 h 3498714"/>
                <a:gd name="connsiteX51" fmla="*/ 258001 w 4818179"/>
                <a:gd name="connsiteY51" fmla="*/ 1098205 h 3498714"/>
                <a:gd name="connsiteX52" fmla="*/ 258001 w 4818179"/>
                <a:gd name="connsiteY52" fmla="*/ 1444446 h 3498714"/>
                <a:gd name="connsiteX53" fmla="*/ 257700 w 4818179"/>
                <a:gd name="connsiteY53" fmla="*/ 1444370 h 3498714"/>
                <a:gd name="connsiteX54" fmla="*/ 257700 w 4818179"/>
                <a:gd name="connsiteY54" fmla="*/ 1912573 h 3498714"/>
                <a:gd name="connsiteX55" fmla="*/ 128850 w 4818179"/>
                <a:gd name="connsiteY55" fmla="*/ 2041423 h 3498714"/>
                <a:gd name="connsiteX56" fmla="*/ 0 w 4818179"/>
                <a:gd name="connsiteY56" fmla="*/ 1912573 h 3498714"/>
                <a:gd name="connsiteX57" fmla="*/ 0 w 4818179"/>
                <a:gd name="connsiteY57" fmla="*/ 1101802 h 3498714"/>
                <a:gd name="connsiteX58" fmla="*/ 0 w 4818179"/>
                <a:gd name="connsiteY58" fmla="*/ 1003338 h 3498714"/>
                <a:gd name="connsiteX59" fmla="*/ 0 w 4818179"/>
                <a:gd name="connsiteY59" fmla="*/ 982486 h 3498714"/>
                <a:gd name="connsiteX60" fmla="*/ 12733 w 4818179"/>
                <a:gd name="connsiteY60" fmla="*/ 894663 h 3498714"/>
                <a:gd name="connsiteX61" fmla="*/ 20539 w 4818179"/>
                <a:gd name="connsiteY61" fmla="*/ 868773 h 3498714"/>
                <a:gd name="connsiteX62" fmla="*/ 358791 w 4818179"/>
                <a:gd name="connsiteY62" fmla="*/ 644545 h 3498714"/>
                <a:gd name="connsiteX63" fmla="*/ 682782 w 4818179"/>
                <a:gd name="connsiteY63" fmla="*/ 0 h 3498714"/>
                <a:gd name="connsiteX64" fmla="*/ 966919 w 4818179"/>
                <a:gd name="connsiteY64" fmla="*/ 284138 h 3498714"/>
                <a:gd name="connsiteX65" fmla="*/ 682782 w 4818179"/>
                <a:gd name="connsiteY65" fmla="*/ 568275 h 3498714"/>
                <a:gd name="connsiteX66" fmla="*/ 398645 w 4818179"/>
                <a:gd name="connsiteY66" fmla="*/ 284138 h 3498714"/>
                <a:gd name="connsiteX67" fmla="*/ 682782 w 4818179"/>
                <a:gd name="connsiteY67" fmla="*/ 0 h 3498714"/>
                <a:gd name="connsiteX68" fmla="*/ 4707054 w 4818179"/>
                <a:gd name="connsiteY68" fmla="*/ 2902312 h 3498714"/>
                <a:gd name="connsiteX69" fmla="*/ 4818179 w 4818179"/>
                <a:gd name="connsiteY69" fmla="*/ 3013437 h 3498714"/>
                <a:gd name="connsiteX70" fmla="*/ 4707054 w 4818179"/>
                <a:gd name="connsiteY70" fmla="*/ 3124562 h 3498714"/>
                <a:gd name="connsiteX71" fmla="*/ 4545125 w 4818179"/>
                <a:gd name="connsiteY71" fmla="*/ 3124562 h 3498714"/>
                <a:gd name="connsiteX72" fmla="*/ 4545125 w 4818179"/>
                <a:gd name="connsiteY72" fmla="*/ 3361625 h 3498714"/>
                <a:gd name="connsiteX73" fmla="*/ 4436113 w 4818179"/>
                <a:gd name="connsiteY73" fmla="*/ 3470637 h 3498714"/>
                <a:gd name="connsiteX74" fmla="*/ 4235039 w 4818179"/>
                <a:gd name="connsiteY74" fmla="*/ 3470637 h 3498714"/>
                <a:gd name="connsiteX75" fmla="*/ 2589325 w 4818179"/>
                <a:gd name="connsiteY75" fmla="*/ 3124562 h 3498714"/>
                <a:gd name="connsiteX76" fmla="*/ 2589325 w 4818179"/>
                <a:gd name="connsiteY76" fmla="*/ 3361625 h 3498714"/>
                <a:gd name="connsiteX77" fmla="*/ 2480313 w 4818179"/>
                <a:gd name="connsiteY77" fmla="*/ 3470637 h 3498714"/>
                <a:gd name="connsiteX78" fmla="*/ 2279239 w 4818179"/>
                <a:gd name="connsiteY78" fmla="*/ 3470637 h 3498714"/>
                <a:gd name="connsiteX79" fmla="*/ 2170227 w 4818179"/>
                <a:gd name="connsiteY79" fmla="*/ 3361625 h 3498714"/>
                <a:gd name="connsiteX80" fmla="*/ 2170227 w 4818179"/>
                <a:gd name="connsiteY80" fmla="*/ 3124562 h 3498714"/>
                <a:gd name="connsiteX81" fmla="*/ 2052754 w 4818179"/>
                <a:gd name="connsiteY81" fmla="*/ 3124562 h 3498714"/>
                <a:gd name="connsiteX82" fmla="*/ 1941629 w 4818179"/>
                <a:gd name="connsiteY82" fmla="*/ 3013437 h 3498714"/>
                <a:gd name="connsiteX83" fmla="*/ 2052754 w 4818179"/>
                <a:gd name="connsiteY83" fmla="*/ 2902312 h 3498714"/>
                <a:gd name="connsiteX84" fmla="*/ 682782 w 4818179"/>
                <a:gd name="connsiteY84" fmla="*/ 0 h 3498714"/>
                <a:gd name="connsiteX0" fmla="*/ 3775986 w 4818179"/>
                <a:gd name="connsiteY0" fmla="*/ 2089512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3775986 w 4818179"/>
                <a:gd name="connsiteY4" fmla="*/ 2089512 h 3498714"/>
                <a:gd name="connsiteX5" fmla="*/ 2251033 w 4818179"/>
                <a:gd name="connsiteY5" fmla="*/ 2089512 h 3498714"/>
                <a:gd name="connsiteX6" fmla="*/ 2070058 w 4818179"/>
                <a:gd name="connsiteY6" fmla="*/ 2270487 h 3498714"/>
                <a:gd name="connsiteX7" fmla="*/ 2251033 w 4818179"/>
                <a:gd name="connsiteY7" fmla="*/ 2451462 h 3498714"/>
                <a:gd name="connsiteX8" fmla="*/ 2432008 w 4818179"/>
                <a:gd name="connsiteY8" fmla="*/ 2270487 h 3498714"/>
                <a:gd name="connsiteX9" fmla="*/ 2251033 w 4818179"/>
                <a:gd name="connsiteY9" fmla="*/ 2089512 h 3498714"/>
                <a:gd name="connsiteX10" fmla="*/ 2842751 w 4818179"/>
                <a:gd name="connsiteY10" fmla="*/ 1749356 h 3498714"/>
                <a:gd name="connsiteX11" fmla="*/ 2392797 w 4818179"/>
                <a:gd name="connsiteY11" fmla="*/ 1878907 h 3498714"/>
                <a:gd name="connsiteX12" fmla="*/ 2478781 w 4818179"/>
                <a:gd name="connsiteY12" fmla="*/ 1920808 h 3498714"/>
                <a:gd name="connsiteX13" fmla="*/ 2842751 w 4818179"/>
                <a:gd name="connsiteY13" fmla="*/ 1749356 h 3498714"/>
                <a:gd name="connsiteX14" fmla="*/ 2534724 w 4818179"/>
                <a:gd name="connsiteY14" fmla="*/ 982297 h 3498714"/>
                <a:gd name="connsiteX15" fmla="*/ 1970999 w 4818179"/>
                <a:gd name="connsiteY15" fmla="*/ 2826112 h 3498714"/>
                <a:gd name="connsiteX16" fmla="*/ 1850348 w 4818179"/>
                <a:gd name="connsiteY16" fmla="*/ 2705462 h 3498714"/>
                <a:gd name="connsiteX17" fmla="*/ 1956769 w 4818179"/>
                <a:gd name="connsiteY17" fmla="*/ 2587684 h 3498714"/>
                <a:gd name="connsiteX18" fmla="*/ 1823360 w 4818179"/>
                <a:gd name="connsiteY18" fmla="*/ 2279217 h 3498714"/>
                <a:gd name="connsiteX19" fmla="*/ 2217440 w 4818179"/>
                <a:gd name="connsiteY19" fmla="*/ 1856216 h 3498714"/>
                <a:gd name="connsiteX20" fmla="*/ 2534724 w 4818179"/>
                <a:gd name="connsiteY20" fmla="*/ 982297 h 3498714"/>
                <a:gd name="connsiteX21" fmla="*/ 358791 w 4818179"/>
                <a:gd name="connsiteY21" fmla="*/ 644545 h 3498714"/>
                <a:gd name="connsiteX22" fmla="*/ 1006774 w 4818179"/>
                <a:gd name="connsiteY22" fmla="*/ 644545 h 3498714"/>
                <a:gd name="connsiteX23" fmla="*/ 1542636 w 4818179"/>
                <a:gd name="connsiteY23" fmla="*/ 1193969 h 3498714"/>
                <a:gd name="connsiteX24" fmla="*/ 1929878 w 4818179"/>
                <a:gd name="connsiteY24" fmla="*/ 1193970 h 3498714"/>
                <a:gd name="connsiteX25" fmla="*/ 2070059 w 4818179"/>
                <a:gd name="connsiteY25" fmla="*/ 1334152 h 3498714"/>
                <a:gd name="connsiteX26" fmla="*/ 1929878 w 4818179"/>
                <a:gd name="connsiteY26" fmla="*/ 1474333 h 3498714"/>
                <a:gd name="connsiteX27" fmla="*/ 1520943 w 4818179"/>
                <a:gd name="connsiteY27" fmla="*/ 1470388 h 3498714"/>
                <a:gd name="connsiteX28" fmla="*/ 1332825 w 4818179"/>
                <a:gd name="connsiteY28" fmla="*/ 1367201 h 3498714"/>
                <a:gd name="connsiteX29" fmla="*/ 1106501 w 4818179"/>
                <a:gd name="connsiteY29" fmla="*/ 1098289 h 3498714"/>
                <a:gd name="connsiteX30" fmla="*/ 1101049 w 4818179"/>
                <a:gd name="connsiteY30" fmla="*/ 1092836 h 3498714"/>
                <a:gd name="connsiteX31" fmla="*/ 1046523 w 4818179"/>
                <a:gd name="connsiteY31" fmla="*/ 1092836 h 3498714"/>
                <a:gd name="connsiteX32" fmla="*/ 1041071 w 4818179"/>
                <a:gd name="connsiteY32" fmla="*/ 1098289 h 3498714"/>
                <a:gd name="connsiteX33" fmla="*/ 1042136 w 4818179"/>
                <a:gd name="connsiteY33" fmla="*/ 1419754 h 3498714"/>
                <a:gd name="connsiteX34" fmla="*/ 1042136 w 4818179"/>
                <a:gd name="connsiteY34" fmla="*/ 3337652 h 3498714"/>
                <a:gd name="connsiteX35" fmla="*/ 881075 w 4818179"/>
                <a:gd name="connsiteY35" fmla="*/ 3498714 h 3498714"/>
                <a:gd name="connsiteX36" fmla="*/ 720012 w 4818179"/>
                <a:gd name="connsiteY36" fmla="*/ 3337652 h 3498714"/>
                <a:gd name="connsiteX37" fmla="*/ 720012 w 4818179"/>
                <a:gd name="connsiteY37" fmla="*/ 2125717 h 3498714"/>
                <a:gd name="connsiteX38" fmla="*/ 718947 w 4818179"/>
                <a:gd name="connsiteY38" fmla="*/ 2033194 h 3498714"/>
                <a:gd name="connsiteX39" fmla="*/ 714162 w 4818179"/>
                <a:gd name="connsiteY39" fmla="*/ 2028410 h 3498714"/>
                <a:gd name="connsiteX40" fmla="*/ 654759 w 4818179"/>
                <a:gd name="connsiteY40" fmla="*/ 2028410 h 3498714"/>
                <a:gd name="connsiteX41" fmla="*/ 649974 w 4818179"/>
                <a:gd name="connsiteY41" fmla="*/ 2033194 h 3498714"/>
                <a:gd name="connsiteX42" fmla="*/ 649974 w 4818179"/>
                <a:gd name="connsiteY42" fmla="*/ 2125717 h 3498714"/>
                <a:gd name="connsiteX43" fmla="*/ 649574 w 4818179"/>
                <a:gd name="connsiteY43" fmla="*/ 3337652 h 3498714"/>
                <a:gd name="connsiteX44" fmla="*/ 488511 w 4818179"/>
                <a:gd name="connsiteY44" fmla="*/ 3498714 h 3498714"/>
                <a:gd name="connsiteX45" fmla="*/ 327450 w 4818179"/>
                <a:gd name="connsiteY45" fmla="*/ 3337652 h 3498714"/>
                <a:gd name="connsiteX46" fmla="*/ 327450 w 4818179"/>
                <a:gd name="connsiteY46" fmla="*/ 1458216 h 3498714"/>
                <a:gd name="connsiteX47" fmla="*/ 322427 w 4818179"/>
                <a:gd name="connsiteY47" fmla="*/ 1098205 h 3498714"/>
                <a:gd name="connsiteX48" fmla="*/ 317058 w 4818179"/>
                <a:gd name="connsiteY48" fmla="*/ 1092836 h 3498714"/>
                <a:gd name="connsiteX49" fmla="*/ 263371 w 4818179"/>
                <a:gd name="connsiteY49" fmla="*/ 1092836 h 3498714"/>
                <a:gd name="connsiteX50" fmla="*/ 258001 w 4818179"/>
                <a:gd name="connsiteY50" fmla="*/ 1098205 h 3498714"/>
                <a:gd name="connsiteX51" fmla="*/ 258001 w 4818179"/>
                <a:gd name="connsiteY51" fmla="*/ 1444446 h 3498714"/>
                <a:gd name="connsiteX52" fmla="*/ 257700 w 4818179"/>
                <a:gd name="connsiteY52" fmla="*/ 1444370 h 3498714"/>
                <a:gd name="connsiteX53" fmla="*/ 257700 w 4818179"/>
                <a:gd name="connsiteY53" fmla="*/ 1912573 h 3498714"/>
                <a:gd name="connsiteX54" fmla="*/ 128850 w 4818179"/>
                <a:gd name="connsiteY54" fmla="*/ 2041423 h 3498714"/>
                <a:gd name="connsiteX55" fmla="*/ 0 w 4818179"/>
                <a:gd name="connsiteY55" fmla="*/ 1912573 h 3498714"/>
                <a:gd name="connsiteX56" fmla="*/ 0 w 4818179"/>
                <a:gd name="connsiteY56" fmla="*/ 1101802 h 3498714"/>
                <a:gd name="connsiteX57" fmla="*/ 0 w 4818179"/>
                <a:gd name="connsiteY57" fmla="*/ 1003338 h 3498714"/>
                <a:gd name="connsiteX58" fmla="*/ 0 w 4818179"/>
                <a:gd name="connsiteY58" fmla="*/ 982486 h 3498714"/>
                <a:gd name="connsiteX59" fmla="*/ 12733 w 4818179"/>
                <a:gd name="connsiteY59" fmla="*/ 894663 h 3498714"/>
                <a:gd name="connsiteX60" fmla="*/ 20539 w 4818179"/>
                <a:gd name="connsiteY60" fmla="*/ 868773 h 3498714"/>
                <a:gd name="connsiteX61" fmla="*/ 358791 w 4818179"/>
                <a:gd name="connsiteY61" fmla="*/ 644545 h 3498714"/>
                <a:gd name="connsiteX62" fmla="*/ 682782 w 4818179"/>
                <a:gd name="connsiteY62" fmla="*/ 0 h 3498714"/>
                <a:gd name="connsiteX63" fmla="*/ 966919 w 4818179"/>
                <a:gd name="connsiteY63" fmla="*/ 284138 h 3498714"/>
                <a:gd name="connsiteX64" fmla="*/ 682782 w 4818179"/>
                <a:gd name="connsiteY64" fmla="*/ 568275 h 3498714"/>
                <a:gd name="connsiteX65" fmla="*/ 398645 w 4818179"/>
                <a:gd name="connsiteY65" fmla="*/ 284138 h 3498714"/>
                <a:gd name="connsiteX66" fmla="*/ 682782 w 4818179"/>
                <a:gd name="connsiteY66" fmla="*/ 0 h 3498714"/>
                <a:gd name="connsiteX67" fmla="*/ 4707054 w 4818179"/>
                <a:gd name="connsiteY67" fmla="*/ 2902312 h 3498714"/>
                <a:gd name="connsiteX68" fmla="*/ 4818179 w 4818179"/>
                <a:gd name="connsiteY68" fmla="*/ 3013437 h 3498714"/>
                <a:gd name="connsiteX69" fmla="*/ 4707054 w 4818179"/>
                <a:gd name="connsiteY69" fmla="*/ 3124562 h 3498714"/>
                <a:gd name="connsiteX70" fmla="*/ 4545125 w 4818179"/>
                <a:gd name="connsiteY70" fmla="*/ 3124562 h 3498714"/>
                <a:gd name="connsiteX71" fmla="*/ 4545125 w 4818179"/>
                <a:gd name="connsiteY71" fmla="*/ 3361625 h 3498714"/>
                <a:gd name="connsiteX72" fmla="*/ 4436113 w 4818179"/>
                <a:gd name="connsiteY72" fmla="*/ 3470637 h 3498714"/>
                <a:gd name="connsiteX73" fmla="*/ 4235039 w 4818179"/>
                <a:gd name="connsiteY73" fmla="*/ 3470637 h 3498714"/>
                <a:gd name="connsiteX74" fmla="*/ 2589325 w 4818179"/>
                <a:gd name="connsiteY74" fmla="*/ 3124562 h 3498714"/>
                <a:gd name="connsiteX75" fmla="*/ 2589325 w 4818179"/>
                <a:gd name="connsiteY75" fmla="*/ 3361625 h 3498714"/>
                <a:gd name="connsiteX76" fmla="*/ 2480313 w 4818179"/>
                <a:gd name="connsiteY76" fmla="*/ 3470637 h 3498714"/>
                <a:gd name="connsiteX77" fmla="*/ 2279239 w 4818179"/>
                <a:gd name="connsiteY77" fmla="*/ 3470637 h 3498714"/>
                <a:gd name="connsiteX78" fmla="*/ 2170227 w 4818179"/>
                <a:gd name="connsiteY78" fmla="*/ 3361625 h 3498714"/>
                <a:gd name="connsiteX79" fmla="*/ 2170227 w 4818179"/>
                <a:gd name="connsiteY79" fmla="*/ 3124562 h 3498714"/>
                <a:gd name="connsiteX80" fmla="*/ 2052754 w 4818179"/>
                <a:gd name="connsiteY80" fmla="*/ 3124562 h 3498714"/>
                <a:gd name="connsiteX81" fmla="*/ 1941629 w 4818179"/>
                <a:gd name="connsiteY81" fmla="*/ 3013437 h 3498714"/>
                <a:gd name="connsiteX82" fmla="*/ 2052754 w 4818179"/>
                <a:gd name="connsiteY82" fmla="*/ 2902312 h 3498714"/>
                <a:gd name="connsiteX83" fmla="*/ 682782 w 4818179"/>
                <a:gd name="connsiteY83" fmla="*/ 0 h 3498714"/>
                <a:gd name="connsiteX0" fmla="*/ 4083961 w 4818179"/>
                <a:gd name="connsiteY0" fmla="*/ 2584811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2251033 w 4818179"/>
                <a:gd name="connsiteY4" fmla="*/ 2089512 h 3498714"/>
                <a:gd name="connsiteX5" fmla="*/ 2070058 w 4818179"/>
                <a:gd name="connsiteY5" fmla="*/ 2270487 h 3498714"/>
                <a:gd name="connsiteX6" fmla="*/ 2251033 w 4818179"/>
                <a:gd name="connsiteY6" fmla="*/ 2451462 h 3498714"/>
                <a:gd name="connsiteX7" fmla="*/ 2432008 w 4818179"/>
                <a:gd name="connsiteY7" fmla="*/ 2270487 h 3498714"/>
                <a:gd name="connsiteX8" fmla="*/ 2251033 w 4818179"/>
                <a:gd name="connsiteY8" fmla="*/ 2089512 h 3498714"/>
                <a:gd name="connsiteX9" fmla="*/ 2842751 w 4818179"/>
                <a:gd name="connsiteY9" fmla="*/ 1749356 h 3498714"/>
                <a:gd name="connsiteX10" fmla="*/ 2392797 w 4818179"/>
                <a:gd name="connsiteY10" fmla="*/ 1878907 h 3498714"/>
                <a:gd name="connsiteX11" fmla="*/ 2478781 w 4818179"/>
                <a:gd name="connsiteY11" fmla="*/ 1920808 h 3498714"/>
                <a:gd name="connsiteX12" fmla="*/ 2842751 w 4818179"/>
                <a:gd name="connsiteY12" fmla="*/ 1749356 h 3498714"/>
                <a:gd name="connsiteX13" fmla="*/ 2534724 w 4818179"/>
                <a:gd name="connsiteY13" fmla="*/ 982297 h 3498714"/>
                <a:gd name="connsiteX14" fmla="*/ 1970999 w 4818179"/>
                <a:gd name="connsiteY14" fmla="*/ 2826112 h 3498714"/>
                <a:gd name="connsiteX15" fmla="*/ 1850348 w 4818179"/>
                <a:gd name="connsiteY15" fmla="*/ 2705462 h 3498714"/>
                <a:gd name="connsiteX16" fmla="*/ 1956769 w 4818179"/>
                <a:gd name="connsiteY16" fmla="*/ 2587684 h 3498714"/>
                <a:gd name="connsiteX17" fmla="*/ 1823360 w 4818179"/>
                <a:gd name="connsiteY17" fmla="*/ 2279217 h 3498714"/>
                <a:gd name="connsiteX18" fmla="*/ 2217440 w 4818179"/>
                <a:gd name="connsiteY18" fmla="*/ 1856216 h 3498714"/>
                <a:gd name="connsiteX19" fmla="*/ 2534724 w 4818179"/>
                <a:gd name="connsiteY19" fmla="*/ 982297 h 3498714"/>
                <a:gd name="connsiteX20" fmla="*/ 358791 w 4818179"/>
                <a:gd name="connsiteY20" fmla="*/ 644545 h 3498714"/>
                <a:gd name="connsiteX21" fmla="*/ 1006774 w 4818179"/>
                <a:gd name="connsiteY21" fmla="*/ 644545 h 3498714"/>
                <a:gd name="connsiteX22" fmla="*/ 1542636 w 4818179"/>
                <a:gd name="connsiteY22" fmla="*/ 1193969 h 3498714"/>
                <a:gd name="connsiteX23" fmla="*/ 1929878 w 4818179"/>
                <a:gd name="connsiteY23" fmla="*/ 1193970 h 3498714"/>
                <a:gd name="connsiteX24" fmla="*/ 2070059 w 4818179"/>
                <a:gd name="connsiteY24" fmla="*/ 1334152 h 3498714"/>
                <a:gd name="connsiteX25" fmla="*/ 1929878 w 4818179"/>
                <a:gd name="connsiteY25" fmla="*/ 1474333 h 3498714"/>
                <a:gd name="connsiteX26" fmla="*/ 1520943 w 4818179"/>
                <a:gd name="connsiteY26" fmla="*/ 1470388 h 3498714"/>
                <a:gd name="connsiteX27" fmla="*/ 1332825 w 4818179"/>
                <a:gd name="connsiteY27" fmla="*/ 1367201 h 3498714"/>
                <a:gd name="connsiteX28" fmla="*/ 1106501 w 4818179"/>
                <a:gd name="connsiteY28" fmla="*/ 1098289 h 3498714"/>
                <a:gd name="connsiteX29" fmla="*/ 1101049 w 4818179"/>
                <a:gd name="connsiteY29" fmla="*/ 1092836 h 3498714"/>
                <a:gd name="connsiteX30" fmla="*/ 1046523 w 4818179"/>
                <a:gd name="connsiteY30" fmla="*/ 1092836 h 3498714"/>
                <a:gd name="connsiteX31" fmla="*/ 1041071 w 4818179"/>
                <a:gd name="connsiteY31" fmla="*/ 1098289 h 3498714"/>
                <a:gd name="connsiteX32" fmla="*/ 1042136 w 4818179"/>
                <a:gd name="connsiteY32" fmla="*/ 1419754 h 3498714"/>
                <a:gd name="connsiteX33" fmla="*/ 1042136 w 4818179"/>
                <a:gd name="connsiteY33" fmla="*/ 3337652 h 3498714"/>
                <a:gd name="connsiteX34" fmla="*/ 881075 w 4818179"/>
                <a:gd name="connsiteY34" fmla="*/ 3498714 h 3498714"/>
                <a:gd name="connsiteX35" fmla="*/ 720012 w 4818179"/>
                <a:gd name="connsiteY35" fmla="*/ 3337652 h 3498714"/>
                <a:gd name="connsiteX36" fmla="*/ 720012 w 4818179"/>
                <a:gd name="connsiteY36" fmla="*/ 2125717 h 3498714"/>
                <a:gd name="connsiteX37" fmla="*/ 718947 w 4818179"/>
                <a:gd name="connsiteY37" fmla="*/ 2033194 h 3498714"/>
                <a:gd name="connsiteX38" fmla="*/ 714162 w 4818179"/>
                <a:gd name="connsiteY38" fmla="*/ 2028410 h 3498714"/>
                <a:gd name="connsiteX39" fmla="*/ 654759 w 4818179"/>
                <a:gd name="connsiteY39" fmla="*/ 2028410 h 3498714"/>
                <a:gd name="connsiteX40" fmla="*/ 649974 w 4818179"/>
                <a:gd name="connsiteY40" fmla="*/ 2033194 h 3498714"/>
                <a:gd name="connsiteX41" fmla="*/ 649974 w 4818179"/>
                <a:gd name="connsiteY41" fmla="*/ 2125717 h 3498714"/>
                <a:gd name="connsiteX42" fmla="*/ 649574 w 4818179"/>
                <a:gd name="connsiteY42" fmla="*/ 3337652 h 3498714"/>
                <a:gd name="connsiteX43" fmla="*/ 488511 w 4818179"/>
                <a:gd name="connsiteY43" fmla="*/ 3498714 h 3498714"/>
                <a:gd name="connsiteX44" fmla="*/ 327450 w 4818179"/>
                <a:gd name="connsiteY44" fmla="*/ 3337652 h 3498714"/>
                <a:gd name="connsiteX45" fmla="*/ 327450 w 4818179"/>
                <a:gd name="connsiteY45" fmla="*/ 1458216 h 3498714"/>
                <a:gd name="connsiteX46" fmla="*/ 322427 w 4818179"/>
                <a:gd name="connsiteY46" fmla="*/ 1098205 h 3498714"/>
                <a:gd name="connsiteX47" fmla="*/ 317058 w 4818179"/>
                <a:gd name="connsiteY47" fmla="*/ 1092836 h 3498714"/>
                <a:gd name="connsiteX48" fmla="*/ 263371 w 4818179"/>
                <a:gd name="connsiteY48" fmla="*/ 1092836 h 3498714"/>
                <a:gd name="connsiteX49" fmla="*/ 258001 w 4818179"/>
                <a:gd name="connsiteY49" fmla="*/ 1098205 h 3498714"/>
                <a:gd name="connsiteX50" fmla="*/ 258001 w 4818179"/>
                <a:gd name="connsiteY50" fmla="*/ 1444446 h 3498714"/>
                <a:gd name="connsiteX51" fmla="*/ 257700 w 4818179"/>
                <a:gd name="connsiteY51" fmla="*/ 1444370 h 3498714"/>
                <a:gd name="connsiteX52" fmla="*/ 257700 w 4818179"/>
                <a:gd name="connsiteY52" fmla="*/ 1912573 h 3498714"/>
                <a:gd name="connsiteX53" fmla="*/ 128850 w 4818179"/>
                <a:gd name="connsiteY53" fmla="*/ 2041423 h 3498714"/>
                <a:gd name="connsiteX54" fmla="*/ 0 w 4818179"/>
                <a:gd name="connsiteY54" fmla="*/ 1912573 h 3498714"/>
                <a:gd name="connsiteX55" fmla="*/ 0 w 4818179"/>
                <a:gd name="connsiteY55" fmla="*/ 1101802 h 3498714"/>
                <a:gd name="connsiteX56" fmla="*/ 0 w 4818179"/>
                <a:gd name="connsiteY56" fmla="*/ 1003338 h 3498714"/>
                <a:gd name="connsiteX57" fmla="*/ 0 w 4818179"/>
                <a:gd name="connsiteY57" fmla="*/ 982486 h 3498714"/>
                <a:gd name="connsiteX58" fmla="*/ 12733 w 4818179"/>
                <a:gd name="connsiteY58" fmla="*/ 894663 h 3498714"/>
                <a:gd name="connsiteX59" fmla="*/ 20539 w 4818179"/>
                <a:gd name="connsiteY59" fmla="*/ 868773 h 3498714"/>
                <a:gd name="connsiteX60" fmla="*/ 358791 w 4818179"/>
                <a:gd name="connsiteY60" fmla="*/ 644545 h 3498714"/>
                <a:gd name="connsiteX61" fmla="*/ 682782 w 4818179"/>
                <a:gd name="connsiteY61" fmla="*/ 0 h 3498714"/>
                <a:gd name="connsiteX62" fmla="*/ 966919 w 4818179"/>
                <a:gd name="connsiteY62" fmla="*/ 284138 h 3498714"/>
                <a:gd name="connsiteX63" fmla="*/ 682782 w 4818179"/>
                <a:gd name="connsiteY63" fmla="*/ 568275 h 3498714"/>
                <a:gd name="connsiteX64" fmla="*/ 398645 w 4818179"/>
                <a:gd name="connsiteY64" fmla="*/ 284138 h 3498714"/>
                <a:gd name="connsiteX65" fmla="*/ 682782 w 4818179"/>
                <a:gd name="connsiteY65" fmla="*/ 0 h 3498714"/>
                <a:gd name="connsiteX66" fmla="*/ 4707054 w 4818179"/>
                <a:gd name="connsiteY66" fmla="*/ 2902312 h 3498714"/>
                <a:gd name="connsiteX67" fmla="*/ 4818179 w 4818179"/>
                <a:gd name="connsiteY67" fmla="*/ 3013437 h 3498714"/>
                <a:gd name="connsiteX68" fmla="*/ 4707054 w 4818179"/>
                <a:gd name="connsiteY68" fmla="*/ 3124562 h 3498714"/>
                <a:gd name="connsiteX69" fmla="*/ 4545125 w 4818179"/>
                <a:gd name="connsiteY69" fmla="*/ 3124562 h 3498714"/>
                <a:gd name="connsiteX70" fmla="*/ 4545125 w 4818179"/>
                <a:gd name="connsiteY70" fmla="*/ 3361625 h 3498714"/>
                <a:gd name="connsiteX71" fmla="*/ 4436113 w 4818179"/>
                <a:gd name="connsiteY71" fmla="*/ 3470637 h 3498714"/>
                <a:gd name="connsiteX72" fmla="*/ 4235039 w 4818179"/>
                <a:gd name="connsiteY72" fmla="*/ 3470637 h 3498714"/>
                <a:gd name="connsiteX73" fmla="*/ 2589325 w 4818179"/>
                <a:gd name="connsiteY73" fmla="*/ 3124562 h 3498714"/>
                <a:gd name="connsiteX74" fmla="*/ 2589325 w 4818179"/>
                <a:gd name="connsiteY74" fmla="*/ 3361625 h 3498714"/>
                <a:gd name="connsiteX75" fmla="*/ 2480313 w 4818179"/>
                <a:gd name="connsiteY75" fmla="*/ 3470637 h 3498714"/>
                <a:gd name="connsiteX76" fmla="*/ 2279239 w 4818179"/>
                <a:gd name="connsiteY76" fmla="*/ 3470637 h 3498714"/>
                <a:gd name="connsiteX77" fmla="*/ 2170227 w 4818179"/>
                <a:gd name="connsiteY77" fmla="*/ 3361625 h 3498714"/>
                <a:gd name="connsiteX78" fmla="*/ 2170227 w 4818179"/>
                <a:gd name="connsiteY78" fmla="*/ 3124562 h 3498714"/>
                <a:gd name="connsiteX79" fmla="*/ 2052754 w 4818179"/>
                <a:gd name="connsiteY79" fmla="*/ 3124562 h 3498714"/>
                <a:gd name="connsiteX80" fmla="*/ 1941629 w 4818179"/>
                <a:gd name="connsiteY80" fmla="*/ 3013437 h 3498714"/>
                <a:gd name="connsiteX81" fmla="*/ 2052754 w 4818179"/>
                <a:gd name="connsiteY81" fmla="*/ 2902312 h 3498714"/>
                <a:gd name="connsiteX82" fmla="*/ 682782 w 4818179"/>
                <a:gd name="connsiteY82" fmla="*/ 0 h 3498714"/>
                <a:gd name="connsiteX0" fmla="*/ 2671086 w 4818179"/>
                <a:gd name="connsiteY0" fmla="*/ 2584811 h 3498714"/>
                <a:gd name="connsiteX1" fmla="*/ 2671086 w 4818179"/>
                <a:gd name="connsiteY1" fmla="*/ 2397487 h 3498714"/>
                <a:gd name="connsiteX2" fmla="*/ 2671086 w 4818179"/>
                <a:gd name="connsiteY2" fmla="*/ 2584811 h 3498714"/>
                <a:gd name="connsiteX3" fmla="*/ 2251033 w 4818179"/>
                <a:gd name="connsiteY3" fmla="*/ 2089512 h 3498714"/>
                <a:gd name="connsiteX4" fmla="*/ 2070058 w 4818179"/>
                <a:gd name="connsiteY4" fmla="*/ 2270487 h 3498714"/>
                <a:gd name="connsiteX5" fmla="*/ 2251033 w 4818179"/>
                <a:gd name="connsiteY5" fmla="*/ 2451462 h 3498714"/>
                <a:gd name="connsiteX6" fmla="*/ 2432008 w 4818179"/>
                <a:gd name="connsiteY6" fmla="*/ 2270487 h 3498714"/>
                <a:gd name="connsiteX7" fmla="*/ 2251033 w 4818179"/>
                <a:gd name="connsiteY7" fmla="*/ 2089512 h 3498714"/>
                <a:gd name="connsiteX8" fmla="*/ 2842751 w 4818179"/>
                <a:gd name="connsiteY8" fmla="*/ 1749356 h 3498714"/>
                <a:gd name="connsiteX9" fmla="*/ 2392797 w 4818179"/>
                <a:gd name="connsiteY9" fmla="*/ 1878907 h 3498714"/>
                <a:gd name="connsiteX10" fmla="*/ 2478781 w 4818179"/>
                <a:gd name="connsiteY10" fmla="*/ 1920808 h 3498714"/>
                <a:gd name="connsiteX11" fmla="*/ 2842751 w 4818179"/>
                <a:gd name="connsiteY11" fmla="*/ 1749356 h 3498714"/>
                <a:gd name="connsiteX12" fmla="*/ 2534724 w 4818179"/>
                <a:gd name="connsiteY12" fmla="*/ 982297 h 3498714"/>
                <a:gd name="connsiteX13" fmla="*/ 1970999 w 4818179"/>
                <a:gd name="connsiteY13" fmla="*/ 2826112 h 3498714"/>
                <a:gd name="connsiteX14" fmla="*/ 1850348 w 4818179"/>
                <a:gd name="connsiteY14" fmla="*/ 2705462 h 3498714"/>
                <a:gd name="connsiteX15" fmla="*/ 1956769 w 4818179"/>
                <a:gd name="connsiteY15" fmla="*/ 2587684 h 3498714"/>
                <a:gd name="connsiteX16" fmla="*/ 1823360 w 4818179"/>
                <a:gd name="connsiteY16" fmla="*/ 2279217 h 3498714"/>
                <a:gd name="connsiteX17" fmla="*/ 2217440 w 4818179"/>
                <a:gd name="connsiteY17" fmla="*/ 1856216 h 3498714"/>
                <a:gd name="connsiteX18" fmla="*/ 2534724 w 4818179"/>
                <a:gd name="connsiteY18" fmla="*/ 982297 h 3498714"/>
                <a:gd name="connsiteX19" fmla="*/ 358791 w 4818179"/>
                <a:gd name="connsiteY19" fmla="*/ 644545 h 3498714"/>
                <a:gd name="connsiteX20" fmla="*/ 1006774 w 4818179"/>
                <a:gd name="connsiteY20" fmla="*/ 644545 h 3498714"/>
                <a:gd name="connsiteX21" fmla="*/ 1542636 w 4818179"/>
                <a:gd name="connsiteY21" fmla="*/ 1193969 h 3498714"/>
                <a:gd name="connsiteX22" fmla="*/ 1929878 w 4818179"/>
                <a:gd name="connsiteY22" fmla="*/ 1193970 h 3498714"/>
                <a:gd name="connsiteX23" fmla="*/ 2070059 w 4818179"/>
                <a:gd name="connsiteY23" fmla="*/ 1334152 h 3498714"/>
                <a:gd name="connsiteX24" fmla="*/ 1929878 w 4818179"/>
                <a:gd name="connsiteY24" fmla="*/ 1474333 h 3498714"/>
                <a:gd name="connsiteX25" fmla="*/ 1520943 w 4818179"/>
                <a:gd name="connsiteY25" fmla="*/ 1470388 h 3498714"/>
                <a:gd name="connsiteX26" fmla="*/ 1332825 w 4818179"/>
                <a:gd name="connsiteY26" fmla="*/ 1367201 h 3498714"/>
                <a:gd name="connsiteX27" fmla="*/ 1106501 w 4818179"/>
                <a:gd name="connsiteY27" fmla="*/ 1098289 h 3498714"/>
                <a:gd name="connsiteX28" fmla="*/ 1101049 w 4818179"/>
                <a:gd name="connsiteY28" fmla="*/ 1092836 h 3498714"/>
                <a:gd name="connsiteX29" fmla="*/ 1046523 w 4818179"/>
                <a:gd name="connsiteY29" fmla="*/ 1092836 h 3498714"/>
                <a:gd name="connsiteX30" fmla="*/ 1041071 w 4818179"/>
                <a:gd name="connsiteY30" fmla="*/ 1098289 h 3498714"/>
                <a:gd name="connsiteX31" fmla="*/ 1042136 w 4818179"/>
                <a:gd name="connsiteY31" fmla="*/ 1419754 h 3498714"/>
                <a:gd name="connsiteX32" fmla="*/ 1042136 w 4818179"/>
                <a:gd name="connsiteY32" fmla="*/ 3337652 h 3498714"/>
                <a:gd name="connsiteX33" fmla="*/ 881075 w 4818179"/>
                <a:gd name="connsiteY33" fmla="*/ 3498714 h 3498714"/>
                <a:gd name="connsiteX34" fmla="*/ 720012 w 4818179"/>
                <a:gd name="connsiteY34" fmla="*/ 3337652 h 3498714"/>
                <a:gd name="connsiteX35" fmla="*/ 720012 w 4818179"/>
                <a:gd name="connsiteY35" fmla="*/ 2125717 h 3498714"/>
                <a:gd name="connsiteX36" fmla="*/ 718947 w 4818179"/>
                <a:gd name="connsiteY36" fmla="*/ 2033194 h 3498714"/>
                <a:gd name="connsiteX37" fmla="*/ 714162 w 4818179"/>
                <a:gd name="connsiteY37" fmla="*/ 2028410 h 3498714"/>
                <a:gd name="connsiteX38" fmla="*/ 654759 w 4818179"/>
                <a:gd name="connsiteY38" fmla="*/ 2028410 h 3498714"/>
                <a:gd name="connsiteX39" fmla="*/ 649974 w 4818179"/>
                <a:gd name="connsiteY39" fmla="*/ 2033194 h 3498714"/>
                <a:gd name="connsiteX40" fmla="*/ 649974 w 4818179"/>
                <a:gd name="connsiteY40" fmla="*/ 2125717 h 3498714"/>
                <a:gd name="connsiteX41" fmla="*/ 649574 w 4818179"/>
                <a:gd name="connsiteY41" fmla="*/ 3337652 h 3498714"/>
                <a:gd name="connsiteX42" fmla="*/ 488511 w 4818179"/>
                <a:gd name="connsiteY42" fmla="*/ 3498714 h 3498714"/>
                <a:gd name="connsiteX43" fmla="*/ 327450 w 4818179"/>
                <a:gd name="connsiteY43" fmla="*/ 3337652 h 3498714"/>
                <a:gd name="connsiteX44" fmla="*/ 327450 w 4818179"/>
                <a:gd name="connsiteY44" fmla="*/ 1458216 h 3498714"/>
                <a:gd name="connsiteX45" fmla="*/ 322427 w 4818179"/>
                <a:gd name="connsiteY45" fmla="*/ 1098205 h 3498714"/>
                <a:gd name="connsiteX46" fmla="*/ 317058 w 4818179"/>
                <a:gd name="connsiteY46" fmla="*/ 1092836 h 3498714"/>
                <a:gd name="connsiteX47" fmla="*/ 263371 w 4818179"/>
                <a:gd name="connsiteY47" fmla="*/ 1092836 h 3498714"/>
                <a:gd name="connsiteX48" fmla="*/ 258001 w 4818179"/>
                <a:gd name="connsiteY48" fmla="*/ 1098205 h 3498714"/>
                <a:gd name="connsiteX49" fmla="*/ 258001 w 4818179"/>
                <a:gd name="connsiteY49" fmla="*/ 1444446 h 3498714"/>
                <a:gd name="connsiteX50" fmla="*/ 257700 w 4818179"/>
                <a:gd name="connsiteY50" fmla="*/ 1444370 h 3498714"/>
                <a:gd name="connsiteX51" fmla="*/ 257700 w 4818179"/>
                <a:gd name="connsiteY51" fmla="*/ 1912573 h 3498714"/>
                <a:gd name="connsiteX52" fmla="*/ 128850 w 4818179"/>
                <a:gd name="connsiteY52" fmla="*/ 2041423 h 3498714"/>
                <a:gd name="connsiteX53" fmla="*/ 0 w 4818179"/>
                <a:gd name="connsiteY53" fmla="*/ 1912573 h 3498714"/>
                <a:gd name="connsiteX54" fmla="*/ 0 w 4818179"/>
                <a:gd name="connsiteY54" fmla="*/ 1101802 h 3498714"/>
                <a:gd name="connsiteX55" fmla="*/ 0 w 4818179"/>
                <a:gd name="connsiteY55" fmla="*/ 1003338 h 3498714"/>
                <a:gd name="connsiteX56" fmla="*/ 0 w 4818179"/>
                <a:gd name="connsiteY56" fmla="*/ 982486 h 3498714"/>
                <a:gd name="connsiteX57" fmla="*/ 12733 w 4818179"/>
                <a:gd name="connsiteY57" fmla="*/ 894663 h 3498714"/>
                <a:gd name="connsiteX58" fmla="*/ 20539 w 4818179"/>
                <a:gd name="connsiteY58" fmla="*/ 868773 h 3498714"/>
                <a:gd name="connsiteX59" fmla="*/ 358791 w 4818179"/>
                <a:gd name="connsiteY59" fmla="*/ 644545 h 3498714"/>
                <a:gd name="connsiteX60" fmla="*/ 682782 w 4818179"/>
                <a:gd name="connsiteY60" fmla="*/ 0 h 3498714"/>
                <a:gd name="connsiteX61" fmla="*/ 966919 w 4818179"/>
                <a:gd name="connsiteY61" fmla="*/ 284138 h 3498714"/>
                <a:gd name="connsiteX62" fmla="*/ 682782 w 4818179"/>
                <a:gd name="connsiteY62" fmla="*/ 568275 h 3498714"/>
                <a:gd name="connsiteX63" fmla="*/ 398645 w 4818179"/>
                <a:gd name="connsiteY63" fmla="*/ 284138 h 3498714"/>
                <a:gd name="connsiteX64" fmla="*/ 682782 w 4818179"/>
                <a:gd name="connsiteY64" fmla="*/ 0 h 3498714"/>
                <a:gd name="connsiteX65" fmla="*/ 4707054 w 4818179"/>
                <a:gd name="connsiteY65" fmla="*/ 2902312 h 3498714"/>
                <a:gd name="connsiteX66" fmla="*/ 4818179 w 4818179"/>
                <a:gd name="connsiteY66" fmla="*/ 3013437 h 3498714"/>
                <a:gd name="connsiteX67" fmla="*/ 4707054 w 4818179"/>
                <a:gd name="connsiteY67" fmla="*/ 3124562 h 3498714"/>
                <a:gd name="connsiteX68" fmla="*/ 4545125 w 4818179"/>
                <a:gd name="connsiteY68" fmla="*/ 3124562 h 3498714"/>
                <a:gd name="connsiteX69" fmla="*/ 4545125 w 4818179"/>
                <a:gd name="connsiteY69" fmla="*/ 3361625 h 3498714"/>
                <a:gd name="connsiteX70" fmla="*/ 4436113 w 4818179"/>
                <a:gd name="connsiteY70" fmla="*/ 3470637 h 3498714"/>
                <a:gd name="connsiteX71" fmla="*/ 4235039 w 4818179"/>
                <a:gd name="connsiteY71" fmla="*/ 3470637 h 3498714"/>
                <a:gd name="connsiteX72" fmla="*/ 2589325 w 4818179"/>
                <a:gd name="connsiteY72" fmla="*/ 3124562 h 3498714"/>
                <a:gd name="connsiteX73" fmla="*/ 2589325 w 4818179"/>
                <a:gd name="connsiteY73" fmla="*/ 3361625 h 3498714"/>
                <a:gd name="connsiteX74" fmla="*/ 2480313 w 4818179"/>
                <a:gd name="connsiteY74" fmla="*/ 3470637 h 3498714"/>
                <a:gd name="connsiteX75" fmla="*/ 2279239 w 4818179"/>
                <a:gd name="connsiteY75" fmla="*/ 3470637 h 3498714"/>
                <a:gd name="connsiteX76" fmla="*/ 2170227 w 4818179"/>
                <a:gd name="connsiteY76" fmla="*/ 3361625 h 3498714"/>
                <a:gd name="connsiteX77" fmla="*/ 2170227 w 4818179"/>
                <a:gd name="connsiteY77" fmla="*/ 3124562 h 3498714"/>
                <a:gd name="connsiteX78" fmla="*/ 2052754 w 4818179"/>
                <a:gd name="connsiteY78" fmla="*/ 3124562 h 3498714"/>
                <a:gd name="connsiteX79" fmla="*/ 1941629 w 4818179"/>
                <a:gd name="connsiteY79" fmla="*/ 3013437 h 3498714"/>
                <a:gd name="connsiteX80" fmla="*/ 2052754 w 4818179"/>
                <a:gd name="connsiteY80" fmla="*/ 2902312 h 3498714"/>
                <a:gd name="connsiteX81" fmla="*/ 682782 w 4818179"/>
                <a:gd name="connsiteY81" fmla="*/ 0 h 3498714"/>
                <a:gd name="connsiteX0" fmla="*/ 2251033 w 4818179"/>
                <a:gd name="connsiteY0" fmla="*/ 2089512 h 3498714"/>
                <a:gd name="connsiteX1" fmla="*/ 2070058 w 4818179"/>
                <a:gd name="connsiteY1" fmla="*/ 2270487 h 3498714"/>
                <a:gd name="connsiteX2" fmla="*/ 2251033 w 4818179"/>
                <a:gd name="connsiteY2" fmla="*/ 2451462 h 3498714"/>
                <a:gd name="connsiteX3" fmla="*/ 2432008 w 4818179"/>
                <a:gd name="connsiteY3" fmla="*/ 2270487 h 3498714"/>
                <a:gd name="connsiteX4" fmla="*/ 2251033 w 4818179"/>
                <a:gd name="connsiteY4" fmla="*/ 2089512 h 3498714"/>
                <a:gd name="connsiteX5" fmla="*/ 2842751 w 4818179"/>
                <a:gd name="connsiteY5" fmla="*/ 1749356 h 3498714"/>
                <a:gd name="connsiteX6" fmla="*/ 2392797 w 4818179"/>
                <a:gd name="connsiteY6" fmla="*/ 1878907 h 3498714"/>
                <a:gd name="connsiteX7" fmla="*/ 2478781 w 4818179"/>
                <a:gd name="connsiteY7" fmla="*/ 1920808 h 3498714"/>
                <a:gd name="connsiteX8" fmla="*/ 2842751 w 4818179"/>
                <a:gd name="connsiteY8" fmla="*/ 1749356 h 3498714"/>
                <a:gd name="connsiteX9" fmla="*/ 2534724 w 4818179"/>
                <a:gd name="connsiteY9" fmla="*/ 982297 h 3498714"/>
                <a:gd name="connsiteX10" fmla="*/ 1970999 w 4818179"/>
                <a:gd name="connsiteY10" fmla="*/ 2826112 h 3498714"/>
                <a:gd name="connsiteX11" fmla="*/ 1850348 w 4818179"/>
                <a:gd name="connsiteY11" fmla="*/ 2705462 h 3498714"/>
                <a:gd name="connsiteX12" fmla="*/ 1956769 w 4818179"/>
                <a:gd name="connsiteY12" fmla="*/ 2587684 h 3498714"/>
                <a:gd name="connsiteX13" fmla="*/ 1823360 w 4818179"/>
                <a:gd name="connsiteY13" fmla="*/ 2279217 h 3498714"/>
                <a:gd name="connsiteX14" fmla="*/ 2217440 w 4818179"/>
                <a:gd name="connsiteY14" fmla="*/ 1856216 h 3498714"/>
                <a:gd name="connsiteX15" fmla="*/ 2534724 w 4818179"/>
                <a:gd name="connsiteY15" fmla="*/ 982297 h 3498714"/>
                <a:gd name="connsiteX16" fmla="*/ 358791 w 4818179"/>
                <a:gd name="connsiteY16" fmla="*/ 644545 h 3498714"/>
                <a:gd name="connsiteX17" fmla="*/ 1006774 w 4818179"/>
                <a:gd name="connsiteY17" fmla="*/ 644545 h 3498714"/>
                <a:gd name="connsiteX18" fmla="*/ 1542636 w 4818179"/>
                <a:gd name="connsiteY18" fmla="*/ 1193969 h 3498714"/>
                <a:gd name="connsiteX19" fmla="*/ 1929878 w 4818179"/>
                <a:gd name="connsiteY19" fmla="*/ 1193970 h 3498714"/>
                <a:gd name="connsiteX20" fmla="*/ 2070059 w 4818179"/>
                <a:gd name="connsiteY20" fmla="*/ 1334152 h 3498714"/>
                <a:gd name="connsiteX21" fmla="*/ 1929878 w 4818179"/>
                <a:gd name="connsiteY21" fmla="*/ 1474333 h 3498714"/>
                <a:gd name="connsiteX22" fmla="*/ 1520943 w 4818179"/>
                <a:gd name="connsiteY22" fmla="*/ 1470388 h 3498714"/>
                <a:gd name="connsiteX23" fmla="*/ 1332825 w 4818179"/>
                <a:gd name="connsiteY23" fmla="*/ 1367201 h 3498714"/>
                <a:gd name="connsiteX24" fmla="*/ 1106501 w 4818179"/>
                <a:gd name="connsiteY24" fmla="*/ 1098289 h 3498714"/>
                <a:gd name="connsiteX25" fmla="*/ 1101049 w 4818179"/>
                <a:gd name="connsiteY25" fmla="*/ 1092836 h 3498714"/>
                <a:gd name="connsiteX26" fmla="*/ 1046523 w 4818179"/>
                <a:gd name="connsiteY26" fmla="*/ 1092836 h 3498714"/>
                <a:gd name="connsiteX27" fmla="*/ 1041071 w 4818179"/>
                <a:gd name="connsiteY27" fmla="*/ 1098289 h 3498714"/>
                <a:gd name="connsiteX28" fmla="*/ 1042136 w 4818179"/>
                <a:gd name="connsiteY28" fmla="*/ 1419754 h 3498714"/>
                <a:gd name="connsiteX29" fmla="*/ 1042136 w 4818179"/>
                <a:gd name="connsiteY29" fmla="*/ 3337652 h 3498714"/>
                <a:gd name="connsiteX30" fmla="*/ 881075 w 4818179"/>
                <a:gd name="connsiteY30" fmla="*/ 3498714 h 3498714"/>
                <a:gd name="connsiteX31" fmla="*/ 720012 w 4818179"/>
                <a:gd name="connsiteY31" fmla="*/ 3337652 h 3498714"/>
                <a:gd name="connsiteX32" fmla="*/ 720012 w 4818179"/>
                <a:gd name="connsiteY32" fmla="*/ 2125717 h 3498714"/>
                <a:gd name="connsiteX33" fmla="*/ 718947 w 4818179"/>
                <a:gd name="connsiteY33" fmla="*/ 2033194 h 3498714"/>
                <a:gd name="connsiteX34" fmla="*/ 714162 w 4818179"/>
                <a:gd name="connsiteY34" fmla="*/ 2028410 h 3498714"/>
                <a:gd name="connsiteX35" fmla="*/ 654759 w 4818179"/>
                <a:gd name="connsiteY35" fmla="*/ 2028410 h 3498714"/>
                <a:gd name="connsiteX36" fmla="*/ 649974 w 4818179"/>
                <a:gd name="connsiteY36" fmla="*/ 2033194 h 3498714"/>
                <a:gd name="connsiteX37" fmla="*/ 649974 w 4818179"/>
                <a:gd name="connsiteY37" fmla="*/ 2125717 h 3498714"/>
                <a:gd name="connsiteX38" fmla="*/ 649574 w 4818179"/>
                <a:gd name="connsiteY38" fmla="*/ 3337652 h 3498714"/>
                <a:gd name="connsiteX39" fmla="*/ 488511 w 4818179"/>
                <a:gd name="connsiteY39" fmla="*/ 3498714 h 3498714"/>
                <a:gd name="connsiteX40" fmla="*/ 327450 w 4818179"/>
                <a:gd name="connsiteY40" fmla="*/ 3337652 h 3498714"/>
                <a:gd name="connsiteX41" fmla="*/ 327450 w 4818179"/>
                <a:gd name="connsiteY41" fmla="*/ 1458216 h 3498714"/>
                <a:gd name="connsiteX42" fmla="*/ 322427 w 4818179"/>
                <a:gd name="connsiteY42" fmla="*/ 1098205 h 3498714"/>
                <a:gd name="connsiteX43" fmla="*/ 317058 w 4818179"/>
                <a:gd name="connsiteY43" fmla="*/ 1092836 h 3498714"/>
                <a:gd name="connsiteX44" fmla="*/ 263371 w 4818179"/>
                <a:gd name="connsiteY44" fmla="*/ 1092836 h 3498714"/>
                <a:gd name="connsiteX45" fmla="*/ 258001 w 4818179"/>
                <a:gd name="connsiteY45" fmla="*/ 1098205 h 3498714"/>
                <a:gd name="connsiteX46" fmla="*/ 258001 w 4818179"/>
                <a:gd name="connsiteY46" fmla="*/ 1444446 h 3498714"/>
                <a:gd name="connsiteX47" fmla="*/ 257700 w 4818179"/>
                <a:gd name="connsiteY47" fmla="*/ 1444370 h 3498714"/>
                <a:gd name="connsiteX48" fmla="*/ 257700 w 4818179"/>
                <a:gd name="connsiteY48" fmla="*/ 1912573 h 3498714"/>
                <a:gd name="connsiteX49" fmla="*/ 128850 w 4818179"/>
                <a:gd name="connsiteY49" fmla="*/ 2041423 h 3498714"/>
                <a:gd name="connsiteX50" fmla="*/ 0 w 4818179"/>
                <a:gd name="connsiteY50" fmla="*/ 1912573 h 3498714"/>
                <a:gd name="connsiteX51" fmla="*/ 0 w 4818179"/>
                <a:gd name="connsiteY51" fmla="*/ 1101802 h 3498714"/>
                <a:gd name="connsiteX52" fmla="*/ 0 w 4818179"/>
                <a:gd name="connsiteY52" fmla="*/ 1003338 h 3498714"/>
                <a:gd name="connsiteX53" fmla="*/ 0 w 4818179"/>
                <a:gd name="connsiteY53" fmla="*/ 982486 h 3498714"/>
                <a:gd name="connsiteX54" fmla="*/ 12733 w 4818179"/>
                <a:gd name="connsiteY54" fmla="*/ 894663 h 3498714"/>
                <a:gd name="connsiteX55" fmla="*/ 20539 w 4818179"/>
                <a:gd name="connsiteY55" fmla="*/ 868773 h 3498714"/>
                <a:gd name="connsiteX56" fmla="*/ 358791 w 4818179"/>
                <a:gd name="connsiteY56" fmla="*/ 644545 h 3498714"/>
                <a:gd name="connsiteX57" fmla="*/ 682782 w 4818179"/>
                <a:gd name="connsiteY57" fmla="*/ 0 h 3498714"/>
                <a:gd name="connsiteX58" fmla="*/ 966919 w 4818179"/>
                <a:gd name="connsiteY58" fmla="*/ 284138 h 3498714"/>
                <a:gd name="connsiteX59" fmla="*/ 682782 w 4818179"/>
                <a:gd name="connsiteY59" fmla="*/ 568275 h 3498714"/>
                <a:gd name="connsiteX60" fmla="*/ 398645 w 4818179"/>
                <a:gd name="connsiteY60" fmla="*/ 284138 h 3498714"/>
                <a:gd name="connsiteX61" fmla="*/ 682782 w 4818179"/>
                <a:gd name="connsiteY61" fmla="*/ 0 h 3498714"/>
                <a:gd name="connsiteX62" fmla="*/ 4707054 w 4818179"/>
                <a:gd name="connsiteY62" fmla="*/ 2902312 h 3498714"/>
                <a:gd name="connsiteX63" fmla="*/ 4818179 w 4818179"/>
                <a:gd name="connsiteY63" fmla="*/ 3013437 h 3498714"/>
                <a:gd name="connsiteX64" fmla="*/ 4707054 w 4818179"/>
                <a:gd name="connsiteY64" fmla="*/ 3124562 h 3498714"/>
                <a:gd name="connsiteX65" fmla="*/ 4545125 w 4818179"/>
                <a:gd name="connsiteY65" fmla="*/ 3124562 h 3498714"/>
                <a:gd name="connsiteX66" fmla="*/ 4545125 w 4818179"/>
                <a:gd name="connsiteY66" fmla="*/ 3361625 h 3498714"/>
                <a:gd name="connsiteX67" fmla="*/ 4436113 w 4818179"/>
                <a:gd name="connsiteY67" fmla="*/ 3470637 h 3498714"/>
                <a:gd name="connsiteX68" fmla="*/ 4235039 w 4818179"/>
                <a:gd name="connsiteY68" fmla="*/ 3470637 h 3498714"/>
                <a:gd name="connsiteX69" fmla="*/ 2589325 w 4818179"/>
                <a:gd name="connsiteY69" fmla="*/ 3124562 h 3498714"/>
                <a:gd name="connsiteX70" fmla="*/ 2589325 w 4818179"/>
                <a:gd name="connsiteY70" fmla="*/ 3361625 h 3498714"/>
                <a:gd name="connsiteX71" fmla="*/ 2480313 w 4818179"/>
                <a:gd name="connsiteY71" fmla="*/ 3470637 h 3498714"/>
                <a:gd name="connsiteX72" fmla="*/ 2279239 w 4818179"/>
                <a:gd name="connsiteY72" fmla="*/ 3470637 h 3498714"/>
                <a:gd name="connsiteX73" fmla="*/ 2170227 w 4818179"/>
                <a:gd name="connsiteY73" fmla="*/ 3361625 h 3498714"/>
                <a:gd name="connsiteX74" fmla="*/ 2170227 w 4818179"/>
                <a:gd name="connsiteY74" fmla="*/ 3124562 h 3498714"/>
                <a:gd name="connsiteX75" fmla="*/ 2052754 w 4818179"/>
                <a:gd name="connsiteY75" fmla="*/ 3124562 h 3498714"/>
                <a:gd name="connsiteX76" fmla="*/ 1941629 w 4818179"/>
                <a:gd name="connsiteY76" fmla="*/ 3013437 h 3498714"/>
                <a:gd name="connsiteX77" fmla="*/ 2052754 w 4818179"/>
                <a:gd name="connsiteY77" fmla="*/ 2902312 h 3498714"/>
                <a:gd name="connsiteX78" fmla="*/ 682782 w 4818179"/>
                <a:gd name="connsiteY78" fmla="*/ 0 h 3498714"/>
                <a:gd name="connsiteX0" fmla="*/ 2251033 w 4818179"/>
                <a:gd name="connsiteY0" fmla="*/ 2089512 h 3498714"/>
                <a:gd name="connsiteX1" fmla="*/ 2070058 w 4818179"/>
                <a:gd name="connsiteY1" fmla="*/ 2270487 h 3498714"/>
                <a:gd name="connsiteX2" fmla="*/ 2251033 w 4818179"/>
                <a:gd name="connsiteY2" fmla="*/ 2451462 h 3498714"/>
                <a:gd name="connsiteX3" fmla="*/ 2432008 w 4818179"/>
                <a:gd name="connsiteY3" fmla="*/ 2270487 h 3498714"/>
                <a:gd name="connsiteX4" fmla="*/ 2251033 w 4818179"/>
                <a:gd name="connsiteY4" fmla="*/ 2089512 h 3498714"/>
                <a:gd name="connsiteX5" fmla="*/ 2842751 w 4818179"/>
                <a:gd name="connsiteY5" fmla="*/ 1749356 h 3498714"/>
                <a:gd name="connsiteX6" fmla="*/ 2392797 w 4818179"/>
                <a:gd name="connsiteY6" fmla="*/ 1878907 h 3498714"/>
                <a:gd name="connsiteX7" fmla="*/ 2478781 w 4818179"/>
                <a:gd name="connsiteY7" fmla="*/ 1920808 h 3498714"/>
                <a:gd name="connsiteX8" fmla="*/ 2842751 w 4818179"/>
                <a:gd name="connsiteY8" fmla="*/ 1749356 h 3498714"/>
                <a:gd name="connsiteX9" fmla="*/ 2534724 w 4818179"/>
                <a:gd name="connsiteY9" fmla="*/ 982297 h 3498714"/>
                <a:gd name="connsiteX10" fmla="*/ 1970999 w 4818179"/>
                <a:gd name="connsiteY10" fmla="*/ 2826112 h 3498714"/>
                <a:gd name="connsiteX11" fmla="*/ 1850348 w 4818179"/>
                <a:gd name="connsiteY11" fmla="*/ 2705462 h 3498714"/>
                <a:gd name="connsiteX12" fmla="*/ 1956769 w 4818179"/>
                <a:gd name="connsiteY12" fmla="*/ 2587684 h 3498714"/>
                <a:gd name="connsiteX13" fmla="*/ 1823360 w 4818179"/>
                <a:gd name="connsiteY13" fmla="*/ 2279217 h 3498714"/>
                <a:gd name="connsiteX14" fmla="*/ 2217440 w 4818179"/>
                <a:gd name="connsiteY14" fmla="*/ 1856216 h 3498714"/>
                <a:gd name="connsiteX15" fmla="*/ 2534724 w 4818179"/>
                <a:gd name="connsiteY15" fmla="*/ 982297 h 3498714"/>
                <a:gd name="connsiteX16" fmla="*/ 358791 w 4818179"/>
                <a:gd name="connsiteY16" fmla="*/ 644545 h 3498714"/>
                <a:gd name="connsiteX17" fmla="*/ 1006774 w 4818179"/>
                <a:gd name="connsiteY17" fmla="*/ 644545 h 3498714"/>
                <a:gd name="connsiteX18" fmla="*/ 1542636 w 4818179"/>
                <a:gd name="connsiteY18" fmla="*/ 1193969 h 3498714"/>
                <a:gd name="connsiteX19" fmla="*/ 1929878 w 4818179"/>
                <a:gd name="connsiteY19" fmla="*/ 1193970 h 3498714"/>
                <a:gd name="connsiteX20" fmla="*/ 2070059 w 4818179"/>
                <a:gd name="connsiteY20" fmla="*/ 1334152 h 3498714"/>
                <a:gd name="connsiteX21" fmla="*/ 1929878 w 4818179"/>
                <a:gd name="connsiteY21" fmla="*/ 1474333 h 3498714"/>
                <a:gd name="connsiteX22" fmla="*/ 1520943 w 4818179"/>
                <a:gd name="connsiteY22" fmla="*/ 1470388 h 3498714"/>
                <a:gd name="connsiteX23" fmla="*/ 1332825 w 4818179"/>
                <a:gd name="connsiteY23" fmla="*/ 1367201 h 3498714"/>
                <a:gd name="connsiteX24" fmla="*/ 1106501 w 4818179"/>
                <a:gd name="connsiteY24" fmla="*/ 1098289 h 3498714"/>
                <a:gd name="connsiteX25" fmla="*/ 1101049 w 4818179"/>
                <a:gd name="connsiteY25" fmla="*/ 1092836 h 3498714"/>
                <a:gd name="connsiteX26" fmla="*/ 1046523 w 4818179"/>
                <a:gd name="connsiteY26" fmla="*/ 1092836 h 3498714"/>
                <a:gd name="connsiteX27" fmla="*/ 1041071 w 4818179"/>
                <a:gd name="connsiteY27" fmla="*/ 1098289 h 3498714"/>
                <a:gd name="connsiteX28" fmla="*/ 1042136 w 4818179"/>
                <a:gd name="connsiteY28" fmla="*/ 1419754 h 3498714"/>
                <a:gd name="connsiteX29" fmla="*/ 1042136 w 4818179"/>
                <a:gd name="connsiteY29" fmla="*/ 3337652 h 3498714"/>
                <a:gd name="connsiteX30" fmla="*/ 881075 w 4818179"/>
                <a:gd name="connsiteY30" fmla="*/ 3498714 h 3498714"/>
                <a:gd name="connsiteX31" fmla="*/ 720012 w 4818179"/>
                <a:gd name="connsiteY31" fmla="*/ 3337652 h 3498714"/>
                <a:gd name="connsiteX32" fmla="*/ 720012 w 4818179"/>
                <a:gd name="connsiteY32" fmla="*/ 2125717 h 3498714"/>
                <a:gd name="connsiteX33" fmla="*/ 718947 w 4818179"/>
                <a:gd name="connsiteY33" fmla="*/ 2033194 h 3498714"/>
                <a:gd name="connsiteX34" fmla="*/ 714162 w 4818179"/>
                <a:gd name="connsiteY34" fmla="*/ 2028410 h 3498714"/>
                <a:gd name="connsiteX35" fmla="*/ 654759 w 4818179"/>
                <a:gd name="connsiteY35" fmla="*/ 2028410 h 3498714"/>
                <a:gd name="connsiteX36" fmla="*/ 649974 w 4818179"/>
                <a:gd name="connsiteY36" fmla="*/ 2033194 h 3498714"/>
                <a:gd name="connsiteX37" fmla="*/ 649974 w 4818179"/>
                <a:gd name="connsiteY37" fmla="*/ 2125717 h 3498714"/>
                <a:gd name="connsiteX38" fmla="*/ 649574 w 4818179"/>
                <a:gd name="connsiteY38" fmla="*/ 3337652 h 3498714"/>
                <a:gd name="connsiteX39" fmla="*/ 488511 w 4818179"/>
                <a:gd name="connsiteY39" fmla="*/ 3498714 h 3498714"/>
                <a:gd name="connsiteX40" fmla="*/ 327450 w 4818179"/>
                <a:gd name="connsiteY40" fmla="*/ 3337652 h 3498714"/>
                <a:gd name="connsiteX41" fmla="*/ 327450 w 4818179"/>
                <a:gd name="connsiteY41" fmla="*/ 1458216 h 3498714"/>
                <a:gd name="connsiteX42" fmla="*/ 322427 w 4818179"/>
                <a:gd name="connsiteY42" fmla="*/ 1098205 h 3498714"/>
                <a:gd name="connsiteX43" fmla="*/ 317058 w 4818179"/>
                <a:gd name="connsiteY43" fmla="*/ 1092836 h 3498714"/>
                <a:gd name="connsiteX44" fmla="*/ 263371 w 4818179"/>
                <a:gd name="connsiteY44" fmla="*/ 1092836 h 3498714"/>
                <a:gd name="connsiteX45" fmla="*/ 258001 w 4818179"/>
                <a:gd name="connsiteY45" fmla="*/ 1098205 h 3498714"/>
                <a:gd name="connsiteX46" fmla="*/ 258001 w 4818179"/>
                <a:gd name="connsiteY46" fmla="*/ 1444446 h 3498714"/>
                <a:gd name="connsiteX47" fmla="*/ 257700 w 4818179"/>
                <a:gd name="connsiteY47" fmla="*/ 1444370 h 3498714"/>
                <a:gd name="connsiteX48" fmla="*/ 257700 w 4818179"/>
                <a:gd name="connsiteY48" fmla="*/ 1912573 h 3498714"/>
                <a:gd name="connsiteX49" fmla="*/ 128850 w 4818179"/>
                <a:gd name="connsiteY49" fmla="*/ 2041423 h 3498714"/>
                <a:gd name="connsiteX50" fmla="*/ 0 w 4818179"/>
                <a:gd name="connsiteY50" fmla="*/ 1912573 h 3498714"/>
                <a:gd name="connsiteX51" fmla="*/ 0 w 4818179"/>
                <a:gd name="connsiteY51" fmla="*/ 1101802 h 3498714"/>
                <a:gd name="connsiteX52" fmla="*/ 0 w 4818179"/>
                <a:gd name="connsiteY52" fmla="*/ 1003338 h 3498714"/>
                <a:gd name="connsiteX53" fmla="*/ 0 w 4818179"/>
                <a:gd name="connsiteY53" fmla="*/ 982486 h 3498714"/>
                <a:gd name="connsiteX54" fmla="*/ 12733 w 4818179"/>
                <a:gd name="connsiteY54" fmla="*/ 894663 h 3498714"/>
                <a:gd name="connsiteX55" fmla="*/ 20539 w 4818179"/>
                <a:gd name="connsiteY55" fmla="*/ 868773 h 3498714"/>
                <a:gd name="connsiteX56" fmla="*/ 358791 w 4818179"/>
                <a:gd name="connsiteY56" fmla="*/ 644545 h 3498714"/>
                <a:gd name="connsiteX57" fmla="*/ 682782 w 4818179"/>
                <a:gd name="connsiteY57" fmla="*/ 0 h 3498714"/>
                <a:gd name="connsiteX58" fmla="*/ 966919 w 4818179"/>
                <a:gd name="connsiteY58" fmla="*/ 284138 h 3498714"/>
                <a:gd name="connsiteX59" fmla="*/ 682782 w 4818179"/>
                <a:gd name="connsiteY59" fmla="*/ 568275 h 3498714"/>
                <a:gd name="connsiteX60" fmla="*/ 398645 w 4818179"/>
                <a:gd name="connsiteY60" fmla="*/ 284138 h 3498714"/>
                <a:gd name="connsiteX61" fmla="*/ 682782 w 4818179"/>
                <a:gd name="connsiteY61" fmla="*/ 0 h 3498714"/>
                <a:gd name="connsiteX62" fmla="*/ 4818179 w 4818179"/>
                <a:gd name="connsiteY62" fmla="*/ 3013437 h 3498714"/>
                <a:gd name="connsiteX63" fmla="*/ 4707054 w 4818179"/>
                <a:gd name="connsiteY63" fmla="*/ 3124562 h 3498714"/>
                <a:gd name="connsiteX64" fmla="*/ 4545125 w 4818179"/>
                <a:gd name="connsiteY64" fmla="*/ 3124562 h 3498714"/>
                <a:gd name="connsiteX65" fmla="*/ 4545125 w 4818179"/>
                <a:gd name="connsiteY65" fmla="*/ 3361625 h 3498714"/>
                <a:gd name="connsiteX66" fmla="*/ 4436113 w 4818179"/>
                <a:gd name="connsiteY66" fmla="*/ 3470637 h 3498714"/>
                <a:gd name="connsiteX67" fmla="*/ 4235039 w 4818179"/>
                <a:gd name="connsiteY67" fmla="*/ 3470637 h 3498714"/>
                <a:gd name="connsiteX68" fmla="*/ 2589325 w 4818179"/>
                <a:gd name="connsiteY68" fmla="*/ 3124562 h 3498714"/>
                <a:gd name="connsiteX69" fmla="*/ 2589325 w 4818179"/>
                <a:gd name="connsiteY69" fmla="*/ 3361625 h 3498714"/>
                <a:gd name="connsiteX70" fmla="*/ 2480313 w 4818179"/>
                <a:gd name="connsiteY70" fmla="*/ 3470637 h 3498714"/>
                <a:gd name="connsiteX71" fmla="*/ 2279239 w 4818179"/>
                <a:gd name="connsiteY71" fmla="*/ 3470637 h 3498714"/>
                <a:gd name="connsiteX72" fmla="*/ 2170227 w 4818179"/>
                <a:gd name="connsiteY72" fmla="*/ 3361625 h 3498714"/>
                <a:gd name="connsiteX73" fmla="*/ 2170227 w 4818179"/>
                <a:gd name="connsiteY73" fmla="*/ 3124562 h 3498714"/>
                <a:gd name="connsiteX74" fmla="*/ 2052754 w 4818179"/>
                <a:gd name="connsiteY74" fmla="*/ 3124562 h 3498714"/>
                <a:gd name="connsiteX75" fmla="*/ 1941629 w 4818179"/>
                <a:gd name="connsiteY75" fmla="*/ 3013437 h 3498714"/>
                <a:gd name="connsiteX76" fmla="*/ 2052754 w 4818179"/>
                <a:gd name="connsiteY76" fmla="*/ 2902312 h 3498714"/>
                <a:gd name="connsiteX77" fmla="*/ 682782 w 4818179"/>
                <a:gd name="connsiteY77" fmla="*/ 0 h 3498714"/>
                <a:gd name="connsiteX0" fmla="*/ 2251033 w 4707054"/>
                <a:gd name="connsiteY0" fmla="*/ 2089512 h 3498714"/>
                <a:gd name="connsiteX1" fmla="*/ 2070058 w 4707054"/>
                <a:gd name="connsiteY1" fmla="*/ 2270487 h 3498714"/>
                <a:gd name="connsiteX2" fmla="*/ 2251033 w 4707054"/>
                <a:gd name="connsiteY2" fmla="*/ 2451462 h 3498714"/>
                <a:gd name="connsiteX3" fmla="*/ 2432008 w 4707054"/>
                <a:gd name="connsiteY3" fmla="*/ 2270487 h 3498714"/>
                <a:gd name="connsiteX4" fmla="*/ 2251033 w 4707054"/>
                <a:gd name="connsiteY4" fmla="*/ 2089512 h 3498714"/>
                <a:gd name="connsiteX5" fmla="*/ 2842751 w 4707054"/>
                <a:gd name="connsiteY5" fmla="*/ 1749356 h 3498714"/>
                <a:gd name="connsiteX6" fmla="*/ 2392797 w 4707054"/>
                <a:gd name="connsiteY6" fmla="*/ 1878907 h 3498714"/>
                <a:gd name="connsiteX7" fmla="*/ 2478781 w 4707054"/>
                <a:gd name="connsiteY7" fmla="*/ 1920808 h 3498714"/>
                <a:gd name="connsiteX8" fmla="*/ 2842751 w 4707054"/>
                <a:gd name="connsiteY8" fmla="*/ 1749356 h 3498714"/>
                <a:gd name="connsiteX9" fmla="*/ 2534724 w 4707054"/>
                <a:gd name="connsiteY9" fmla="*/ 982297 h 3498714"/>
                <a:gd name="connsiteX10" fmla="*/ 1970999 w 4707054"/>
                <a:gd name="connsiteY10" fmla="*/ 2826112 h 3498714"/>
                <a:gd name="connsiteX11" fmla="*/ 1850348 w 4707054"/>
                <a:gd name="connsiteY11" fmla="*/ 2705462 h 3498714"/>
                <a:gd name="connsiteX12" fmla="*/ 1956769 w 4707054"/>
                <a:gd name="connsiteY12" fmla="*/ 2587684 h 3498714"/>
                <a:gd name="connsiteX13" fmla="*/ 1823360 w 4707054"/>
                <a:gd name="connsiteY13" fmla="*/ 2279217 h 3498714"/>
                <a:gd name="connsiteX14" fmla="*/ 2217440 w 4707054"/>
                <a:gd name="connsiteY14" fmla="*/ 1856216 h 3498714"/>
                <a:gd name="connsiteX15" fmla="*/ 2534724 w 4707054"/>
                <a:gd name="connsiteY15" fmla="*/ 982297 h 3498714"/>
                <a:gd name="connsiteX16" fmla="*/ 358791 w 4707054"/>
                <a:gd name="connsiteY16" fmla="*/ 644545 h 3498714"/>
                <a:gd name="connsiteX17" fmla="*/ 1006774 w 4707054"/>
                <a:gd name="connsiteY17" fmla="*/ 644545 h 3498714"/>
                <a:gd name="connsiteX18" fmla="*/ 1542636 w 4707054"/>
                <a:gd name="connsiteY18" fmla="*/ 1193969 h 3498714"/>
                <a:gd name="connsiteX19" fmla="*/ 1929878 w 4707054"/>
                <a:gd name="connsiteY19" fmla="*/ 1193970 h 3498714"/>
                <a:gd name="connsiteX20" fmla="*/ 2070059 w 4707054"/>
                <a:gd name="connsiteY20" fmla="*/ 1334152 h 3498714"/>
                <a:gd name="connsiteX21" fmla="*/ 1929878 w 4707054"/>
                <a:gd name="connsiteY21" fmla="*/ 1474333 h 3498714"/>
                <a:gd name="connsiteX22" fmla="*/ 1520943 w 4707054"/>
                <a:gd name="connsiteY22" fmla="*/ 1470388 h 3498714"/>
                <a:gd name="connsiteX23" fmla="*/ 1332825 w 4707054"/>
                <a:gd name="connsiteY23" fmla="*/ 1367201 h 3498714"/>
                <a:gd name="connsiteX24" fmla="*/ 1106501 w 4707054"/>
                <a:gd name="connsiteY24" fmla="*/ 1098289 h 3498714"/>
                <a:gd name="connsiteX25" fmla="*/ 1101049 w 4707054"/>
                <a:gd name="connsiteY25" fmla="*/ 1092836 h 3498714"/>
                <a:gd name="connsiteX26" fmla="*/ 1046523 w 4707054"/>
                <a:gd name="connsiteY26" fmla="*/ 1092836 h 3498714"/>
                <a:gd name="connsiteX27" fmla="*/ 1041071 w 4707054"/>
                <a:gd name="connsiteY27" fmla="*/ 1098289 h 3498714"/>
                <a:gd name="connsiteX28" fmla="*/ 1042136 w 4707054"/>
                <a:gd name="connsiteY28" fmla="*/ 1419754 h 3498714"/>
                <a:gd name="connsiteX29" fmla="*/ 1042136 w 4707054"/>
                <a:gd name="connsiteY29" fmla="*/ 3337652 h 3498714"/>
                <a:gd name="connsiteX30" fmla="*/ 881075 w 4707054"/>
                <a:gd name="connsiteY30" fmla="*/ 3498714 h 3498714"/>
                <a:gd name="connsiteX31" fmla="*/ 720012 w 4707054"/>
                <a:gd name="connsiteY31" fmla="*/ 3337652 h 3498714"/>
                <a:gd name="connsiteX32" fmla="*/ 720012 w 4707054"/>
                <a:gd name="connsiteY32" fmla="*/ 2125717 h 3498714"/>
                <a:gd name="connsiteX33" fmla="*/ 718947 w 4707054"/>
                <a:gd name="connsiteY33" fmla="*/ 2033194 h 3498714"/>
                <a:gd name="connsiteX34" fmla="*/ 714162 w 4707054"/>
                <a:gd name="connsiteY34" fmla="*/ 2028410 h 3498714"/>
                <a:gd name="connsiteX35" fmla="*/ 654759 w 4707054"/>
                <a:gd name="connsiteY35" fmla="*/ 2028410 h 3498714"/>
                <a:gd name="connsiteX36" fmla="*/ 649974 w 4707054"/>
                <a:gd name="connsiteY36" fmla="*/ 2033194 h 3498714"/>
                <a:gd name="connsiteX37" fmla="*/ 649974 w 4707054"/>
                <a:gd name="connsiteY37" fmla="*/ 2125717 h 3498714"/>
                <a:gd name="connsiteX38" fmla="*/ 649574 w 4707054"/>
                <a:gd name="connsiteY38" fmla="*/ 3337652 h 3498714"/>
                <a:gd name="connsiteX39" fmla="*/ 488511 w 4707054"/>
                <a:gd name="connsiteY39" fmla="*/ 3498714 h 3498714"/>
                <a:gd name="connsiteX40" fmla="*/ 327450 w 4707054"/>
                <a:gd name="connsiteY40" fmla="*/ 3337652 h 3498714"/>
                <a:gd name="connsiteX41" fmla="*/ 327450 w 4707054"/>
                <a:gd name="connsiteY41" fmla="*/ 1458216 h 3498714"/>
                <a:gd name="connsiteX42" fmla="*/ 322427 w 4707054"/>
                <a:gd name="connsiteY42" fmla="*/ 1098205 h 3498714"/>
                <a:gd name="connsiteX43" fmla="*/ 317058 w 4707054"/>
                <a:gd name="connsiteY43" fmla="*/ 1092836 h 3498714"/>
                <a:gd name="connsiteX44" fmla="*/ 263371 w 4707054"/>
                <a:gd name="connsiteY44" fmla="*/ 1092836 h 3498714"/>
                <a:gd name="connsiteX45" fmla="*/ 258001 w 4707054"/>
                <a:gd name="connsiteY45" fmla="*/ 1098205 h 3498714"/>
                <a:gd name="connsiteX46" fmla="*/ 258001 w 4707054"/>
                <a:gd name="connsiteY46" fmla="*/ 1444446 h 3498714"/>
                <a:gd name="connsiteX47" fmla="*/ 257700 w 4707054"/>
                <a:gd name="connsiteY47" fmla="*/ 1444370 h 3498714"/>
                <a:gd name="connsiteX48" fmla="*/ 257700 w 4707054"/>
                <a:gd name="connsiteY48" fmla="*/ 1912573 h 3498714"/>
                <a:gd name="connsiteX49" fmla="*/ 128850 w 4707054"/>
                <a:gd name="connsiteY49" fmla="*/ 2041423 h 3498714"/>
                <a:gd name="connsiteX50" fmla="*/ 0 w 4707054"/>
                <a:gd name="connsiteY50" fmla="*/ 1912573 h 3498714"/>
                <a:gd name="connsiteX51" fmla="*/ 0 w 4707054"/>
                <a:gd name="connsiteY51" fmla="*/ 1101802 h 3498714"/>
                <a:gd name="connsiteX52" fmla="*/ 0 w 4707054"/>
                <a:gd name="connsiteY52" fmla="*/ 1003338 h 3498714"/>
                <a:gd name="connsiteX53" fmla="*/ 0 w 4707054"/>
                <a:gd name="connsiteY53" fmla="*/ 982486 h 3498714"/>
                <a:gd name="connsiteX54" fmla="*/ 12733 w 4707054"/>
                <a:gd name="connsiteY54" fmla="*/ 894663 h 3498714"/>
                <a:gd name="connsiteX55" fmla="*/ 20539 w 4707054"/>
                <a:gd name="connsiteY55" fmla="*/ 868773 h 3498714"/>
                <a:gd name="connsiteX56" fmla="*/ 358791 w 4707054"/>
                <a:gd name="connsiteY56" fmla="*/ 644545 h 3498714"/>
                <a:gd name="connsiteX57" fmla="*/ 682782 w 4707054"/>
                <a:gd name="connsiteY57" fmla="*/ 0 h 3498714"/>
                <a:gd name="connsiteX58" fmla="*/ 966919 w 4707054"/>
                <a:gd name="connsiteY58" fmla="*/ 284138 h 3498714"/>
                <a:gd name="connsiteX59" fmla="*/ 682782 w 4707054"/>
                <a:gd name="connsiteY59" fmla="*/ 568275 h 3498714"/>
                <a:gd name="connsiteX60" fmla="*/ 398645 w 4707054"/>
                <a:gd name="connsiteY60" fmla="*/ 284138 h 3498714"/>
                <a:gd name="connsiteX61" fmla="*/ 682782 w 4707054"/>
                <a:gd name="connsiteY61" fmla="*/ 0 h 3498714"/>
                <a:gd name="connsiteX62" fmla="*/ 4707054 w 4707054"/>
                <a:gd name="connsiteY62" fmla="*/ 3124562 h 3498714"/>
                <a:gd name="connsiteX63" fmla="*/ 4545125 w 4707054"/>
                <a:gd name="connsiteY63" fmla="*/ 3124562 h 3498714"/>
                <a:gd name="connsiteX64" fmla="*/ 4545125 w 4707054"/>
                <a:gd name="connsiteY64" fmla="*/ 3361625 h 3498714"/>
                <a:gd name="connsiteX65" fmla="*/ 4436113 w 4707054"/>
                <a:gd name="connsiteY65" fmla="*/ 3470637 h 3498714"/>
                <a:gd name="connsiteX66" fmla="*/ 4235039 w 4707054"/>
                <a:gd name="connsiteY66" fmla="*/ 3470637 h 3498714"/>
                <a:gd name="connsiteX67" fmla="*/ 2589325 w 4707054"/>
                <a:gd name="connsiteY67" fmla="*/ 3124562 h 3498714"/>
                <a:gd name="connsiteX68" fmla="*/ 2589325 w 4707054"/>
                <a:gd name="connsiteY68" fmla="*/ 3361625 h 3498714"/>
                <a:gd name="connsiteX69" fmla="*/ 2480313 w 4707054"/>
                <a:gd name="connsiteY69" fmla="*/ 3470637 h 3498714"/>
                <a:gd name="connsiteX70" fmla="*/ 2279239 w 4707054"/>
                <a:gd name="connsiteY70" fmla="*/ 3470637 h 3498714"/>
                <a:gd name="connsiteX71" fmla="*/ 2170227 w 4707054"/>
                <a:gd name="connsiteY71" fmla="*/ 3361625 h 3498714"/>
                <a:gd name="connsiteX72" fmla="*/ 2170227 w 4707054"/>
                <a:gd name="connsiteY72" fmla="*/ 3124562 h 3498714"/>
                <a:gd name="connsiteX73" fmla="*/ 2052754 w 4707054"/>
                <a:gd name="connsiteY73" fmla="*/ 3124562 h 3498714"/>
                <a:gd name="connsiteX74" fmla="*/ 1941629 w 4707054"/>
                <a:gd name="connsiteY74" fmla="*/ 3013437 h 3498714"/>
                <a:gd name="connsiteX75" fmla="*/ 2052754 w 4707054"/>
                <a:gd name="connsiteY75" fmla="*/ 2902312 h 3498714"/>
                <a:gd name="connsiteX76" fmla="*/ 682782 w 4707054"/>
                <a:gd name="connsiteY76" fmla="*/ 0 h 3498714"/>
                <a:gd name="connsiteX0" fmla="*/ 2251033 w 4545125"/>
                <a:gd name="connsiteY0" fmla="*/ 2089512 h 3498714"/>
                <a:gd name="connsiteX1" fmla="*/ 2070058 w 4545125"/>
                <a:gd name="connsiteY1" fmla="*/ 2270487 h 3498714"/>
                <a:gd name="connsiteX2" fmla="*/ 2251033 w 4545125"/>
                <a:gd name="connsiteY2" fmla="*/ 2451462 h 3498714"/>
                <a:gd name="connsiteX3" fmla="*/ 2432008 w 4545125"/>
                <a:gd name="connsiteY3" fmla="*/ 2270487 h 3498714"/>
                <a:gd name="connsiteX4" fmla="*/ 2251033 w 4545125"/>
                <a:gd name="connsiteY4" fmla="*/ 2089512 h 3498714"/>
                <a:gd name="connsiteX5" fmla="*/ 2842751 w 4545125"/>
                <a:gd name="connsiteY5" fmla="*/ 1749356 h 3498714"/>
                <a:gd name="connsiteX6" fmla="*/ 2392797 w 4545125"/>
                <a:gd name="connsiteY6" fmla="*/ 1878907 h 3498714"/>
                <a:gd name="connsiteX7" fmla="*/ 2478781 w 4545125"/>
                <a:gd name="connsiteY7" fmla="*/ 1920808 h 3498714"/>
                <a:gd name="connsiteX8" fmla="*/ 2842751 w 4545125"/>
                <a:gd name="connsiteY8" fmla="*/ 1749356 h 3498714"/>
                <a:gd name="connsiteX9" fmla="*/ 2534724 w 4545125"/>
                <a:gd name="connsiteY9" fmla="*/ 982297 h 3498714"/>
                <a:gd name="connsiteX10" fmla="*/ 1970999 w 4545125"/>
                <a:gd name="connsiteY10" fmla="*/ 2826112 h 3498714"/>
                <a:gd name="connsiteX11" fmla="*/ 1850348 w 4545125"/>
                <a:gd name="connsiteY11" fmla="*/ 2705462 h 3498714"/>
                <a:gd name="connsiteX12" fmla="*/ 1956769 w 4545125"/>
                <a:gd name="connsiteY12" fmla="*/ 2587684 h 3498714"/>
                <a:gd name="connsiteX13" fmla="*/ 1823360 w 4545125"/>
                <a:gd name="connsiteY13" fmla="*/ 2279217 h 3498714"/>
                <a:gd name="connsiteX14" fmla="*/ 2217440 w 4545125"/>
                <a:gd name="connsiteY14" fmla="*/ 1856216 h 3498714"/>
                <a:gd name="connsiteX15" fmla="*/ 2534724 w 4545125"/>
                <a:gd name="connsiteY15" fmla="*/ 982297 h 3498714"/>
                <a:gd name="connsiteX16" fmla="*/ 358791 w 4545125"/>
                <a:gd name="connsiteY16" fmla="*/ 644545 h 3498714"/>
                <a:gd name="connsiteX17" fmla="*/ 1006774 w 4545125"/>
                <a:gd name="connsiteY17" fmla="*/ 644545 h 3498714"/>
                <a:gd name="connsiteX18" fmla="*/ 1542636 w 4545125"/>
                <a:gd name="connsiteY18" fmla="*/ 1193969 h 3498714"/>
                <a:gd name="connsiteX19" fmla="*/ 1929878 w 4545125"/>
                <a:gd name="connsiteY19" fmla="*/ 1193970 h 3498714"/>
                <a:gd name="connsiteX20" fmla="*/ 2070059 w 4545125"/>
                <a:gd name="connsiteY20" fmla="*/ 1334152 h 3498714"/>
                <a:gd name="connsiteX21" fmla="*/ 1929878 w 4545125"/>
                <a:gd name="connsiteY21" fmla="*/ 1474333 h 3498714"/>
                <a:gd name="connsiteX22" fmla="*/ 1520943 w 4545125"/>
                <a:gd name="connsiteY22" fmla="*/ 1470388 h 3498714"/>
                <a:gd name="connsiteX23" fmla="*/ 1332825 w 4545125"/>
                <a:gd name="connsiteY23" fmla="*/ 1367201 h 3498714"/>
                <a:gd name="connsiteX24" fmla="*/ 1106501 w 4545125"/>
                <a:gd name="connsiteY24" fmla="*/ 1098289 h 3498714"/>
                <a:gd name="connsiteX25" fmla="*/ 1101049 w 4545125"/>
                <a:gd name="connsiteY25" fmla="*/ 1092836 h 3498714"/>
                <a:gd name="connsiteX26" fmla="*/ 1046523 w 4545125"/>
                <a:gd name="connsiteY26" fmla="*/ 1092836 h 3498714"/>
                <a:gd name="connsiteX27" fmla="*/ 1041071 w 4545125"/>
                <a:gd name="connsiteY27" fmla="*/ 1098289 h 3498714"/>
                <a:gd name="connsiteX28" fmla="*/ 1042136 w 4545125"/>
                <a:gd name="connsiteY28" fmla="*/ 1419754 h 3498714"/>
                <a:gd name="connsiteX29" fmla="*/ 1042136 w 4545125"/>
                <a:gd name="connsiteY29" fmla="*/ 3337652 h 3498714"/>
                <a:gd name="connsiteX30" fmla="*/ 881075 w 4545125"/>
                <a:gd name="connsiteY30" fmla="*/ 3498714 h 3498714"/>
                <a:gd name="connsiteX31" fmla="*/ 720012 w 4545125"/>
                <a:gd name="connsiteY31" fmla="*/ 3337652 h 3498714"/>
                <a:gd name="connsiteX32" fmla="*/ 720012 w 4545125"/>
                <a:gd name="connsiteY32" fmla="*/ 2125717 h 3498714"/>
                <a:gd name="connsiteX33" fmla="*/ 718947 w 4545125"/>
                <a:gd name="connsiteY33" fmla="*/ 2033194 h 3498714"/>
                <a:gd name="connsiteX34" fmla="*/ 714162 w 4545125"/>
                <a:gd name="connsiteY34" fmla="*/ 2028410 h 3498714"/>
                <a:gd name="connsiteX35" fmla="*/ 654759 w 4545125"/>
                <a:gd name="connsiteY35" fmla="*/ 2028410 h 3498714"/>
                <a:gd name="connsiteX36" fmla="*/ 649974 w 4545125"/>
                <a:gd name="connsiteY36" fmla="*/ 2033194 h 3498714"/>
                <a:gd name="connsiteX37" fmla="*/ 649974 w 4545125"/>
                <a:gd name="connsiteY37" fmla="*/ 2125717 h 3498714"/>
                <a:gd name="connsiteX38" fmla="*/ 649574 w 4545125"/>
                <a:gd name="connsiteY38" fmla="*/ 3337652 h 3498714"/>
                <a:gd name="connsiteX39" fmla="*/ 488511 w 4545125"/>
                <a:gd name="connsiteY39" fmla="*/ 3498714 h 3498714"/>
                <a:gd name="connsiteX40" fmla="*/ 327450 w 4545125"/>
                <a:gd name="connsiteY40" fmla="*/ 3337652 h 3498714"/>
                <a:gd name="connsiteX41" fmla="*/ 327450 w 4545125"/>
                <a:gd name="connsiteY41" fmla="*/ 1458216 h 3498714"/>
                <a:gd name="connsiteX42" fmla="*/ 322427 w 4545125"/>
                <a:gd name="connsiteY42" fmla="*/ 1098205 h 3498714"/>
                <a:gd name="connsiteX43" fmla="*/ 317058 w 4545125"/>
                <a:gd name="connsiteY43" fmla="*/ 1092836 h 3498714"/>
                <a:gd name="connsiteX44" fmla="*/ 263371 w 4545125"/>
                <a:gd name="connsiteY44" fmla="*/ 1092836 h 3498714"/>
                <a:gd name="connsiteX45" fmla="*/ 258001 w 4545125"/>
                <a:gd name="connsiteY45" fmla="*/ 1098205 h 3498714"/>
                <a:gd name="connsiteX46" fmla="*/ 258001 w 4545125"/>
                <a:gd name="connsiteY46" fmla="*/ 1444446 h 3498714"/>
                <a:gd name="connsiteX47" fmla="*/ 257700 w 4545125"/>
                <a:gd name="connsiteY47" fmla="*/ 1444370 h 3498714"/>
                <a:gd name="connsiteX48" fmla="*/ 257700 w 4545125"/>
                <a:gd name="connsiteY48" fmla="*/ 1912573 h 3498714"/>
                <a:gd name="connsiteX49" fmla="*/ 128850 w 4545125"/>
                <a:gd name="connsiteY49" fmla="*/ 2041423 h 3498714"/>
                <a:gd name="connsiteX50" fmla="*/ 0 w 4545125"/>
                <a:gd name="connsiteY50" fmla="*/ 1912573 h 3498714"/>
                <a:gd name="connsiteX51" fmla="*/ 0 w 4545125"/>
                <a:gd name="connsiteY51" fmla="*/ 1101802 h 3498714"/>
                <a:gd name="connsiteX52" fmla="*/ 0 w 4545125"/>
                <a:gd name="connsiteY52" fmla="*/ 1003338 h 3498714"/>
                <a:gd name="connsiteX53" fmla="*/ 0 w 4545125"/>
                <a:gd name="connsiteY53" fmla="*/ 982486 h 3498714"/>
                <a:gd name="connsiteX54" fmla="*/ 12733 w 4545125"/>
                <a:gd name="connsiteY54" fmla="*/ 894663 h 3498714"/>
                <a:gd name="connsiteX55" fmla="*/ 20539 w 4545125"/>
                <a:gd name="connsiteY55" fmla="*/ 868773 h 3498714"/>
                <a:gd name="connsiteX56" fmla="*/ 358791 w 4545125"/>
                <a:gd name="connsiteY56" fmla="*/ 644545 h 3498714"/>
                <a:gd name="connsiteX57" fmla="*/ 682782 w 4545125"/>
                <a:gd name="connsiteY57" fmla="*/ 0 h 3498714"/>
                <a:gd name="connsiteX58" fmla="*/ 966919 w 4545125"/>
                <a:gd name="connsiteY58" fmla="*/ 284138 h 3498714"/>
                <a:gd name="connsiteX59" fmla="*/ 682782 w 4545125"/>
                <a:gd name="connsiteY59" fmla="*/ 568275 h 3498714"/>
                <a:gd name="connsiteX60" fmla="*/ 398645 w 4545125"/>
                <a:gd name="connsiteY60" fmla="*/ 284138 h 3498714"/>
                <a:gd name="connsiteX61" fmla="*/ 682782 w 4545125"/>
                <a:gd name="connsiteY61" fmla="*/ 0 h 3498714"/>
                <a:gd name="connsiteX62" fmla="*/ 4545125 w 4545125"/>
                <a:gd name="connsiteY62" fmla="*/ 3124562 h 3498714"/>
                <a:gd name="connsiteX63" fmla="*/ 4545125 w 4545125"/>
                <a:gd name="connsiteY63" fmla="*/ 3361625 h 3498714"/>
                <a:gd name="connsiteX64" fmla="*/ 4436113 w 4545125"/>
                <a:gd name="connsiteY64" fmla="*/ 3470637 h 3498714"/>
                <a:gd name="connsiteX65" fmla="*/ 4235039 w 4545125"/>
                <a:gd name="connsiteY65" fmla="*/ 3470637 h 3498714"/>
                <a:gd name="connsiteX66" fmla="*/ 2589325 w 4545125"/>
                <a:gd name="connsiteY66" fmla="*/ 3124562 h 3498714"/>
                <a:gd name="connsiteX67" fmla="*/ 2589325 w 4545125"/>
                <a:gd name="connsiteY67" fmla="*/ 3361625 h 3498714"/>
                <a:gd name="connsiteX68" fmla="*/ 2480313 w 4545125"/>
                <a:gd name="connsiteY68" fmla="*/ 3470637 h 3498714"/>
                <a:gd name="connsiteX69" fmla="*/ 2279239 w 4545125"/>
                <a:gd name="connsiteY69" fmla="*/ 3470637 h 3498714"/>
                <a:gd name="connsiteX70" fmla="*/ 2170227 w 4545125"/>
                <a:gd name="connsiteY70" fmla="*/ 3361625 h 3498714"/>
                <a:gd name="connsiteX71" fmla="*/ 2170227 w 4545125"/>
                <a:gd name="connsiteY71" fmla="*/ 3124562 h 3498714"/>
                <a:gd name="connsiteX72" fmla="*/ 2052754 w 4545125"/>
                <a:gd name="connsiteY72" fmla="*/ 3124562 h 3498714"/>
                <a:gd name="connsiteX73" fmla="*/ 1941629 w 4545125"/>
                <a:gd name="connsiteY73" fmla="*/ 3013437 h 3498714"/>
                <a:gd name="connsiteX74" fmla="*/ 2052754 w 4545125"/>
                <a:gd name="connsiteY74" fmla="*/ 2902312 h 3498714"/>
                <a:gd name="connsiteX75" fmla="*/ 682782 w 4545125"/>
                <a:gd name="connsiteY75" fmla="*/ 0 h 3498714"/>
                <a:gd name="connsiteX0" fmla="*/ 2251033 w 4545125"/>
                <a:gd name="connsiteY0" fmla="*/ 2089512 h 3498714"/>
                <a:gd name="connsiteX1" fmla="*/ 2070058 w 4545125"/>
                <a:gd name="connsiteY1" fmla="*/ 2270487 h 3498714"/>
                <a:gd name="connsiteX2" fmla="*/ 2251033 w 4545125"/>
                <a:gd name="connsiteY2" fmla="*/ 2451462 h 3498714"/>
                <a:gd name="connsiteX3" fmla="*/ 2432008 w 4545125"/>
                <a:gd name="connsiteY3" fmla="*/ 2270487 h 3498714"/>
                <a:gd name="connsiteX4" fmla="*/ 2251033 w 4545125"/>
                <a:gd name="connsiteY4" fmla="*/ 2089512 h 3498714"/>
                <a:gd name="connsiteX5" fmla="*/ 2842751 w 4545125"/>
                <a:gd name="connsiteY5" fmla="*/ 1749356 h 3498714"/>
                <a:gd name="connsiteX6" fmla="*/ 2392797 w 4545125"/>
                <a:gd name="connsiteY6" fmla="*/ 1878907 h 3498714"/>
                <a:gd name="connsiteX7" fmla="*/ 2478781 w 4545125"/>
                <a:gd name="connsiteY7" fmla="*/ 1920808 h 3498714"/>
                <a:gd name="connsiteX8" fmla="*/ 2842751 w 4545125"/>
                <a:gd name="connsiteY8" fmla="*/ 1749356 h 3498714"/>
                <a:gd name="connsiteX9" fmla="*/ 2534724 w 4545125"/>
                <a:gd name="connsiteY9" fmla="*/ 982297 h 3498714"/>
                <a:gd name="connsiteX10" fmla="*/ 1970999 w 4545125"/>
                <a:gd name="connsiteY10" fmla="*/ 2826112 h 3498714"/>
                <a:gd name="connsiteX11" fmla="*/ 1850348 w 4545125"/>
                <a:gd name="connsiteY11" fmla="*/ 2705462 h 3498714"/>
                <a:gd name="connsiteX12" fmla="*/ 1956769 w 4545125"/>
                <a:gd name="connsiteY12" fmla="*/ 2587684 h 3498714"/>
                <a:gd name="connsiteX13" fmla="*/ 1823360 w 4545125"/>
                <a:gd name="connsiteY13" fmla="*/ 2279217 h 3498714"/>
                <a:gd name="connsiteX14" fmla="*/ 2217440 w 4545125"/>
                <a:gd name="connsiteY14" fmla="*/ 1856216 h 3498714"/>
                <a:gd name="connsiteX15" fmla="*/ 2534724 w 4545125"/>
                <a:gd name="connsiteY15" fmla="*/ 982297 h 3498714"/>
                <a:gd name="connsiteX16" fmla="*/ 358791 w 4545125"/>
                <a:gd name="connsiteY16" fmla="*/ 644545 h 3498714"/>
                <a:gd name="connsiteX17" fmla="*/ 1006774 w 4545125"/>
                <a:gd name="connsiteY17" fmla="*/ 644545 h 3498714"/>
                <a:gd name="connsiteX18" fmla="*/ 1542636 w 4545125"/>
                <a:gd name="connsiteY18" fmla="*/ 1193969 h 3498714"/>
                <a:gd name="connsiteX19" fmla="*/ 1929878 w 4545125"/>
                <a:gd name="connsiteY19" fmla="*/ 1193970 h 3498714"/>
                <a:gd name="connsiteX20" fmla="*/ 2070059 w 4545125"/>
                <a:gd name="connsiteY20" fmla="*/ 1334152 h 3498714"/>
                <a:gd name="connsiteX21" fmla="*/ 1929878 w 4545125"/>
                <a:gd name="connsiteY21" fmla="*/ 1474333 h 3498714"/>
                <a:gd name="connsiteX22" fmla="*/ 1520943 w 4545125"/>
                <a:gd name="connsiteY22" fmla="*/ 1470388 h 3498714"/>
                <a:gd name="connsiteX23" fmla="*/ 1332825 w 4545125"/>
                <a:gd name="connsiteY23" fmla="*/ 1367201 h 3498714"/>
                <a:gd name="connsiteX24" fmla="*/ 1106501 w 4545125"/>
                <a:gd name="connsiteY24" fmla="*/ 1098289 h 3498714"/>
                <a:gd name="connsiteX25" fmla="*/ 1101049 w 4545125"/>
                <a:gd name="connsiteY25" fmla="*/ 1092836 h 3498714"/>
                <a:gd name="connsiteX26" fmla="*/ 1046523 w 4545125"/>
                <a:gd name="connsiteY26" fmla="*/ 1092836 h 3498714"/>
                <a:gd name="connsiteX27" fmla="*/ 1041071 w 4545125"/>
                <a:gd name="connsiteY27" fmla="*/ 1098289 h 3498714"/>
                <a:gd name="connsiteX28" fmla="*/ 1042136 w 4545125"/>
                <a:gd name="connsiteY28" fmla="*/ 1419754 h 3498714"/>
                <a:gd name="connsiteX29" fmla="*/ 1042136 w 4545125"/>
                <a:gd name="connsiteY29" fmla="*/ 3337652 h 3498714"/>
                <a:gd name="connsiteX30" fmla="*/ 881075 w 4545125"/>
                <a:gd name="connsiteY30" fmla="*/ 3498714 h 3498714"/>
                <a:gd name="connsiteX31" fmla="*/ 720012 w 4545125"/>
                <a:gd name="connsiteY31" fmla="*/ 3337652 h 3498714"/>
                <a:gd name="connsiteX32" fmla="*/ 720012 w 4545125"/>
                <a:gd name="connsiteY32" fmla="*/ 2125717 h 3498714"/>
                <a:gd name="connsiteX33" fmla="*/ 718947 w 4545125"/>
                <a:gd name="connsiteY33" fmla="*/ 2033194 h 3498714"/>
                <a:gd name="connsiteX34" fmla="*/ 714162 w 4545125"/>
                <a:gd name="connsiteY34" fmla="*/ 2028410 h 3498714"/>
                <a:gd name="connsiteX35" fmla="*/ 654759 w 4545125"/>
                <a:gd name="connsiteY35" fmla="*/ 2028410 h 3498714"/>
                <a:gd name="connsiteX36" fmla="*/ 649974 w 4545125"/>
                <a:gd name="connsiteY36" fmla="*/ 2033194 h 3498714"/>
                <a:gd name="connsiteX37" fmla="*/ 649974 w 4545125"/>
                <a:gd name="connsiteY37" fmla="*/ 2125717 h 3498714"/>
                <a:gd name="connsiteX38" fmla="*/ 649574 w 4545125"/>
                <a:gd name="connsiteY38" fmla="*/ 3337652 h 3498714"/>
                <a:gd name="connsiteX39" fmla="*/ 488511 w 4545125"/>
                <a:gd name="connsiteY39" fmla="*/ 3498714 h 3498714"/>
                <a:gd name="connsiteX40" fmla="*/ 327450 w 4545125"/>
                <a:gd name="connsiteY40" fmla="*/ 3337652 h 3498714"/>
                <a:gd name="connsiteX41" fmla="*/ 327450 w 4545125"/>
                <a:gd name="connsiteY41" fmla="*/ 1458216 h 3498714"/>
                <a:gd name="connsiteX42" fmla="*/ 322427 w 4545125"/>
                <a:gd name="connsiteY42" fmla="*/ 1098205 h 3498714"/>
                <a:gd name="connsiteX43" fmla="*/ 317058 w 4545125"/>
                <a:gd name="connsiteY43" fmla="*/ 1092836 h 3498714"/>
                <a:gd name="connsiteX44" fmla="*/ 263371 w 4545125"/>
                <a:gd name="connsiteY44" fmla="*/ 1092836 h 3498714"/>
                <a:gd name="connsiteX45" fmla="*/ 258001 w 4545125"/>
                <a:gd name="connsiteY45" fmla="*/ 1098205 h 3498714"/>
                <a:gd name="connsiteX46" fmla="*/ 258001 w 4545125"/>
                <a:gd name="connsiteY46" fmla="*/ 1444446 h 3498714"/>
                <a:gd name="connsiteX47" fmla="*/ 257700 w 4545125"/>
                <a:gd name="connsiteY47" fmla="*/ 1444370 h 3498714"/>
                <a:gd name="connsiteX48" fmla="*/ 257700 w 4545125"/>
                <a:gd name="connsiteY48" fmla="*/ 1912573 h 3498714"/>
                <a:gd name="connsiteX49" fmla="*/ 128850 w 4545125"/>
                <a:gd name="connsiteY49" fmla="*/ 2041423 h 3498714"/>
                <a:gd name="connsiteX50" fmla="*/ 0 w 4545125"/>
                <a:gd name="connsiteY50" fmla="*/ 1912573 h 3498714"/>
                <a:gd name="connsiteX51" fmla="*/ 0 w 4545125"/>
                <a:gd name="connsiteY51" fmla="*/ 1101802 h 3498714"/>
                <a:gd name="connsiteX52" fmla="*/ 0 w 4545125"/>
                <a:gd name="connsiteY52" fmla="*/ 1003338 h 3498714"/>
                <a:gd name="connsiteX53" fmla="*/ 0 w 4545125"/>
                <a:gd name="connsiteY53" fmla="*/ 982486 h 3498714"/>
                <a:gd name="connsiteX54" fmla="*/ 12733 w 4545125"/>
                <a:gd name="connsiteY54" fmla="*/ 894663 h 3498714"/>
                <a:gd name="connsiteX55" fmla="*/ 20539 w 4545125"/>
                <a:gd name="connsiteY55" fmla="*/ 868773 h 3498714"/>
                <a:gd name="connsiteX56" fmla="*/ 358791 w 4545125"/>
                <a:gd name="connsiteY56" fmla="*/ 644545 h 3498714"/>
                <a:gd name="connsiteX57" fmla="*/ 682782 w 4545125"/>
                <a:gd name="connsiteY57" fmla="*/ 0 h 3498714"/>
                <a:gd name="connsiteX58" fmla="*/ 966919 w 4545125"/>
                <a:gd name="connsiteY58" fmla="*/ 284138 h 3498714"/>
                <a:gd name="connsiteX59" fmla="*/ 682782 w 4545125"/>
                <a:gd name="connsiteY59" fmla="*/ 568275 h 3498714"/>
                <a:gd name="connsiteX60" fmla="*/ 398645 w 4545125"/>
                <a:gd name="connsiteY60" fmla="*/ 284138 h 3498714"/>
                <a:gd name="connsiteX61" fmla="*/ 682782 w 4545125"/>
                <a:gd name="connsiteY61" fmla="*/ 0 h 3498714"/>
                <a:gd name="connsiteX62" fmla="*/ 4545125 w 4545125"/>
                <a:gd name="connsiteY62" fmla="*/ 3361625 h 3498714"/>
                <a:gd name="connsiteX63" fmla="*/ 4436113 w 4545125"/>
                <a:gd name="connsiteY63" fmla="*/ 3470637 h 3498714"/>
                <a:gd name="connsiteX64" fmla="*/ 4235039 w 4545125"/>
                <a:gd name="connsiteY64" fmla="*/ 3470637 h 3498714"/>
                <a:gd name="connsiteX65" fmla="*/ 2589325 w 4545125"/>
                <a:gd name="connsiteY65" fmla="*/ 3124562 h 3498714"/>
                <a:gd name="connsiteX66" fmla="*/ 2589325 w 4545125"/>
                <a:gd name="connsiteY66" fmla="*/ 3361625 h 3498714"/>
                <a:gd name="connsiteX67" fmla="*/ 2480313 w 4545125"/>
                <a:gd name="connsiteY67" fmla="*/ 3470637 h 3498714"/>
                <a:gd name="connsiteX68" fmla="*/ 2279239 w 4545125"/>
                <a:gd name="connsiteY68" fmla="*/ 3470637 h 3498714"/>
                <a:gd name="connsiteX69" fmla="*/ 2170227 w 4545125"/>
                <a:gd name="connsiteY69" fmla="*/ 3361625 h 3498714"/>
                <a:gd name="connsiteX70" fmla="*/ 2170227 w 4545125"/>
                <a:gd name="connsiteY70" fmla="*/ 3124562 h 3498714"/>
                <a:gd name="connsiteX71" fmla="*/ 2052754 w 4545125"/>
                <a:gd name="connsiteY71" fmla="*/ 3124562 h 3498714"/>
                <a:gd name="connsiteX72" fmla="*/ 1941629 w 4545125"/>
                <a:gd name="connsiteY72" fmla="*/ 3013437 h 3498714"/>
                <a:gd name="connsiteX73" fmla="*/ 2052754 w 4545125"/>
                <a:gd name="connsiteY73" fmla="*/ 2902312 h 3498714"/>
                <a:gd name="connsiteX74" fmla="*/ 682782 w 4545125"/>
                <a:gd name="connsiteY74" fmla="*/ 0 h 3498714"/>
                <a:gd name="connsiteX0" fmla="*/ 2251033 w 4436113"/>
                <a:gd name="connsiteY0" fmla="*/ 2089512 h 3498714"/>
                <a:gd name="connsiteX1" fmla="*/ 2070058 w 4436113"/>
                <a:gd name="connsiteY1" fmla="*/ 2270487 h 3498714"/>
                <a:gd name="connsiteX2" fmla="*/ 2251033 w 4436113"/>
                <a:gd name="connsiteY2" fmla="*/ 2451462 h 3498714"/>
                <a:gd name="connsiteX3" fmla="*/ 2432008 w 4436113"/>
                <a:gd name="connsiteY3" fmla="*/ 2270487 h 3498714"/>
                <a:gd name="connsiteX4" fmla="*/ 2251033 w 4436113"/>
                <a:gd name="connsiteY4" fmla="*/ 2089512 h 3498714"/>
                <a:gd name="connsiteX5" fmla="*/ 2842751 w 4436113"/>
                <a:gd name="connsiteY5" fmla="*/ 1749356 h 3498714"/>
                <a:gd name="connsiteX6" fmla="*/ 2392797 w 4436113"/>
                <a:gd name="connsiteY6" fmla="*/ 1878907 h 3498714"/>
                <a:gd name="connsiteX7" fmla="*/ 2478781 w 4436113"/>
                <a:gd name="connsiteY7" fmla="*/ 1920808 h 3498714"/>
                <a:gd name="connsiteX8" fmla="*/ 2842751 w 4436113"/>
                <a:gd name="connsiteY8" fmla="*/ 1749356 h 3498714"/>
                <a:gd name="connsiteX9" fmla="*/ 2534724 w 4436113"/>
                <a:gd name="connsiteY9" fmla="*/ 982297 h 3498714"/>
                <a:gd name="connsiteX10" fmla="*/ 1970999 w 4436113"/>
                <a:gd name="connsiteY10" fmla="*/ 2826112 h 3498714"/>
                <a:gd name="connsiteX11" fmla="*/ 1850348 w 4436113"/>
                <a:gd name="connsiteY11" fmla="*/ 2705462 h 3498714"/>
                <a:gd name="connsiteX12" fmla="*/ 1956769 w 4436113"/>
                <a:gd name="connsiteY12" fmla="*/ 2587684 h 3498714"/>
                <a:gd name="connsiteX13" fmla="*/ 1823360 w 4436113"/>
                <a:gd name="connsiteY13" fmla="*/ 2279217 h 3498714"/>
                <a:gd name="connsiteX14" fmla="*/ 2217440 w 4436113"/>
                <a:gd name="connsiteY14" fmla="*/ 1856216 h 3498714"/>
                <a:gd name="connsiteX15" fmla="*/ 2534724 w 4436113"/>
                <a:gd name="connsiteY15" fmla="*/ 982297 h 3498714"/>
                <a:gd name="connsiteX16" fmla="*/ 358791 w 4436113"/>
                <a:gd name="connsiteY16" fmla="*/ 644545 h 3498714"/>
                <a:gd name="connsiteX17" fmla="*/ 1006774 w 4436113"/>
                <a:gd name="connsiteY17" fmla="*/ 644545 h 3498714"/>
                <a:gd name="connsiteX18" fmla="*/ 1542636 w 4436113"/>
                <a:gd name="connsiteY18" fmla="*/ 1193969 h 3498714"/>
                <a:gd name="connsiteX19" fmla="*/ 1929878 w 4436113"/>
                <a:gd name="connsiteY19" fmla="*/ 1193970 h 3498714"/>
                <a:gd name="connsiteX20" fmla="*/ 2070059 w 4436113"/>
                <a:gd name="connsiteY20" fmla="*/ 1334152 h 3498714"/>
                <a:gd name="connsiteX21" fmla="*/ 1929878 w 4436113"/>
                <a:gd name="connsiteY21" fmla="*/ 1474333 h 3498714"/>
                <a:gd name="connsiteX22" fmla="*/ 1520943 w 4436113"/>
                <a:gd name="connsiteY22" fmla="*/ 1470388 h 3498714"/>
                <a:gd name="connsiteX23" fmla="*/ 1332825 w 4436113"/>
                <a:gd name="connsiteY23" fmla="*/ 1367201 h 3498714"/>
                <a:gd name="connsiteX24" fmla="*/ 1106501 w 4436113"/>
                <a:gd name="connsiteY24" fmla="*/ 1098289 h 3498714"/>
                <a:gd name="connsiteX25" fmla="*/ 1101049 w 4436113"/>
                <a:gd name="connsiteY25" fmla="*/ 1092836 h 3498714"/>
                <a:gd name="connsiteX26" fmla="*/ 1046523 w 4436113"/>
                <a:gd name="connsiteY26" fmla="*/ 1092836 h 3498714"/>
                <a:gd name="connsiteX27" fmla="*/ 1041071 w 4436113"/>
                <a:gd name="connsiteY27" fmla="*/ 1098289 h 3498714"/>
                <a:gd name="connsiteX28" fmla="*/ 1042136 w 4436113"/>
                <a:gd name="connsiteY28" fmla="*/ 1419754 h 3498714"/>
                <a:gd name="connsiteX29" fmla="*/ 1042136 w 4436113"/>
                <a:gd name="connsiteY29" fmla="*/ 3337652 h 3498714"/>
                <a:gd name="connsiteX30" fmla="*/ 881075 w 4436113"/>
                <a:gd name="connsiteY30" fmla="*/ 3498714 h 3498714"/>
                <a:gd name="connsiteX31" fmla="*/ 720012 w 4436113"/>
                <a:gd name="connsiteY31" fmla="*/ 3337652 h 3498714"/>
                <a:gd name="connsiteX32" fmla="*/ 720012 w 4436113"/>
                <a:gd name="connsiteY32" fmla="*/ 2125717 h 3498714"/>
                <a:gd name="connsiteX33" fmla="*/ 718947 w 4436113"/>
                <a:gd name="connsiteY33" fmla="*/ 2033194 h 3498714"/>
                <a:gd name="connsiteX34" fmla="*/ 714162 w 4436113"/>
                <a:gd name="connsiteY34" fmla="*/ 2028410 h 3498714"/>
                <a:gd name="connsiteX35" fmla="*/ 654759 w 4436113"/>
                <a:gd name="connsiteY35" fmla="*/ 2028410 h 3498714"/>
                <a:gd name="connsiteX36" fmla="*/ 649974 w 4436113"/>
                <a:gd name="connsiteY36" fmla="*/ 2033194 h 3498714"/>
                <a:gd name="connsiteX37" fmla="*/ 649974 w 4436113"/>
                <a:gd name="connsiteY37" fmla="*/ 2125717 h 3498714"/>
                <a:gd name="connsiteX38" fmla="*/ 649574 w 4436113"/>
                <a:gd name="connsiteY38" fmla="*/ 3337652 h 3498714"/>
                <a:gd name="connsiteX39" fmla="*/ 488511 w 4436113"/>
                <a:gd name="connsiteY39" fmla="*/ 3498714 h 3498714"/>
                <a:gd name="connsiteX40" fmla="*/ 327450 w 4436113"/>
                <a:gd name="connsiteY40" fmla="*/ 3337652 h 3498714"/>
                <a:gd name="connsiteX41" fmla="*/ 327450 w 4436113"/>
                <a:gd name="connsiteY41" fmla="*/ 1458216 h 3498714"/>
                <a:gd name="connsiteX42" fmla="*/ 322427 w 4436113"/>
                <a:gd name="connsiteY42" fmla="*/ 1098205 h 3498714"/>
                <a:gd name="connsiteX43" fmla="*/ 317058 w 4436113"/>
                <a:gd name="connsiteY43" fmla="*/ 1092836 h 3498714"/>
                <a:gd name="connsiteX44" fmla="*/ 263371 w 4436113"/>
                <a:gd name="connsiteY44" fmla="*/ 1092836 h 3498714"/>
                <a:gd name="connsiteX45" fmla="*/ 258001 w 4436113"/>
                <a:gd name="connsiteY45" fmla="*/ 1098205 h 3498714"/>
                <a:gd name="connsiteX46" fmla="*/ 258001 w 4436113"/>
                <a:gd name="connsiteY46" fmla="*/ 1444446 h 3498714"/>
                <a:gd name="connsiteX47" fmla="*/ 257700 w 4436113"/>
                <a:gd name="connsiteY47" fmla="*/ 1444370 h 3498714"/>
                <a:gd name="connsiteX48" fmla="*/ 257700 w 4436113"/>
                <a:gd name="connsiteY48" fmla="*/ 1912573 h 3498714"/>
                <a:gd name="connsiteX49" fmla="*/ 128850 w 4436113"/>
                <a:gd name="connsiteY49" fmla="*/ 2041423 h 3498714"/>
                <a:gd name="connsiteX50" fmla="*/ 0 w 4436113"/>
                <a:gd name="connsiteY50" fmla="*/ 1912573 h 3498714"/>
                <a:gd name="connsiteX51" fmla="*/ 0 w 4436113"/>
                <a:gd name="connsiteY51" fmla="*/ 1101802 h 3498714"/>
                <a:gd name="connsiteX52" fmla="*/ 0 w 4436113"/>
                <a:gd name="connsiteY52" fmla="*/ 1003338 h 3498714"/>
                <a:gd name="connsiteX53" fmla="*/ 0 w 4436113"/>
                <a:gd name="connsiteY53" fmla="*/ 982486 h 3498714"/>
                <a:gd name="connsiteX54" fmla="*/ 12733 w 4436113"/>
                <a:gd name="connsiteY54" fmla="*/ 894663 h 3498714"/>
                <a:gd name="connsiteX55" fmla="*/ 20539 w 4436113"/>
                <a:gd name="connsiteY55" fmla="*/ 868773 h 3498714"/>
                <a:gd name="connsiteX56" fmla="*/ 358791 w 4436113"/>
                <a:gd name="connsiteY56" fmla="*/ 644545 h 3498714"/>
                <a:gd name="connsiteX57" fmla="*/ 682782 w 4436113"/>
                <a:gd name="connsiteY57" fmla="*/ 0 h 3498714"/>
                <a:gd name="connsiteX58" fmla="*/ 966919 w 4436113"/>
                <a:gd name="connsiteY58" fmla="*/ 284138 h 3498714"/>
                <a:gd name="connsiteX59" fmla="*/ 682782 w 4436113"/>
                <a:gd name="connsiteY59" fmla="*/ 568275 h 3498714"/>
                <a:gd name="connsiteX60" fmla="*/ 398645 w 4436113"/>
                <a:gd name="connsiteY60" fmla="*/ 284138 h 3498714"/>
                <a:gd name="connsiteX61" fmla="*/ 682782 w 4436113"/>
                <a:gd name="connsiteY61" fmla="*/ 0 h 3498714"/>
                <a:gd name="connsiteX62" fmla="*/ 4436113 w 4436113"/>
                <a:gd name="connsiteY62" fmla="*/ 3470637 h 3498714"/>
                <a:gd name="connsiteX63" fmla="*/ 4235039 w 4436113"/>
                <a:gd name="connsiteY63" fmla="*/ 3470637 h 3498714"/>
                <a:gd name="connsiteX64" fmla="*/ 2589325 w 4436113"/>
                <a:gd name="connsiteY64" fmla="*/ 3124562 h 3498714"/>
                <a:gd name="connsiteX65" fmla="*/ 2589325 w 4436113"/>
                <a:gd name="connsiteY65" fmla="*/ 3361625 h 3498714"/>
                <a:gd name="connsiteX66" fmla="*/ 2480313 w 4436113"/>
                <a:gd name="connsiteY66" fmla="*/ 3470637 h 3498714"/>
                <a:gd name="connsiteX67" fmla="*/ 2279239 w 4436113"/>
                <a:gd name="connsiteY67" fmla="*/ 3470637 h 3498714"/>
                <a:gd name="connsiteX68" fmla="*/ 2170227 w 4436113"/>
                <a:gd name="connsiteY68" fmla="*/ 3361625 h 3498714"/>
                <a:gd name="connsiteX69" fmla="*/ 2170227 w 4436113"/>
                <a:gd name="connsiteY69" fmla="*/ 3124562 h 3498714"/>
                <a:gd name="connsiteX70" fmla="*/ 2052754 w 4436113"/>
                <a:gd name="connsiteY70" fmla="*/ 3124562 h 3498714"/>
                <a:gd name="connsiteX71" fmla="*/ 1941629 w 4436113"/>
                <a:gd name="connsiteY71" fmla="*/ 3013437 h 3498714"/>
                <a:gd name="connsiteX72" fmla="*/ 2052754 w 4436113"/>
                <a:gd name="connsiteY72" fmla="*/ 2902312 h 3498714"/>
                <a:gd name="connsiteX73" fmla="*/ 682782 w 4436113"/>
                <a:gd name="connsiteY73" fmla="*/ 0 h 3498714"/>
                <a:gd name="connsiteX0" fmla="*/ 2251033 w 4235039"/>
                <a:gd name="connsiteY0" fmla="*/ 2089512 h 3498714"/>
                <a:gd name="connsiteX1" fmla="*/ 2070058 w 4235039"/>
                <a:gd name="connsiteY1" fmla="*/ 2270487 h 3498714"/>
                <a:gd name="connsiteX2" fmla="*/ 2251033 w 4235039"/>
                <a:gd name="connsiteY2" fmla="*/ 2451462 h 3498714"/>
                <a:gd name="connsiteX3" fmla="*/ 2432008 w 4235039"/>
                <a:gd name="connsiteY3" fmla="*/ 2270487 h 3498714"/>
                <a:gd name="connsiteX4" fmla="*/ 2251033 w 4235039"/>
                <a:gd name="connsiteY4" fmla="*/ 2089512 h 3498714"/>
                <a:gd name="connsiteX5" fmla="*/ 2842751 w 4235039"/>
                <a:gd name="connsiteY5" fmla="*/ 1749356 h 3498714"/>
                <a:gd name="connsiteX6" fmla="*/ 2392797 w 4235039"/>
                <a:gd name="connsiteY6" fmla="*/ 1878907 h 3498714"/>
                <a:gd name="connsiteX7" fmla="*/ 2478781 w 4235039"/>
                <a:gd name="connsiteY7" fmla="*/ 1920808 h 3498714"/>
                <a:gd name="connsiteX8" fmla="*/ 2842751 w 4235039"/>
                <a:gd name="connsiteY8" fmla="*/ 1749356 h 3498714"/>
                <a:gd name="connsiteX9" fmla="*/ 2534724 w 4235039"/>
                <a:gd name="connsiteY9" fmla="*/ 982297 h 3498714"/>
                <a:gd name="connsiteX10" fmla="*/ 1970999 w 4235039"/>
                <a:gd name="connsiteY10" fmla="*/ 2826112 h 3498714"/>
                <a:gd name="connsiteX11" fmla="*/ 1850348 w 4235039"/>
                <a:gd name="connsiteY11" fmla="*/ 2705462 h 3498714"/>
                <a:gd name="connsiteX12" fmla="*/ 1956769 w 4235039"/>
                <a:gd name="connsiteY12" fmla="*/ 2587684 h 3498714"/>
                <a:gd name="connsiteX13" fmla="*/ 1823360 w 4235039"/>
                <a:gd name="connsiteY13" fmla="*/ 2279217 h 3498714"/>
                <a:gd name="connsiteX14" fmla="*/ 2217440 w 4235039"/>
                <a:gd name="connsiteY14" fmla="*/ 1856216 h 3498714"/>
                <a:gd name="connsiteX15" fmla="*/ 2534724 w 4235039"/>
                <a:gd name="connsiteY15" fmla="*/ 982297 h 3498714"/>
                <a:gd name="connsiteX16" fmla="*/ 358791 w 4235039"/>
                <a:gd name="connsiteY16" fmla="*/ 644545 h 3498714"/>
                <a:gd name="connsiteX17" fmla="*/ 1006774 w 4235039"/>
                <a:gd name="connsiteY17" fmla="*/ 644545 h 3498714"/>
                <a:gd name="connsiteX18" fmla="*/ 1542636 w 4235039"/>
                <a:gd name="connsiteY18" fmla="*/ 1193969 h 3498714"/>
                <a:gd name="connsiteX19" fmla="*/ 1929878 w 4235039"/>
                <a:gd name="connsiteY19" fmla="*/ 1193970 h 3498714"/>
                <a:gd name="connsiteX20" fmla="*/ 2070059 w 4235039"/>
                <a:gd name="connsiteY20" fmla="*/ 1334152 h 3498714"/>
                <a:gd name="connsiteX21" fmla="*/ 1929878 w 4235039"/>
                <a:gd name="connsiteY21" fmla="*/ 1474333 h 3498714"/>
                <a:gd name="connsiteX22" fmla="*/ 1520943 w 4235039"/>
                <a:gd name="connsiteY22" fmla="*/ 1470388 h 3498714"/>
                <a:gd name="connsiteX23" fmla="*/ 1332825 w 4235039"/>
                <a:gd name="connsiteY23" fmla="*/ 1367201 h 3498714"/>
                <a:gd name="connsiteX24" fmla="*/ 1106501 w 4235039"/>
                <a:gd name="connsiteY24" fmla="*/ 1098289 h 3498714"/>
                <a:gd name="connsiteX25" fmla="*/ 1101049 w 4235039"/>
                <a:gd name="connsiteY25" fmla="*/ 1092836 h 3498714"/>
                <a:gd name="connsiteX26" fmla="*/ 1046523 w 4235039"/>
                <a:gd name="connsiteY26" fmla="*/ 1092836 h 3498714"/>
                <a:gd name="connsiteX27" fmla="*/ 1041071 w 4235039"/>
                <a:gd name="connsiteY27" fmla="*/ 1098289 h 3498714"/>
                <a:gd name="connsiteX28" fmla="*/ 1042136 w 4235039"/>
                <a:gd name="connsiteY28" fmla="*/ 1419754 h 3498714"/>
                <a:gd name="connsiteX29" fmla="*/ 1042136 w 4235039"/>
                <a:gd name="connsiteY29" fmla="*/ 3337652 h 3498714"/>
                <a:gd name="connsiteX30" fmla="*/ 881075 w 4235039"/>
                <a:gd name="connsiteY30" fmla="*/ 3498714 h 3498714"/>
                <a:gd name="connsiteX31" fmla="*/ 720012 w 4235039"/>
                <a:gd name="connsiteY31" fmla="*/ 3337652 h 3498714"/>
                <a:gd name="connsiteX32" fmla="*/ 720012 w 4235039"/>
                <a:gd name="connsiteY32" fmla="*/ 2125717 h 3498714"/>
                <a:gd name="connsiteX33" fmla="*/ 718947 w 4235039"/>
                <a:gd name="connsiteY33" fmla="*/ 2033194 h 3498714"/>
                <a:gd name="connsiteX34" fmla="*/ 714162 w 4235039"/>
                <a:gd name="connsiteY34" fmla="*/ 2028410 h 3498714"/>
                <a:gd name="connsiteX35" fmla="*/ 654759 w 4235039"/>
                <a:gd name="connsiteY35" fmla="*/ 2028410 h 3498714"/>
                <a:gd name="connsiteX36" fmla="*/ 649974 w 4235039"/>
                <a:gd name="connsiteY36" fmla="*/ 2033194 h 3498714"/>
                <a:gd name="connsiteX37" fmla="*/ 649974 w 4235039"/>
                <a:gd name="connsiteY37" fmla="*/ 2125717 h 3498714"/>
                <a:gd name="connsiteX38" fmla="*/ 649574 w 4235039"/>
                <a:gd name="connsiteY38" fmla="*/ 3337652 h 3498714"/>
                <a:gd name="connsiteX39" fmla="*/ 488511 w 4235039"/>
                <a:gd name="connsiteY39" fmla="*/ 3498714 h 3498714"/>
                <a:gd name="connsiteX40" fmla="*/ 327450 w 4235039"/>
                <a:gd name="connsiteY40" fmla="*/ 3337652 h 3498714"/>
                <a:gd name="connsiteX41" fmla="*/ 327450 w 4235039"/>
                <a:gd name="connsiteY41" fmla="*/ 1458216 h 3498714"/>
                <a:gd name="connsiteX42" fmla="*/ 322427 w 4235039"/>
                <a:gd name="connsiteY42" fmla="*/ 1098205 h 3498714"/>
                <a:gd name="connsiteX43" fmla="*/ 317058 w 4235039"/>
                <a:gd name="connsiteY43" fmla="*/ 1092836 h 3498714"/>
                <a:gd name="connsiteX44" fmla="*/ 263371 w 4235039"/>
                <a:gd name="connsiteY44" fmla="*/ 1092836 h 3498714"/>
                <a:gd name="connsiteX45" fmla="*/ 258001 w 4235039"/>
                <a:gd name="connsiteY45" fmla="*/ 1098205 h 3498714"/>
                <a:gd name="connsiteX46" fmla="*/ 258001 w 4235039"/>
                <a:gd name="connsiteY46" fmla="*/ 1444446 h 3498714"/>
                <a:gd name="connsiteX47" fmla="*/ 257700 w 4235039"/>
                <a:gd name="connsiteY47" fmla="*/ 1444370 h 3498714"/>
                <a:gd name="connsiteX48" fmla="*/ 257700 w 4235039"/>
                <a:gd name="connsiteY48" fmla="*/ 1912573 h 3498714"/>
                <a:gd name="connsiteX49" fmla="*/ 128850 w 4235039"/>
                <a:gd name="connsiteY49" fmla="*/ 2041423 h 3498714"/>
                <a:gd name="connsiteX50" fmla="*/ 0 w 4235039"/>
                <a:gd name="connsiteY50" fmla="*/ 1912573 h 3498714"/>
                <a:gd name="connsiteX51" fmla="*/ 0 w 4235039"/>
                <a:gd name="connsiteY51" fmla="*/ 1101802 h 3498714"/>
                <a:gd name="connsiteX52" fmla="*/ 0 w 4235039"/>
                <a:gd name="connsiteY52" fmla="*/ 1003338 h 3498714"/>
                <a:gd name="connsiteX53" fmla="*/ 0 w 4235039"/>
                <a:gd name="connsiteY53" fmla="*/ 982486 h 3498714"/>
                <a:gd name="connsiteX54" fmla="*/ 12733 w 4235039"/>
                <a:gd name="connsiteY54" fmla="*/ 894663 h 3498714"/>
                <a:gd name="connsiteX55" fmla="*/ 20539 w 4235039"/>
                <a:gd name="connsiteY55" fmla="*/ 868773 h 3498714"/>
                <a:gd name="connsiteX56" fmla="*/ 358791 w 4235039"/>
                <a:gd name="connsiteY56" fmla="*/ 644545 h 3498714"/>
                <a:gd name="connsiteX57" fmla="*/ 682782 w 4235039"/>
                <a:gd name="connsiteY57" fmla="*/ 0 h 3498714"/>
                <a:gd name="connsiteX58" fmla="*/ 966919 w 4235039"/>
                <a:gd name="connsiteY58" fmla="*/ 284138 h 3498714"/>
                <a:gd name="connsiteX59" fmla="*/ 682782 w 4235039"/>
                <a:gd name="connsiteY59" fmla="*/ 568275 h 3498714"/>
                <a:gd name="connsiteX60" fmla="*/ 398645 w 4235039"/>
                <a:gd name="connsiteY60" fmla="*/ 284138 h 3498714"/>
                <a:gd name="connsiteX61" fmla="*/ 682782 w 4235039"/>
                <a:gd name="connsiteY61" fmla="*/ 0 h 3498714"/>
                <a:gd name="connsiteX62" fmla="*/ 4235039 w 4235039"/>
                <a:gd name="connsiteY62" fmla="*/ 3470637 h 3498714"/>
                <a:gd name="connsiteX63" fmla="*/ 2589325 w 4235039"/>
                <a:gd name="connsiteY63" fmla="*/ 3124562 h 3498714"/>
                <a:gd name="connsiteX64" fmla="*/ 2589325 w 4235039"/>
                <a:gd name="connsiteY64" fmla="*/ 3361625 h 3498714"/>
                <a:gd name="connsiteX65" fmla="*/ 2480313 w 4235039"/>
                <a:gd name="connsiteY65" fmla="*/ 3470637 h 3498714"/>
                <a:gd name="connsiteX66" fmla="*/ 2279239 w 4235039"/>
                <a:gd name="connsiteY66" fmla="*/ 3470637 h 3498714"/>
                <a:gd name="connsiteX67" fmla="*/ 2170227 w 4235039"/>
                <a:gd name="connsiteY67" fmla="*/ 3361625 h 3498714"/>
                <a:gd name="connsiteX68" fmla="*/ 2170227 w 4235039"/>
                <a:gd name="connsiteY68" fmla="*/ 3124562 h 3498714"/>
                <a:gd name="connsiteX69" fmla="*/ 2052754 w 4235039"/>
                <a:gd name="connsiteY69" fmla="*/ 3124562 h 3498714"/>
                <a:gd name="connsiteX70" fmla="*/ 1941629 w 4235039"/>
                <a:gd name="connsiteY70" fmla="*/ 3013437 h 3498714"/>
                <a:gd name="connsiteX71" fmla="*/ 2052754 w 4235039"/>
                <a:gd name="connsiteY71" fmla="*/ 2902312 h 3498714"/>
                <a:gd name="connsiteX72" fmla="*/ 682782 w 4235039"/>
                <a:gd name="connsiteY72" fmla="*/ 0 h 3498714"/>
                <a:gd name="connsiteX0" fmla="*/ 2251033 w 2842751"/>
                <a:gd name="connsiteY0" fmla="*/ 2089512 h 3498714"/>
                <a:gd name="connsiteX1" fmla="*/ 2070058 w 2842751"/>
                <a:gd name="connsiteY1" fmla="*/ 2270487 h 3498714"/>
                <a:gd name="connsiteX2" fmla="*/ 2251033 w 2842751"/>
                <a:gd name="connsiteY2" fmla="*/ 2451462 h 3498714"/>
                <a:gd name="connsiteX3" fmla="*/ 2432008 w 2842751"/>
                <a:gd name="connsiteY3" fmla="*/ 2270487 h 3498714"/>
                <a:gd name="connsiteX4" fmla="*/ 2251033 w 2842751"/>
                <a:gd name="connsiteY4" fmla="*/ 2089512 h 3498714"/>
                <a:gd name="connsiteX5" fmla="*/ 2842751 w 2842751"/>
                <a:gd name="connsiteY5" fmla="*/ 1749356 h 3498714"/>
                <a:gd name="connsiteX6" fmla="*/ 2392797 w 2842751"/>
                <a:gd name="connsiteY6" fmla="*/ 1878907 h 3498714"/>
                <a:gd name="connsiteX7" fmla="*/ 2478781 w 2842751"/>
                <a:gd name="connsiteY7" fmla="*/ 1920808 h 3498714"/>
                <a:gd name="connsiteX8" fmla="*/ 2842751 w 2842751"/>
                <a:gd name="connsiteY8" fmla="*/ 1749356 h 3498714"/>
                <a:gd name="connsiteX9" fmla="*/ 2534724 w 2842751"/>
                <a:gd name="connsiteY9" fmla="*/ 982297 h 3498714"/>
                <a:gd name="connsiteX10" fmla="*/ 1970999 w 2842751"/>
                <a:gd name="connsiteY10" fmla="*/ 2826112 h 3498714"/>
                <a:gd name="connsiteX11" fmla="*/ 1850348 w 2842751"/>
                <a:gd name="connsiteY11" fmla="*/ 2705462 h 3498714"/>
                <a:gd name="connsiteX12" fmla="*/ 1956769 w 2842751"/>
                <a:gd name="connsiteY12" fmla="*/ 2587684 h 3498714"/>
                <a:gd name="connsiteX13" fmla="*/ 1823360 w 2842751"/>
                <a:gd name="connsiteY13" fmla="*/ 2279217 h 3498714"/>
                <a:gd name="connsiteX14" fmla="*/ 2217440 w 2842751"/>
                <a:gd name="connsiteY14" fmla="*/ 1856216 h 3498714"/>
                <a:gd name="connsiteX15" fmla="*/ 2534724 w 2842751"/>
                <a:gd name="connsiteY15" fmla="*/ 982297 h 3498714"/>
                <a:gd name="connsiteX16" fmla="*/ 358791 w 2842751"/>
                <a:gd name="connsiteY16" fmla="*/ 644545 h 3498714"/>
                <a:gd name="connsiteX17" fmla="*/ 1006774 w 2842751"/>
                <a:gd name="connsiteY17" fmla="*/ 644545 h 3498714"/>
                <a:gd name="connsiteX18" fmla="*/ 1542636 w 2842751"/>
                <a:gd name="connsiteY18" fmla="*/ 1193969 h 3498714"/>
                <a:gd name="connsiteX19" fmla="*/ 1929878 w 2842751"/>
                <a:gd name="connsiteY19" fmla="*/ 1193970 h 3498714"/>
                <a:gd name="connsiteX20" fmla="*/ 2070059 w 2842751"/>
                <a:gd name="connsiteY20" fmla="*/ 1334152 h 3498714"/>
                <a:gd name="connsiteX21" fmla="*/ 1929878 w 2842751"/>
                <a:gd name="connsiteY21" fmla="*/ 1474333 h 3498714"/>
                <a:gd name="connsiteX22" fmla="*/ 1520943 w 2842751"/>
                <a:gd name="connsiteY22" fmla="*/ 1470388 h 3498714"/>
                <a:gd name="connsiteX23" fmla="*/ 1332825 w 2842751"/>
                <a:gd name="connsiteY23" fmla="*/ 1367201 h 3498714"/>
                <a:gd name="connsiteX24" fmla="*/ 1106501 w 2842751"/>
                <a:gd name="connsiteY24" fmla="*/ 1098289 h 3498714"/>
                <a:gd name="connsiteX25" fmla="*/ 1101049 w 2842751"/>
                <a:gd name="connsiteY25" fmla="*/ 1092836 h 3498714"/>
                <a:gd name="connsiteX26" fmla="*/ 1046523 w 2842751"/>
                <a:gd name="connsiteY26" fmla="*/ 1092836 h 3498714"/>
                <a:gd name="connsiteX27" fmla="*/ 1041071 w 2842751"/>
                <a:gd name="connsiteY27" fmla="*/ 1098289 h 3498714"/>
                <a:gd name="connsiteX28" fmla="*/ 1042136 w 2842751"/>
                <a:gd name="connsiteY28" fmla="*/ 1419754 h 3498714"/>
                <a:gd name="connsiteX29" fmla="*/ 1042136 w 2842751"/>
                <a:gd name="connsiteY29" fmla="*/ 3337652 h 3498714"/>
                <a:gd name="connsiteX30" fmla="*/ 881075 w 2842751"/>
                <a:gd name="connsiteY30" fmla="*/ 3498714 h 3498714"/>
                <a:gd name="connsiteX31" fmla="*/ 720012 w 2842751"/>
                <a:gd name="connsiteY31" fmla="*/ 3337652 h 3498714"/>
                <a:gd name="connsiteX32" fmla="*/ 720012 w 2842751"/>
                <a:gd name="connsiteY32" fmla="*/ 2125717 h 3498714"/>
                <a:gd name="connsiteX33" fmla="*/ 718947 w 2842751"/>
                <a:gd name="connsiteY33" fmla="*/ 2033194 h 3498714"/>
                <a:gd name="connsiteX34" fmla="*/ 714162 w 2842751"/>
                <a:gd name="connsiteY34" fmla="*/ 2028410 h 3498714"/>
                <a:gd name="connsiteX35" fmla="*/ 654759 w 2842751"/>
                <a:gd name="connsiteY35" fmla="*/ 2028410 h 3498714"/>
                <a:gd name="connsiteX36" fmla="*/ 649974 w 2842751"/>
                <a:gd name="connsiteY36" fmla="*/ 2033194 h 3498714"/>
                <a:gd name="connsiteX37" fmla="*/ 649974 w 2842751"/>
                <a:gd name="connsiteY37" fmla="*/ 2125717 h 3498714"/>
                <a:gd name="connsiteX38" fmla="*/ 649574 w 2842751"/>
                <a:gd name="connsiteY38" fmla="*/ 3337652 h 3498714"/>
                <a:gd name="connsiteX39" fmla="*/ 488511 w 2842751"/>
                <a:gd name="connsiteY39" fmla="*/ 3498714 h 3498714"/>
                <a:gd name="connsiteX40" fmla="*/ 327450 w 2842751"/>
                <a:gd name="connsiteY40" fmla="*/ 3337652 h 3498714"/>
                <a:gd name="connsiteX41" fmla="*/ 327450 w 2842751"/>
                <a:gd name="connsiteY41" fmla="*/ 1458216 h 3498714"/>
                <a:gd name="connsiteX42" fmla="*/ 322427 w 2842751"/>
                <a:gd name="connsiteY42" fmla="*/ 1098205 h 3498714"/>
                <a:gd name="connsiteX43" fmla="*/ 317058 w 2842751"/>
                <a:gd name="connsiteY43" fmla="*/ 1092836 h 3498714"/>
                <a:gd name="connsiteX44" fmla="*/ 263371 w 2842751"/>
                <a:gd name="connsiteY44" fmla="*/ 1092836 h 3498714"/>
                <a:gd name="connsiteX45" fmla="*/ 258001 w 2842751"/>
                <a:gd name="connsiteY45" fmla="*/ 1098205 h 3498714"/>
                <a:gd name="connsiteX46" fmla="*/ 258001 w 2842751"/>
                <a:gd name="connsiteY46" fmla="*/ 1444446 h 3498714"/>
                <a:gd name="connsiteX47" fmla="*/ 257700 w 2842751"/>
                <a:gd name="connsiteY47" fmla="*/ 1444370 h 3498714"/>
                <a:gd name="connsiteX48" fmla="*/ 257700 w 2842751"/>
                <a:gd name="connsiteY48" fmla="*/ 1912573 h 3498714"/>
                <a:gd name="connsiteX49" fmla="*/ 128850 w 2842751"/>
                <a:gd name="connsiteY49" fmla="*/ 2041423 h 3498714"/>
                <a:gd name="connsiteX50" fmla="*/ 0 w 2842751"/>
                <a:gd name="connsiteY50" fmla="*/ 1912573 h 3498714"/>
                <a:gd name="connsiteX51" fmla="*/ 0 w 2842751"/>
                <a:gd name="connsiteY51" fmla="*/ 1101802 h 3498714"/>
                <a:gd name="connsiteX52" fmla="*/ 0 w 2842751"/>
                <a:gd name="connsiteY52" fmla="*/ 1003338 h 3498714"/>
                <a:gd name="connsiteX53" fmla="*/ 0 w 2842751"/>
                <a:gd name="connsiteY53" fmla="*/ 982486 h 3498714"/>
                <a:gd name="connsiteX54" fmla="*/ 12733 w 2842751"/>
                <a:gd name="connsiteY54" fmla="*/ 894663 h 3498714"/>
                <a:gd name="connsiteX55" fmla="*/ 20539 w 2842751"/>
                <a:gd name="connsiteY55" fmla="*/ 868773 h 3498714"/>
                <a:gd name="connsiteX56" fmla="*/ 358791 w 2842751"/>
                <a:gd name="connsiteY56" fmla="*/ 644545 h 3498714"/>
                <a:gd name="connsiteX57" fmla="*/ 682782 w 2842751"/>
                <a:gd name="connsiteY57" fmla="*/ 0 h 3498714"/>
                <a:gd name="connsiteX58" fmla="*/ 966919 w 2842751"/>
                <a:gd name="connsiteY58" fmla="*/ 284138 h 3498714"/>
                <a:gd name="connsiteX59" fmla="*/ 682782 w 2842751"/>
                <a:gd name="connsiteY59" fmla="*/ 568275 h 3498714"/>
                <a:gd name="connsiteX60" fmla="*/ 398645 w 2842751"/>
                <a:gd name="connsiteY60" fmla="*/ 284138 h 3498714"/>
                <a:gd name="connsiteX61" fmla="*/ 682782 w 2842751"/>
                <a:gd name="connsiteY61" fmla="*/ 0 h 3498714"/>
                <a:gd name="connsiteX62" fmla="*/ 2589325 w 2842751"/>
                <a:gd name="connsiteY62" fmla="*/ 3124562 h 3498714"/>
                <a:gd name="connsiteX63" fmla="*/ 2589325 w 2842751"/>
                <a:gd name="connsiteY63" fmla="*/ 3361625 h 3498714"/>
                <a:gd name="connsiteX64" fmla="*/ 2480313 w 2842751"/>
                <a:gd name="connsiteY64" fmla="*/ 3470637 h 3498714"/>
                <a:gd name="connsiteX65" fmla="*/ 2279239 w 2842751"/>
                <a:gd name="connsiteY65" fmla="*/ 3470637 h 3498714"/>
                <a:gd name="connsiteX66" fmla="*/ 2170227 w 2842751"/>
                <a:gd name="connsiteY66" fmla="*/ 3361625 h 3498714"/>
                <a:gd name="connsiteX67" fmla="*/ 2170227 w 2842751"/>
                <a:gd name="connsiteY67" fmla="*/ 3124562 h 3498714"/>
                <a:gd name="connsiteX68" fmla="*/ 2052754 w 2842751"/>
                <a:gd name="connsiteY68" fmla="*/ 3124562 h 3498714"/>
                <a:gd name="connsiteX69" fmla="*/ 1941629 w 2842751"/>
                <a:gd name="connsiteY69" fmla="*/ 3013437 h 3498714"/>
                <a:gd name="connsiteX70" fmla="*/ 2052754 w 2842751"/>
                <a:gd name="connsiteY70" fmla="*/ 2902312 h 3498714"/>
                <a:gd name="connsiteX71" fmla="*/ 682782 w 2842751"/>
                <a:gd name="connsiteY71" fmla="*/ 0 h 3498714"/>
                <a:gd name="connsiteX0" fmla="*/ 2251033 w 2842751"/>
                <a:gd name="connsiteY0" fmla="*/ 2089512 h 3498714"/>
                <a:gd name="connsiteX1" fmla="*/ 2070058 w 2842751"/>
                <a:gd name="connsiteY1" fmla="*/ 2270487 h 3498714"/>
                <a:gd name="connsiteX2" fmla="*/ 2432008 w 2842751"/>
                <a:gd name="connsiteY2" fmla="*/ 2270487 h 3498714"/>
                <a:gd name="connsiteX3" fmla="*/ 2251033 w 2842751"/>
                <a:gd name="connsiteY3" fmla="*/ 2089512 h 3498714"/>
                <a:gd name="connsiteX4" fmla="*/ 2842751 w 2842751"/>
                <a:gd name="connsiteY4" fmla="*/ 1749356 h 3498714"/>
                <a:gd name="connsiteX5" fmla="*/ 2392797 w 2842751"/>
                <a:gd name="connsiteY5" fmla="*/ 1878907 h 3498714"/>
                <a:gd name="connsiteX6" fmla="*/ 2478781 w 2842751"/>
                <a:gd name="connsiteY6" fmla="*/ 1920808 h 3498714"/>
                <a:gd name="connsiteX7" fmla="*/ 2842751 w 2842751"/>
                <a:gd name="connsiteY7" fmla="*/ 1749356 h 3498714"/>
                <a:gd name="connsiteX8" fmla="*/ 2534724 w 2842751"/>
                <a:gd name="connsiteY8" fmla="*/ 982297 h 3498714"/>
                <a:gd name="connsiteX9" fmla="*/ 1970999 w 2842751"/>
                <a:gd name="connsiteY9" fmla="*/ 2826112 h 3498714"/>
                <a:gd name="connsiteX10" fmla="*/ 1850348 w 2842751"/>
                <a:gd name="connsiteY10" fmla="*/ 2705462 h 3498714"/>
                <a:gd name="connsiteX11" fmla="*/ 1956769 w 2842751"/>
                <a:gd name="connsiteY11" fmla="*/ 2587684 h 3498714"/>
                <a:gd name="connsiteX12" fmla="*/ 1823360 w 2842751"/>
                <a:gd name="connsiteY12" fmla="*/ 2279217 h 3498714"/>
                <a:gd name="connsiteX13" fmla="*/ 2217440 w 2842751"/>
                <a:gd name="connsiteY13" fmla="*/ 1856216 h 3498714"/>
                <a:gd name="connsiteX14" fmla="*/ 2534724 w 2842751"/>
                <a:gd name="connsiteY14" fmla="*/ 982297 h 3498714"/>
                <a:gd name="connsiteX15" fmla="*/ 358791 w 2842751"/>
                <a:gd name="connsiteY15" fmla="*/ 644545 h 3498714"/>
                <a:gd name="connsiteX16" fmla="*/ 1006774 w 2842751"/>
                <a:gd name="connsiteY16" fmla="*/ 644545 h 3498714"/>
                <a:gd name="connsiteX17" fmla="*/ 1542636 w 2842751"/>
                <a:gd name="connsiteY17" fmla="*/ 1193969 h 3498714"/>
                <a:gd name="connsiteX18" fmla="*/ 1929878 w 2842751"/>
                <a:gd name="connsiteY18" fmla="*/ 1193970 h 3498714"/>
                <a:gd name="connsiteX19" fmla="*/ 2070059 w 2842751"/>
                <a:gd name="connsiteY19" fmla="*/ 1334152 h 3498714"/>
                <a:gd name="connsiteX20" fmla="*/ 1929878 w 2842751"/>
                <a:gd name="connsiteY20" fmla="*/ 1474333 h 3498714"/>
                <a:gd name="connsiteX21" fmla="*/ 1520943 w 2842751"/>
                <a:gd name="connsiteY21" fmla="*/ 1470388 h 3498714"/>
                <a:gd name="connsiteX22" fmla="*/ 1332825 w 2842751"/>
                <a:gd name="connsiteY22" fmla="*/ 1367201 h 3498714"/>
                <a:gd name="connsiteX23" fmla="*/ 1106501 w 2842751"/>
                <a:gd name="connsiteY23" fmla="*/ 1098289 h 3498714"/>
                <a:gd name="connsiteX24" fmla="*/ 1101049 w 2842751"/>
                <a:gd name="connsiteY24" fmla="*/ 1092836 h 3498714"/>
                <a:gd name="connsiteX25" fmla="*/ 1046523 w 2842751"/>
                <a:gd name="connsiteY25" fmla="*/ 1092836 h 3498714"/>
                <a:gd name="connsiteX26" fmla="*/ 1041071 w 2842751"/>
                <a:gd name="connsiteY26" fmla="*/ 1098289 h 3498714"/>
                <a:gd name="connsiteX27" fmla="*/ 1042136 w 2842751"/>
                <a:gd name="connsiteY27" fmla="*/ 1419754 h 3498714"/>
                <a:gd name="connsiteX28" fmla="*/ 1042136 w 2842751"/>
                <a:gd name="connsiteY28" fmla="*/ 3337652 h 3498714"/>
                <a:gd name="connsiteX29" fmla="*/ 881075 w 2842751"/>
                <a:gd name="connsiteY29" fmla="*/ 3498714 h 3498714"/>
                <a:gd name="connsiteX30" fmla="*/ 720012 w 2842751"/>
                <a:gd name="connsiteY30" fmla="*/ 3337652 h 3498714"/>
                <a:gd name="connsiteX31" fmla="*/ 720012 w 2842751"/>
                <a:gd name="connsiteY31" fmla="*/ 2125717 h 3498714"/>
                <a:gd name="connsiteX32" fmla="*/ 718947 w 2842751"/>
                <a:gd name="connsiteY32" fmla="*/ 2033194 h 3498714"/>
                <a:gd name="connsiteX33" fmla="*/ 714162 w 2842751"/>
                <a:gd name="connsiteY33" fmla="*/ 2028410 h 3498714"/>
                <a:gd name="connsiteX34" fmla="*/ 654759 w 2842751"/>
                <a:gd name="connsiteY34" fmla="*/ 2028410 h 3498714"/>
                <a:gd name="connsiteX35" fmla="*/ 649974 w 2842751"/>
                <a:gd name="connsiteY35" fmla="*/ 2033194 h 3498714"/>
                <a:gd name="connsiteX36" fmla="*/ 649974 w 2842751"/>
                <a:gd name="connsiteY36" fmla="*/ 2125717 h 3498714"/>
                <a:gd name="connsiteX37" fmla="*/ 649574 w 2842751"/>
                <a:gd name="connsiteY37" fmla="*/ 3337652 h 3498714"/>
                <a:gd name="connsiteX38" fmla="*/ 488511 w 2842751"/>
                <a:gd name="connsiteY38" fmla="*/ 3498714 h 3498714"/>
                <a:gd name="connsiteX39" fmla="*/ 327450 w 2842751"/>
                <a:gd name="connsiteY39" fmla="*/ 3337652 h 3498714"/>
                <a:gd name="connsiteX40" fmla="*/ 327450 w 2842751"/>
                <a:gd name="connsiteY40" fmla="*/ 1458216 h 3498714"/>
                <a:gd name="connsiteX41" fmla="*/ 322427 w 2842751"/>
                <a:gd name="connsiteY41" fmla="*/ 1098205 h 3498714"/>
                <a:gd name="connsiteX42" fmla="*/ 317058 w 2842751"/>
                <a:gd name="connsiteY42" fmla="*/ 1092836 h 3498714"/>
                <a:gd name="connsiteX43" fmla="*/ 263371 w 2842751"/>
                <a:gd name="connsiteY43" fmla="*/ 1092836 h 3498714"/>
                <a:gd name="connsiteX44" fmla="*/ 258001 w 2842751"/>
                <a:gd name="connsiteY44" fmla="*/ 1098205 h 3498714"/>
                <a:gd name="connsiteX45" fmla="*/ 258001 w 2842751"/>
                <a:gd name="connsiteY45" fmla="*/ 1444446 h 3498714"/>
                <a:gd name="connsiteX46" fmla="*/ 257700 w 2842751"/>
                <a:gd name="connsiteY46" fmla="*/ 1444370 h 3498714"/>
                <a:gd name="connsiteX47" fmla="*/ 257700 w 2842751"/>
                <a:gd name="connsiteY47" fmla="*/ 1912573 h 3498714"/>
                <a:gd name="connsiteX48" fmla="*/ 128850 w 2842751"/>
                <a:gd name="connsiteY48" fmla="*/ 2041423 h 3498714"/>
                <a:gd name="connsiteX49" fmla="*/ 0 w 2842751"/>
                <a:gd name="connsiteY49" fmla="*/ 1912573 h 3498714"/>
                <a:gd name="connsiteX50" fmla="*/ 0 w 2842751"/>
                <a:gd name="connsiteY50" fmla="*/ 1101802 h 3498714"/>
                <a:gd name="connsiteX51" fmla="*/ 0 w 2842751"/>
                <a:gd name="connsiteY51" fmla="*/ 1003338 h 3498714"/>
                <a:gd name="connsiteX52" fmla="*/ 0 w 2842751"/>
                <a:gd name="connsiteY52" fmla="*/ 982486 h 3498714"/>
                <a:gd name="connsiteX53" fmla="*/ 12733 w 2842751"/>
                <a:gd name="connsiteY53" fmla="*/ 894663 h 3498714"/>
                <a:gd name="connsiteX54" fmla="*/ 20539 w 2842751"/>
                <a:gd name="connsiteY54" fmla="*/ 868773 h 3498714"/>
                <a:gd name="connsiteX55" fmla="*/ 358791 w 2842751"/>
                <a:gd name="connsiteY55" fmla="*/ 644545 h 3498714"/>
                <a:gd name="connsiteX56" fmla="*/ 682782 w 2842751"/>
                <a:gd name="connsiteY56" fmla="*/ 0 h 3498714"/>
                <a:gd name="connsiteX57" fmla="*/ 966919 w 2842751"/>
                <a:gd name="connsiteY57" fmla="*/ 284138 h 3498714"/>
                <a:gd name="connsiteX58" fmla="*/ 682782 w 2842751"/>
                <a:gd name="connsiteY58" fmla="*/ 568275 h 3498714"/>
                <a:gd name="connsiteX59" fmla="*/ 398645 w 2842751"/>
                <a:gd name="connsiteY59" fmla="*/ 284138 h 3498714"/>
                <a:gd name="connsiteX60" fmla="*/ 682782 w 2842751"/>
                <a:gd name="connsiteY60" fmla="*/ 0 h 3498714"/>
                <a:gd name="connsiteX61" fmla="*/ 2589325 w 2842751"/>
                <a:gd name="connsiteY61" fmla="*/ 3124562 h 3498714"/>
                <a:gd name="connsiteX62" fmla="*/ 2589325 w 2842751"/>
                <a:gd name="connsiteY62" fmla="*/ 3361625 h 3498714"/>
                <a:gd name="connsiteX63" fmla="*/ 2480313 w 2842751"/>
                <a:gd name="connsiteY63" fmla="*/ 3470637 h 3498714"/>
                <a:gd name="connsiteX64" fmla="*/ 2279239 w 2842751"/>
                <a:gd name="connsiteY64" fmla="*/ 3470637 h 3498714"/>
                <a:gd name="connsiteX65" fmla="*/ 2170227 w 2842751"/>
                <a:gd name="connsiteY65" fmla="*/ 3361625 h 3498714"/>
                <a:gd name="connsiteX66" fmla="*/ 2170227 w 2842751"/>
                <a:gd name="connsiteY66" fmla="*/ 3124562 h 3498714"/>
                <a:gd name="connsiteX67" fmla="*/ 2052754 w 2842751"/>
                <a:gd name="connsiteY67" fmla="*/ 3124562 h 3498714"/>
                <a:gd name="connsiteX68" fmla="*/ 1941629 w 2842751"/>
                <a:gd name="connsiteY68" fmla="*/ 3013437 h 3498714"/>
                <a:gd name="connsiteX69" fmla="*/ 2052754 w 2842751"/>
                <a:gd name="connsiteY69" fmla="*/ 2902312 h 3498714"/>
                <a:gd name="connsiteX70" fmla="*/ 682782 w 2842751"/>
                <a:gd name="connsiteY70" fmla="*/ 0 h 3498714"/>
                <a:gd name="connsiteX0" fmla="*/ 2251033 w 2842751"/>
                <a:gd name="connsiteY0" fmla="*/ 2089512 h 3498714"/>
                <a:gd name="connsiteX1" fmla="*/ 2070058 w 2842751"/>
                <a:gd name="connsiteY1" fmla="*/ 2270487 h 3498714"/>
                <a:gd name="connsiteX2" fmla="*/ 2251033 w 2842751"/>
                <a:gd name="connsiteY2" fmla="*/ 2089512 h 3498714"/>
                <a:gd name="connsiteX3" fmla="*/ 2842751 w 2842751"/>
                <a:gd name="connsiteY3" fmla="*/ 1749356 h 3498714"/>
                <a:gd name="connsiteX4" fmla="*/ 2392797 w 2842751"/>
                <a:gd name="connsiteY4" fmla="*/ 1878907 h 3498714"/>
                <a:gd name="connsiteX5" fmla="*/ 2478781 w 2842751"/>
                <a:gd name="connsiteY5" fmla="*/ 1920808 h 3498714"/>
                <a:gd name="connsiteX6" fmla="*/ 2842751 w 2842751"/>
                <a:gd name="connsiteY6" fmla="*/ 1749356 h 3498714"/>
                <a:gd name="connsiteX7" fmla="*/ 2534724 w 2842751"/>
                <a:gd name="connsiteY7" fmla="*/ 982297 h 3498714"/>
                <a:gd name="connsiteX8" fmla="*/ 1970999 w 2842751"/>
                <a:gd name="connsiteY8" fmla="*/ 2826112 h 3498714"/>
                <a:gd name="connsiteX9" fmla="*/ 1850348 w 2842751"/>
                <a:gd name="connsiteY9" fmla="*/ 2705462 h 3498714"/>
                <a:gd name="connsiteX10" fmla="*/ 1956769 w 2842751"/>
                <a:gd name="connsiteY10" fmla="*/ 2587684 h 3498714"/>
                <a:gd name="connsiteX11" fmla="*/ 1823360 w 2842751"/>
                <a:gd name="connsiteY11" fmla="*/ 2279217 h 3498714"/>
                <a:gd name="connsiteX12" fmla="*/ 2217440 w 2842751"/>
                <a:gd name="connsiteY12" fmla="*/ 1856216 h 3498714"/>
                <a:gd name="connsiteX13" fmla="*/ 2534724 w 2842751"/>
                <a:gd name="connsiteY13" fmla="*/ 982297 h 3498714"/>
                <a:gd name="connsiteX14" fmla="*/ 358791 w 2842751"/>
                <a:gd name="connsiteY14" fmla="*/ 644545 h 3498714"/>
                <a:gd name="connsiteX15" fmla="*/ 1006774 w 2842751"/>
                <a:gd name="connsiteY15" fmla="*/ 644545 h 3498714"/>
                <a:gd name="connsiteX16" fmla="*/ 1542636 w 2842751"/>
                <a:gd name="connsiteY16" fmla="*/ 1193969 h 3498714"/>
                <a:gd name="connsiteX17" fmla="*/ 1929878 w 2842751"/>
                <a:gd name="connsiteY17" fmla="*/ 1193970 h 3498714"/>
                <a:gd name="connsiteX18" fmla="*/ 2070059 w 2842751"/>
                <a:gd name="connsiteY18" fmla="*/ 1334152 h 3498714"/>
                <a:gd name="connsiteX19" fmla="*/ 1929878 w 2842751"/>
                <a:gd name="connsiteY19" fmla="*/ 1474333 h 3498714"/>
                <a:gd name="connsiteX20" fmla="*/ 1520943 w 2842751"/>
                <a:gd name="connsiteY20" fmla="*/ 1470388 h 3498714"/>
                <a:gd name="connsiteX21" fmla="*/ 1332825 w 2842751"/>
                <a:gd name="connsiteY21" fmla="*/ 1367201 h 3498714"/>
                <a:gd name="connsiteX22" fmla="*/ 1106501 w 2842751"/>
                <a:gd name="connsiteY22" fmla="*/ 1098289 h 3498714"/>
                <a:gd name="connsiteX23" fmla="*/ 1101049 w 2842751"/>
                <a:gd name="connsiteY23" fmla="*/ 1092836 h 3498714"/>
                <a:gd name="connsiteX24" fmla="*/ 1046523 w 2842751"/>
                <a:gd name="connsiteY24" fmla="*/ 1092836 h 3498714"/>
                <a:gd name="connsiteX25" fmla="*/ 1041071 w 2842751"/>
                <a:gd name="connsiteY25" fmla="*/ 1098289 h 3498714"/>
                <a:gd name="connsiteX26" fmla="*/ 1042136 w 2842751"/>
                <a:gd name="connsiteY26" fmla="*/ 1419754 h 3498714"/>
                <a:gd name="connsiteX27" fmla="*/ 1042136 w 2842751"/>
                <a:gd name="connsiteY27" fmla="*/ 3337652 h 3498714"/>
                <a:gd name="connsiteX28" fmla="*/ 881075 w 2842751"/>
                <a:gd name="connsiteY28" fmla="*/ 3498714 h 3498714"/>
                <a:gd name="connsiteX29" fmla="*/ 720012 w 2842751"/>
                <a:gd name="connsiteY29" fmla="*/ 3337652 h 3498714"/>
                <a:gd name="connsiteX30" fmla="*/ 720012 w 2842751"/>
                <a:gd name="connsiteY30" fmla="*/ 2125717 h 3498714"/>
                <a:gd name="connsiteX31" fmla="*/ 718947 w 2842751"/>
                <a:gd name="connsiteY31" fmla="*/ 2033194 h 3498714"/>
                <a:gd name="connsiteX32" fmla="*/ 714162 w 2842751"/>
                <a:gd name="connsiteY32" fmla="*/ 2028410 h 3498714"/>
                <a:gd name="connsiteX33" fmla="*/ 654759 w 2842751"/>
                <a:gd name="connsiteY33" fmla="*/ 2028410 h 3498714"/>
                <a:gd name="connsiteX34" fmla="*/ 649974 w 2842751"/>
                <a:gd name="connsiteY34" fmla="*/ 2033194 h 3498714"/>
                <a:gd name="connsiteX35" fmla="*/ 649974 w 2842751"/>
                <a:gd name="connsiteY35" fmla="*/ 2125717 h 3498714"/>
                <a:gd name="connsiteX36" fmla="*/ 649574 w 2842751"/>
                <a:gd name="connsiteY36" fmla="*/ 3337652 h 3498714"/>
                <a:gd name="connsiteX37" fmla="*/ 488511 w 2842751"/>
                <a:gd name="connsiteY37" fmla="*/ 3498714 h 3498714"/>
                <a:gd name="connsiteX38" fmla="*/ 327450 w 2842751"/>
                <a:gd name="connsiteY38" fmla="*/ 3337652 h 3498714"/>
                <a:gd name="connsiteX39" fmla="*/ 327450 w 2842751"/>
                <a:gd name="connsiteY39" fmla="*/ 1458216 h 3498714"/>
                <a:gd name="connsiteX40" fmla="*/ 322427 w 2842751"/>
                <a:gd name="connsiteY40" fmla="*/ 1098205 h 3498714"/>
                <a:gd name="connsiteX41" fmla="*/ 317058 w 2842751"/>
                <a:gd name="connsiteY41" fmla="*/ 1092836 h 3498714"/>
                <a:gd name="connsiteX42" fmla="*/ 263371 w 2842751"/>
                <a:gd name="connsiteY42" fmla="*/ 1092836 h 3498714"/>
                <a:gd name="connsiteX43" fmla="*/ 258001 w 2842751"/>
                <a:gd name="connsiteY43" fmla="*/ 1098205 h 3498714"/>
                <a:gd name="connsiteX44" fmla="*/ 258001 w 2842751"/>
                <a:gd name="connsiteY44" fmla="*/ 1444446 h 3498714"/>
                <a:gd name="connsiteX45" fmla="*/ 257700 w 2842751"/>
                <a:gd name="connsiteY45" fmla="*/ 1444370 h 3498714"/>
                <a:gd name="connsiteX46" fmla="*/ 257700 w 2842751"/>
                <a:gd name="connsiteY46" fmla="*/ 1912573 h 3498714"/>
                <a:gd name="connsiteX47" fmla="*/ 128850 w 2842751"/>
                <a:gd name="connsiteY47" fmla="*/ 2041423 h 3498714"/>
                <a:gd name="connsiteX48" fmla="*/ 0 w 2842751"/>
                <a:gd name="connsiteY48" fmla="*/ 1912573 h 3498714"/>
                <a:gd name="connsiteX49" fmla="*/ 0 w 2842751"/>
                <a:gd name="connsiteY49" fmla="*/ 1101802 h 3498714"/>
                <a:gd name="connsiteX50" fmla="*/ 0 w 2842751"/>
                <a:gd name="connsiteY50" fmla="*/ 1003338 h 3498714"/>
                <a:gd name="connsiteX51" fmla="*/ 0 w 2842751"/>
                <a:gd name="connsiteY51" fmla="*/ 982486 h 3498714"/>
                <a:gd name="connsiteX52" fmla="*/ 12733 w 2842751"/>
                <a:gd name="connsiteY52" fmla="*/ 894663 h 3498714"/>
                <a:gd name="connsiteX53" fmla="*/ 20539 w 2842751"/>
                <a:gd name="connsiteY53" fmla="*/ 868773 h 3498714"/>
                <a:gd name="connsiteX54" fmla="*/ 358791 w 2842751"/>
                <a:gd name="connsiteY54" fmla="*/ 644545 h 3498714"/>
                <a:gd name="connsiteX55" fmla="*/ 682782 w 2842751"/>
                <a:gd name="connsiteY55" fmla="*/ 0 h 3498714"/>
                <a:gd name="connsiteX56" fmla="*/ 966919 w 2842751"/>
                <a:gd name="connsiteY56" fmla="*/ 284138 h 3498714"/>
                <a:gd name="connsiteX57" fmla="*/ 682782 w 2842751"/>
                <a:gd name="connsiteY57" fmla="*/ 568275 h 3498714"/>
                <a:gd name="connsiteX58" fmla="*/ 398645 w 2842751"/>
                <a:gd name="connsiteY58" fmla="*/ 284138 h 3498714"/>
                <a:gd name="connsiteX59" fmla="*/ 682782 w 2842751"/>
                <a:gd name="connsiteY59" fmla="*/ 0 h 3498714"/>
                <a:gd name="connsiteX60" fmla="*/ 2589325 w 2842751"/>
                <a:gd name="connsiteY60" fmla="*/ 3124562 h 3498714"/>
                <a:gd name="connsiteX61" fmla="*/ 2589325 w 2842751"/>
                <a:gd name="connsiteY61" fmla="*/ 3361625 h 3498714"/>
                <a:gd name="connsiteX62" fmla="*/ 2480313 w 2842751"/>
                <a:gd name="connsiteY62" fmla="*/ 3470637 h 3498714"/>
                <a:gd name="connsiteX63" fmla="*/ 2279239 w 2842751"/>
                <a:gd name="connsiteY63" fmla="*/ 3470637 h 3498714"/>
                <a:gd name="connsiteX64" fmla="*/ 2170227 w 2842751"/>
                <a:gd name="connsiteY64" fmla="*/ 3361625 h 3498714"/>
                <a:gd name="connsiteX65" fmla="*/ 2170227 w 2842751"/>
                <a:gd name="connsiteY65" fmla="*/ 3124562 h 3498714"/>
                <a:gd name="connsiteX66" fmla="*/ 2052754 w 2842751"/>
                <a:gd name="connsiteY66" fmla="*/ 3124562 h 3498714"/>
                <a:gd name="connsiteX67" fmla="*/ 1941629 w 2842751"/>
                <a:gd name="connsiteY67" fmla="*/ 3013437 h 3498714"/>
                <a:gd name="connsiteX68" fmla="*/ 2052754 w 2842751"/>
                <a:gd name="connsiteY68" fmla="*/ 2902312 h 3498714"/>
                <a:gd name="connsiteX69" fmla="*/ 682782 w 2842751"/>
                <a:gd name="connsiteY69" fmla="*/ 0 h 3498714"/>
                <a:gd name="connsiteX0" fmla="*/ 2251033 w 2842751"/>
                <a:gd name="connsiteY0" fmla="*/ 2089512 h 3498714"/>
                <a:gd name="connsiteX1" fmla="*/ 2070058 w 2842751"/>
                <a:gd name="connsiteY1" fmla="*/ 2270487 h 3498714"/>
                <a:gd name="connsiteX2" fmla="*/ 2251033 w 2842751"/>
                <a:gd name="connsiteY2" fmla="*/ 2089512 h 3498714"/>
                <a:gd name="connsiteX3" fmla="*/ 2842751 w 2842751"/>
                <a:gd name="connsiteY3" fmla="*/ 1749356 h 3498714"/>
                <a:gd name="connsiteX4" fmla="*/ 2392797 w 2842751"/>
                <a:gd name="connsiteY4" fmla="*/ 1878907 h 3498714"/>
                <a:gd name="connsiteX5" fmla="*/ 2478781 w 2842751"/>
                <a:gd name="connsiteY5" fmla="*/ 1920808 h 3498714"/>
                <a:gd name="connsiteX6" fmla="*/ 2842751 w 2842751"/>
                <a:gd name="connsiteY6" fmla="*/ 1749356 h 3498714"/>
                <a:gd name="connsiteX7" fmla="*/ 2534724 w 2842751"/>
                <a:gd name="connsiteY7" fmla="*/ 982297 h 3498714"/>
                <a:gd name="connsiteX8" fmla="*/ 1850348 w 2842751"/>
                <a:gd name="connsiteY8" fmla="*/ 2705462 h 3498714"/>
                <a:gd name="connsiteX9" fmla="*/ 1956769 w 2842751"/>
                <a:gd name="connsiteY9" fmla="*/ 2587684 h 3498714"/>
                <a:gd name="connsiteX10" fmla="*/ 1823360 w 2842751"/>
                <a:gd name="connsiteY10" fmla="*/ 2279217 h 3498714"/>
                <a:gd name="connsiteX11" fmla="*/ 2217440 w 2842751"/>
                <a:gd name="connsiteY11" fmla="*/ 1856216 h 3498714"/>
                <a:gd name="connsiteX12" fmla="*/ 2534724 w 2842751"/>
                <a:gd name="connsiteY12" fmla="*/ 982297 h 3498714"/>
                <a:gd name="connsiteX13" fmla="*/ 358791 w 2842751"/>
                <a:gd name="connsiteY13" fmla="*/ 644545 h 3498714"/>
                <a:gd name="connsiteX14" fmla="*/ 1006774 w 2842751"/>
                <a:gd name="connsiteY14" fmla="*/ 644545 h 3498714"/>
                <a:gd name="connsiteX15" fmla="*/ 1542636 w 2842751"/>
                <a:gd name="connsiteY15" fmla="*/ 1193969 h 3498714"/>
                <a:gd name="connsiteX16" fmla="*/ 1929878 w 2842751"/>
                <a:gd name="connsiteY16" fmla="*/ 1193970 h 3498714"/>
                <a:gd name="connsiteX17" fmla="*/ 2070059 w 2842751"/>
                <a:gd name="connsiteY17" fmla="*/ 1334152 h 3498714"/>
                <a:gd name="connsiteX18" fmla="*/ 1929878 w 2842751"/>
                <a:gd name="connsiteY18" fmla="*/ 1474333 h 3498714"/>
                <a:gd name="connsiteX19" fmla="*/ 1520943 w 2842751"/>
                <a:gd name="connsiteY19" fmla="*/ 1470388 h 3498714"/>
                <a:gd name="connsiteX20" fmla="*/ 1332825 w 2842751"/>
                <a:gd name="connsiteY20" fmla="*/ 1367201 h 3498714"/>
                <a:gd name="connsiteX21" fmla="*/ 1106501 w 2842751"/>
                <a:gd name="connsiteY21" fmla="*/ 1098289 h 3498714"/>
                <a:gd name="connsiteX22" fmla="*/ 1101049 w 2842751"/>
                <a:gd name="connsiteY22" fmla="*/ 1092836 h 3498714"/>
                <a:gd name="connsiteX23" fmla="*/ 1046523 w 2842751"/>
                <a:gd name="connsiteY23" fmla="*/ 1092836 h 3498714"/>
                <a:gd name="connsiteX24" fmla="*/ 1041071 w 2842751"/>
                <a:gd name="connsiteY24" fmla="*/ 1098289 h 3498714"/>
                <a:gd name="connsiteX25" fmla="*/ 1042136 w 2842751"/>
                <a:gd name="connsiteY25" fmla="*/ 1419754 h 3498714"/>
                <a:gd name="connsiteX26" fmla="*/ 1042136 w 2842751"/>
                <a:gd name="connsiteY26" fmla="*/ 3337652 h 3498714"/>
                <a:gd name="connsiteX27" fmla="*/ 881075 w 2842751"/>
                <a:gd name="connsiteY27" fmla="*/ 3498714 h 3498714"/>
                <a:gd name="connsiteX28" fmla="*/ 720012 w 2842751"/>
                <a:gd name="connsiteY28" fmla="*/ 3337652 h 3498714"/>
                <a:gd name="connsiteX29" fmla="*/ 720012 w 2842751"/>
                <a:gd name="connsiteY29" fmla="*/ 2125717 h 3498714"/>
                <a:gd name="connsiteX30" fmla="*/ 718947 w 2842751"/>
                <a:gd name="connsiteY30" fmla="*/ 2033194 h 3498714"/>
                <a:gd name="connsiteX31" fmla="*/ 714162 w 2842751"/>
                <a:gd name="connsiteY31" fmla="*/ 2028410 h 3498714"/>
                <a:gd name="connsiteX32" fmla="*/ 654759 w 2842751"/>
                <a:gd name="connsiteY32" fmla="*/ 2028410 h 3498714"/>
                <a:gd name="connsiteX33" fmla="*/ 649974 w 2842751"/>
                <a:gd name="connsiteY33" fmla="*/ 2033194 h 3498714"/>
                <a:gd name="connsiteX34" fmla="*/ 649974 w 2842751"/>
                <a:gd name="connsiteY34" fmla="*/ 2125717 h 3498714"/>
                <a:gd name="connsiteX35" fmla="*/ 649574 w 2842751"/>
                <a:gd name="connsiteY35" fmla="*/ 3337652 h 3498714"/>
                <a:gd name="connsiteX36" fmla="*/ 488511 w 2842751"/>
                <a:gd name="connsiteY36" fmla="*/ 3498714 h 3498714"/>
                <a:gd name="connsiteX37" fmla="*/ 327450 w 2842751"/>
                <a:gd name="connsiteY37" fmla="*/ 3337652 h 3498714"/>
                <a:gd name="connsiteX38" fmla="*/ 327450 w 2842751"/>
                <a:gd name="connsiteY38" fmla="*/ 1458216 h 3498714"/>
                <a:gd name="connsiteX39" fmla="*/ 322427 w 2842751"/>
                <a:gd name="connsiteY39" fmla="*/ 1098205 h 3498714"/>
                <a:gd name="connsiteX40" fmla="*/ 317058 w 2842751"/>
                <a:gd name="connsiteY40" fmla="*/ 1092836 h 3498714"/>
                <a:gd name="connsiteX41" fmla="*/ 263371 w 2842751"/>
                <a:gd name="connsiteY41" fmla="*/ 1092836 h 3498714"/>
                <a:gd name="connsiteX42" fmla="*/ 258001 w 2842751"/>
                <a:gd name="connsiteY42" fmla="*/ 1098205 h 3498714"/>
                <a:gd name="connsiteX43" fmla="*/ 258001 w 2842751"/>
                <a:gd name="connsiteY43" fmla="*/ 1444446 h 3498714"/>
                <a:gd name="connsiteX44" fmla="*/ 257700 w 2842751"/>
                <a:gd name="connsiteY44" fmla="*/ 1444370 h 3498714"/>
                <a:gd name="connsiteX45" fmla="*/ 257700 w 2842751"/>
                <a:gd name="connsiteY45" fmla="*/ 1912573 h 3498714"/>
                <a:gd name="connsiteX46" fmla="*/ 128850 w 2842751"/>
                <a:gd name="connsiteY46" fmla="*/ 2041423 h 3498714"/>
                <a:gd name="connsiteX47" fmla="*/ 0 w 2842751"/>
                <a:gd name="connsiteY47" fmla="*/ 1912573 h 3498714"/>
                <a:gd name="connsiteX48" fmla="*/ 0 w 2842751"/>
                <a:gd name="connsiteY48" fmla="*/ 1101802 h 3498714"/>
                <a:gd name="connsiteX49" fmla="*/ 0 w 2842751"/>
                <a:gd name="connsiteY49" fmla="*/ 1003338 h 3498714"/>
                <a:gd name="connsiteX50" fmla="*/ 0 w 2842751"/>
                <a:gd name="connsiteY50" fmla="*/ 982486 h 3498714"/>
                <a:gd name="connsiteX51" fmla="*/ 12733 w 2842751"/>
                <a:gd name="connsiteY51" fmla="*/ 894663 h 3498714"/>
                <a:gd name="connsiteX52" fmla="*/ 20539 w 2842751"/>
                <a:gd name="connsiteY52" fmla="*/ 868773 h 3498714"/>
                <a:gd name="connsiteX53" fmla="*/ 358791 w 2842751"/>
                <a:gd name="connsiteY53" fmla="*/ 644545 h 3498714"/>
                <a:gd name="connsiteX54" fmla="*/ 682782 w 2842751"/>
                <a:gd name="connsiteY54" fmla="*/ 0 h 3498714"/>
                <a:gd name="connsiteX55" fmla="*/ 966919 w 2842751"/>
                <a:gd name="connsiteY55" fmla="*/ 284138 h 3498714"/>
                <a:gd name="connsiteX56" fmla="*/ 682782 w 2842751"/>
                <a:gd name="connsiteY56" fmla="*/ 568275 h 3498714"/>
                <a:gd name="connsiteX57" fmla="*/ 398645 w 2842751"/>
                <a:gd name="connsiteY57" fmla="*/ 284138 h 3498714"/>
                <a:gd name="connsiteX58" fmla="*/ 682782 w 2842751"/>
                <a:gd name="connsiteY58" fmla="*/ 0 h 3498714"/>
                <a:gd name="connsiteX59" fmla="*/ 2589325 w 2842751"/>
                <a:gd name="connsiteY59" fmla="*/ 3124562 h 3498714"/>
                <a:gd name="connsiteX60" fmla="*/ 2589325 w 2842751"/>
                <a:gd name="connsiteY60" fmla="*/ 3361625 h 3498714"/>
                <a:gd name="connsiteX61" fmla="*/ 2480313 w 2842751"/>
                <a:gd name="connsiteY61" fmla="*/ 3470637 h 3498714"/>
                <a:gd name="connsiteX62" fmla="*/ 2279239 w 2842751"/>
                <a:gd name="connsiteY62" fmla="*/ 3470637 h 3498714"/>
                <a:gd name="connsiteX63" fmla="*/ 2170227 w 2842751"/>
                <a:gd name="connsiteY63" fmla="*/ 3361625 h 3498714"/>
                <a:gd name="connsiteX64" fmla="*/ 2170227 w 2842751"/>
                <a:gd name="connsiteY64" fmla="*/ 3124562 h 3498714"/>
                <a:gd name="connsiteX65" fmla="*/ 2052754 w 2842751"/>
                <a:gd name="connsiteY65" fmla="*/ 3124562 h 3498714"/>
                <a:gd name="connsiteX66" fmla="*/ 1941629 w 2842751"/>
                <a:gd name="connsiteY66" fmla="*/ 3013437 h 3498714"/>
                <a:gd name="connsiteX67" fmla="*/ 2052754 w 2842751"/>
                <a:gd name="connsiteY67" fmla="*/ 2902312 h 3498714"/>
                <a:gd name="connsiteX68" fmla="*/ 682782 w 2842751"/>
                <a:gd name="connsiteY68" fmla="*/ 0 h 3498714"/>
                <a:gd name="connsiteX0" fmla="*/ 2251033 w 2842751"/>
                <a:gd name="connsiteY0" fmla="*/ 2089512 h 3498714"/>
                <a:gd name="connsiteX1" fmla="*/ 2070058 w 2842751"/>
                <a:gd name="connsiteY1" fmla="*/ 2270487 h 3498714"/>
                <a:gd name="connsiteX2" fmla="*/ 2251033 w 2842751"/>
                <a:gd name="connsiteY2" fmla="*/ 2089512 h 3498714"/>
                <a:gd name="connsiteX3" fmla="*/ 2842751 w 2842751"/>
                <a:gd name="connsiteY3" fmla="*/ 1749356 h 3498714"/>
                <a:gd name="connsiteX4" fmla="*/ 2392797 w 2842751"/>
                <a:gd name="connsiteY4" fmla="*/ 1878907 h 3498714"/>
                <a:gd name="connsiteX5" fmla="*/ 2478781 w 2842751"/>
                <a:gd name="connsiteY5" fmla="*/ 1920808 h 3498714"/>
                <a:gd name="connsiteX6" fmla="*/ 2842751 w 2842751"/>
                <a:gd name="connsiteY6" fmla="*/ 1749356 h 3498714"/>
                <a:gd name="connsiteX7" fmla="*/ 2534724 w 2842751"/>
                <a:gd name="connsiteY7" fmla="*/ 982297 h 3498714"/>
                <a:gd name="connsiteX8" fmla="*/ 1956769 w 2842751"/>
                <a:gd name="connsiteY8" fmla="*/ 2587684 h 3498714"/>
                <a:gd name="connsiteX9" fmla="*/ 1823360 w 2842751"/>
                <a:gd name="connsiteY9" fmla="*/ 2279217 h 3498714"/>
                <a:gd name="connsiteX10" fmla="*/ 2217440 w 2842751"/>
                <a:gd name="connsiteY10" fmla="*/ 1856216 h 3498714"/>
                <a:gd name="connsiteX11" fmla="*/ 2534724 w 2842751"/>
                <a:gd name="connsiteY11" fmla="*/ 982297 h 3498714"/>
                <a:gd name="connsiteX12" fmla="*/ 358791 w 2842751"/>
                <a:gd name="connsiteY12" fmla="*/ 644545 h 3498714"/>
                <a:gd name="connsiteX13" fmla="*/ 1006774 w 2842751"/>
                <a:gd name="connsiteY13" fmla="*/ 644545 h 3498714"/>
                <a:gd name="connsiteX14" fmla="*/ 1542636 w 2842751"/>
                <a:gd name="connsiteY14" fmla="*/ 1193969 h 3498714"/>
                <a:gd name="connsiteX15" fmla="*/ 1929878 w 2842751"/>
                <a:gd name="connsiteY15" fmla="*/ 1193970 h 3498714"/>
                <a:gd name="connsiteX16" fmla="*/ 2070059 w 2842751"/>
                <a:gd name="connsiteY16" fmla="*/ 1334152 h 3498714"/>
                <a:gd name="connsiteX17" fmla="*/ 1929878 w 2842751"/>
                <a:gd name="connsiteY17" fmla="*/ 1474333 h 3498714"/>
                <a:gd name="connsiteX18" fmla="*/ 1520943 w 2842751"/>
                <a:gd name="connsiteY18" fmla="*/ 1470388 h 3498714"/>
                <a:gd name="connsiteX19" fmla="*/ 1332825 w 2842751"/>
                <a:gd name="connsiteY19" fmla="*/ 1367201 h 3498714"/>
                <a:gd name="connsiteX20" fmla="*/ 1106501 w 2842751"/>
                <a:gd name="connsiteY20" fmla="*/ 1098289 h 3498714"/>
                <a:gd name="connsiteX21" fmla="*/ 1101049 w 2842751"/>
                <a:gd name="connsiteY21" fmla="*/ 1092836 h 3498714"/>
                <a:gd name="connsiteX22" fmla="*/ 1046523 w 2842751"/>
                <a:gd name="connsiteY22" fmla="*/ 1092836 h 3498714"/>
                <a:gd name="connsiteX23" fmla="*/ 1041071 w 2842751"/>
                <a:gd name="connsiteY23" fmla="*/ 1098289 h 3498714"/>
                <a:gd name="connsiteX24" fmla="*/ 1042136 w 2842751"/>
                <a:gd name="connsiteY24" fmla="*/ 1419754 h 3498714"/>
                <a:gd name="connsiteX25" fmla="*/ 1042136 w 2842751"/>
                <a:gd name="connsiteY25" fmla="*/ 3337652 h 3498714"/>
                <a:gd name="connsiteX26" fmla="*/ 881075 w 2842751"/>
                <a:gd name="connsiteY26" fmla="*/ 3498714 h 3498714"/>
                <a:gd name="connsiteX27" fmla="*/ 720012 w 2842751"/>
                <a:gd name="connsiteY27" fmla="*/ 3337652 h 3498714"/>
                <a:gd name="connsiteX28" fmla="*/ 720012 w 2842751"/>
                <a:gd name="connsiteY28" fmla="*/ 2125717 h 3498714"/>
                <a:gd name="connsiteX29" fmla="*/ 718947 w 2842751"/>
                <a:gd name="connsiteY29" fmla="*/ 2033194 h 3498714"/>
                <a:gd name="connsiteX30" fmla="*/ 714162 w 2842751"/>
                <a:gd name="connsiteY30" fmla="*/ 2028410 h 3498714"/>
                <a:gd name="connsiteX31" fmla="*/ 654759 w 2842751"/>
                <a:gd name="connsiteY31" fmla="*/ 2028410 h 3498714"/>
                <a:gd name="connsiteX32" fmla="*/ 649974 w 2842751"/>
                <a:gd name="connsiteY32" fmla="*/ 2033194 h 3498714"/>
                <a:gd name="connsiteX33" fmla="*/ 649974 w 2842751"/>
                <a:gd name="connsiteY33" fmla="*/ 2125717 h 3498714"/>
                <a:gd name="connsiteX34" fmla="*/ 649574 w 2842751"/>
                <a:gd name="connsiteY34" fmla="*/ 3337652 h 3498714"/>
                <a:gd name="connsiteX35" fmla="*/ 488511 w 2842751"/>
                <a:gd name="connsiteY35" fmla="*/ 3498714 h 3498714"/>
                <a:gd name="connsiteX36" fmla="*/ 327450 w 2842751"/>
                <a:gd name="connsiteY36" fmla="*/ 3337652 h 3498714"/>
                <a:gd name="connsiteX37" fmla="*/ 327450 w 2842751"/>
                <a:gd name="connsiteY37" fmla="*/ 1458216 h 3498714"/>
                <a:gd name="connsiteX38" fmla="*/ 322427 w 2842751"/>
                <a:gd name="connsiteY38" fmla="*/ 1098205 h 3498714"/>
                <a:gd name="connsiteX39" fmla="*/ 317058 w 2842751"/>
                <a:gd name="connsiteY39" fmla="*/ 1092836 h 3498714"/>
                <a:gd name="connsiteX40" fmla="*/ 263371 w 2842751"/>
                <a:gd name="connsiteY40" fmla="*/ 1092836 h 3498714"/>
                <a:gd name="connsiteX41" fmla="*/ 258001 w 2842751"/>
                <a:gd name="connsiteY41" fmla="*/ 1098205 h 3498714"/>
                <a:gd name="connsiteX42" fmla="*/ 258001 w 2842751"/>
                <a:gd name="connsiteY42" fmla="*/ 1444446 h 3498714"/>
                <a:gd name="connsiteX43" fmla="*/ 257700 w 2842751"/>
                <a:gd name="connsiteY43" fmla="*/ 1444370 h 3498714"/>
                <a:gd name="connsiteX44" fmla="*/ 257700 w 2842751"/>
                <a:gd name="connsiteY44" fmla="*/ 1912573 h 3498714"/>
                <a:gd name="connsiteX45" fmla="*/ 128850 w 2842751"/>
                <a:gd name="connsiteY45" fmla="*/ 2041423 h 3498714"/>
                <a:gd name="connsiteX46" fmla="*/ 0 w 2842751"/>
                <a:gd name="connsiteY46" fmla="*/ 1912573 h 3498714"/>
                <a:gd name="connsiteX47" fmla="*/ 0 w 2842751"/>
                <a:gd name="connsiteY47" fmla="*/ 1101802 h 3498714"/>
                <a:gd name="connsiteX48" fmla="*/ 0 w 2842751"/>
                <a:gd name="connsiteY48" fmla="*/ 1003338 h 3498714"/>
                <a:gd name="connsiteX49" fmla="*/ 0 w 2842751"/>
                <a:gd name="connsiteY49" fmla="*/ 982486 h 3498714"/>
                <a:gd name="connsiteX50" fmla="*/ 12733 w 2842751"/>
                <a:gd name="connsiteY50" fmla="*/ 894663 h 3498714"/>
                <a:gd name="connsiteX51" fmla="*/ 20539 w 2842751"/>
                <a:gd name="connsiteY51" fmla="*/ 868773 h 3498714"/>
                <a:gd name="connsiteX52" fmla="*/ 358791 w 2842751"/>
                <a:gd name="connsiteY52" fmla="*/ 644545 h 3498714"/>
                <a:gd name="connsiteX53" fmla="*/ 682782 w 2842751"/>
                <a:gd name="connsiteY53" fmla="*/ 0 h 3498714"/>
                <a:gd name="connsiteX54" fmla="*/ 966919 w 2842751"/>
                <a:gd name="connsiteY54" fmla="*/ 284138 h 3498714"/>
                <a:gd name="connsiteX55" fmla="*/ 682782 w 2842751"/>
                <a:gd name="connsiteY55" fmla="*/ 568275 h 3498714"/>
                <a:gd name="connsiteX56" fmla="*/ 398645 w 2842751"/>
                <a:gd name="connsiteY56" fmla="*/ 284138 h 3498714"/>
                <a:gd name="connsiteX57" fmla="*/ 682782 w 2842751"/>
                <a:gd name="connsiteY57" fmla="*/ 0 h 3498714"/>
                <a:gd name="connsiteX58" fmla="*/ 2589325 w 2842751"/>
                <a:gd name="connsiteY58" fmla="*/ 3124562 h 3498714"/>
                <a:gd name="connsiteX59" fmla="*/ 2589325 w 2842751"/>
                <a:gd name="connsiteY59" fmla="*/ 3361625 h 3498714"/>
                <a:gd name="connsiteX60" fmla="*/ 2480313 w 2842751"/>
                <a:gd name="connsiteY60" fmla="*/ 3470637 h 3498714"/>
                <a:gd name="connsiteX61" fmla="*/ 2279239 w 2842751"/>
                <a:gd name="connsiteY61" fmla="*/ 3470637 h 3498714"/>
                <a:gd name="connsiteX62" fmla="*/ 2170227 w 2842751"/>
                <a:gd name="connsiteY62" fmla="*/ 3361625 h 3498714"/>
                <a:gd name="connsiteX63" fmla="*/ 2170227 w 2842751"/>
                <a:gd name="connsiteY63" fmla="*/ 3124562 h 3498714"/>
                <a:gd name="connsiteX64" fmla="*/ 2052754 w 2842751"/>
                <a:gd name="connsiteY64" fmla="*/ 3124562 h 3498714"/>
                <a:gd name="connsiteX65" fmla="*/ 1941629 w 2842751"/>
                <a:gd name="connsiteY65" fmla="*/ 3013437 h 3498714"/>
                <a:gd name="connsiteX66" fmla="*/ 2052754 w 2842751"/>
                <a:gd name="connsiteY66" fmla="*/ 2902312 h 3498714"/>
                <a:gd name="connsiteX67" fmla="*/ 682782 w 2842751"/>
                <a:gd name="connsiteY67" fmla="*/ 0 h 3498714"/>
                <a:gd name="connsiteX0" fmla="*/ 2251033 w 2842751"/>
                <a:gd name="connsiteY0" fmla="*/ 2089512 h 3498714"/>
                <a:gd name="connsiteX1" fmla="*/ 2070058 w 2842751"/>
                <a:gd name="connsiteY1" fmla="*/ 2270487 h 3498714"/>
                <a:gd name="connsiteX2" fmla="*/ 2251033 w 2842751"/>
                <a:gd name="connsiteY2" fmla="*/ 2089512 h 3498714"/>
                <a:gd name="connsiteX3" fmla="*/ 2842751 w 2842751"/>
                <a:gd name="connsiteY3" fmla="*/ 1749356 h 3498714"/>
                <a:gd name="connsiteX4" fmla="*/ 2392797 w 2842751"/>
                <a:gd name="connsiteY4" fmla="*/ 1878907 h 3498714"/>
                <a:gd name="connsiteX5" fmla="*/ 2478781 w 2842751"/>
                <a:gd name="connsiteY5" fmla="*/ 1920808 h 3498714"/>
                <a:gd name="connsiteX6" fmla="*/ 2842751 w 2842751"/>
                <a:gd name="connsiteY6" fmla="*/ 1749356 h 3498714"/>
                <a:gd name="connsiteX7" fmla="*/ 2534724 w 2842751"/>
                <a:gd name="connsiteY7" fmla="*/ 982297 h 3498714"/>
                <a:gd name="connsiteX8" fmla="*/ 1823360 w 2842751"/>
                <a:gd name="connsiteY8" fmla="*/ 2279217 h 3498714"/>
                <a:gd name="connsiteX9" fmla="*/ 2217440 w 2842751"/>
                <a:gd name="connsiteY9" fmla="*/ 1856216 h 3498714"/>
                <a:gd name="connsiteX10" fmla="*/ 2534724 w 2842751"/>
                <a:gd name="connsiteY10" fmla="*/ 982297 h 3498714"/>
                <a:gd name="connsiteX11" fmla="*/ 358791 w 2842751"/>
                <a:gd name="connsiteY11" fmla="*/ 644545 h 3498714"/>
                <a:gd name="connsiteX12" fmla="*/ 1006774 w 2842751"/>
                <a:gd name="connsiteY12" fmla="*/ 644545 h 3498714"/>
                <a:gd name="connsiteX13" fmla="*/ 1542636 w 2842751"/>
                <a:gd name="connsiteY13" fmla="*/ 1193969 h 3498714"/>
                <a:gd name="connsiteX14" fmla="*/ 1929878 w 2842751"/>
                <a:gd name="connsiteY14" fmla="*/ 1193970 h 3498714"/>
                <a:gd name="connsiteX15" fmla="*/ 2070059 w 2842751"/>
                <a:gd name="connsiteY15" fmla="*/ 1334152 h 3498714"/>
                <a:gd name="connsiteX16" fmla="*/ 1929878 w 2842751"/>
                <a:gd name="connsiteY16" fmla="*/ 1474333 h 3498714"/>
                <a:gd name="connsiteX17" fmla="*/ 1520943 w 2842751"/>
                <a:gd name="connsiteY17" fmla="*/ 1470388 h 3498714"/>
                <a:gd name="connsiteX18" fmla="*/ 1332825 w 2842751"/>
                <a:gd name="connsiteY18" fmla="*/ 1367201 h 3498714"/>
                <a:gd name="connsiteX19" fmla="*/ 1106501 w 2842751"/>
                <a:gd name="connsiteY19" fmla="*/ 1098289 h 3498714"/>
                <a:gd name="connsiteX20" fmla="*/ 1101049 w 2842751"/>
                <a:gd name="connsiteY20" fmla="*/ 1092836 h 3498714"/>
                <a:gd name="connsiteX21" fmla="*/ 1046523 w 2842751"/>
                <a:gd name="connsiteY21" fmla="*/ 1092836 h 3498714"/>
                <a:gd name="connsiteX22" fmla="*/ 1041071 w 2842751"/>
                <a:gd name="connsiteY22" fmla="*/ 1098289 h 3498714"/>
                <a:gd name="connsiteX23" fmla="*/ 1042136 w 2842751"/>
                <a:gd name="connsiteY23" fmla="*/ 1419754 h 3498714"/>
                <a:gd name="connsiteX24" fmla="*/ 1042136 w 2842751"/>
                <a:gd name="connsiteY24" fmla="*/ 3337652 h 3498714"/>
                <a:gd name="connsiteX25" fmla="*/ 881075 w 2842751"/>
                <a:gd name="connsiteY25" fmla="*/ 3498714 h 3498714"/>
                <a:gd name="connsiteX26" fmla="*/ 720012 w 2842751"/>
                <a:gd name="connsiteY26" fmla="*/ 3337652 h 3498714"/>
                <a:gd name="connsiteX27" fmla="*/ 720012 w 2842751"/>
                <a:gd name="connsiteY27" fmla="*/ 2125717 h 3498714"/>
                <a:gd name="connsiteX28" fmla="*/ 718947 w 2842751"/>
                <a:gd name="connsiteY28" fmla="*/ 2033194 h 3498714"/>
                <a:gd name="connsiteX29" fmla="*/ 714162 w 2842751"/>
                <a:gd name="connsiteY29" fmla="*/ 2028410 h 3498714"/>
                <a:gd name="connsiteX30" fmla="*/ 654759 w 2842751"/>
                <a:gd name="connsiteY30" fmla="*/ 2028410 h 3498714"/>
                <a:gd name="connsiteX31" fmla="*/ 649974 w 2842751"/>
                <a:gd name="connsiteY31" fmla="*/ 2033194 h 3498714"/>
                <a:gd name="connsiteX32" fmla="*/ 649974 w 2842751"/>
                <a:gd name="connsiteY32" fmla="*/ 2125717 h 3498714"/>
                <a:gd name="connsiteX33" fmla="*/ 649574 w 2842751"/>
                <a:gd name="connsiteY33" fmla="*/ 3337652 h 3498714"/>
                <a:gd name="connsiteX34" fmla="*/ 488511 w 2842751"/>
                <a:gd name="connsiteY34" fmla="*/ 3498714 h 3498714"/>
                <a:gd name="connsiteX35" fmla="*/ 327450 w 2842751"/>
                <a:gd name="connsiteY35" fmla="*/ 3337652 h 3498714"/>
                <a:gd name="connsiteX36" fmla="*/ 327450 w 2842751"/>
                <a:gd name="connsiteY36" fmla="*/ 1458216 h 3498714"/>
                <a:gd name="connsiteX37" fmla="*/ 322427 w 2842751"/>
                <a:gd name="connsiteY37" fmla="*/ 1098205 h 3498714"/>
                <a:gd name="connsiteX38" fmla="*/ 317058 w 2842751"/>
                <a:gd name="connsiteY38" fmla="*/ 1092836 h 3498714"/>
                <a:gd name="connsiteX39" fmla="*/ 263371 w 2842751"/>
                <a:gd name="connsiteY39" fmla="*/ 1092836 h 3498714"/>
                <a:gd name="connsiteX40" fmla="*/ 258001 w 2842751"/>
                <a:gd name="connsiteY40" fmla="*/ 1098205 h 3498714"/>
                <a:gd name="connsiteX41" fmla="*/ 258001 w 2842751"/>
                <a:gd name="connsiteY41" fmla="*/ 1444446 h 3498714"/>
                <a:gd name="connsiteX42" fmla="*/ 257700 w 2842751"/>
                <a:gd name="connsiteY42" fmla="*/ 1444370 h 3498714"/>
                <a:gd name="connsiteX43" fmla="*/ 257700 w 2842751"/>
                <a:gd name="connsiteY43" fmla="*/ 1912573 h 3498714"/>
                <a:gd name="connsiteX44" fmla="*/ 128850 w 2842751"/>
                <a:gd name="connsiteY44" fmla="*/ 2041423 h 3498714"/>
                <a:gd name="connsiteX45" fmla="*/ 0 w 2842751"/>
                <a:gd name="connsiteY45" fmla="*/ 1912573 h 3498714"/>
                <a:gd name="connsiteX46" fmla="*/ 0 w 2842751"/>
                <a:gd name="connsiteY46" fmla="*/ 1101802 h 3498714"/>
                <a:gd name="connsiteX47" fmla="*/ 0 w 2842751"/>
                <a:gd name="connsiteY47" fmla="*/ 1003338 h 3498714"/>
                <a:gd name="connsiteX48" fmla="*/ 0 w 2842751"/>
                <a:gd name="connsiteY48" fmla="*/ 982486 h 3498714"/>
                <a:gd name="connsiteX49" fmla="*/ 12733 w 2842751"/>
                <a:gd name="connsiteY49" fmla="*/ 894663 h 3498714"/>
                <a:gd name="connsiteX50" fmla="*/ 20539 w 2842751"/>
                <a:gd name="connsiteY50" fmla="*/ 868773 h 3498714"/>
                <a:gd name="connsiteX51" fmla="*/ 358791 w 2842751"/>
                <a:gd name="connsiteY51" fmla="*/ 644545 h 3498714"/>
                <a:gd name="connsiteX52" fmla="*/ 682782 w 2842751"/>
                <a:gd name="connsiteY52" fmla="*/ 0 h 3498714"/>
                <a:gd name="connsiteX53" fmla="*/ 966919 w 2842751"/>
                <a:gd name="connsiteY53" fmla="*/ 284138 h 3498714"/>
                <a:gd name="connsiteX54" fmla="*/ 682782 w 2842751"/>
                <a:gd name="connsiteY54" fmla="*/ 568275 h 3498714"/>
                <a:gd name="connsiteX55" fmla="*/ 398645 w 2842751"/>
                <a:gd name="connsiteY55" fmla="*/ 284138 h 3498714"/>
                <a:gd name="connsiteX56" fmla="*/ 682782 w 2842751"/>
                <a:gd name="connsiteY56" fmla="*/ 0 h 3498714"/>
                <a:gd name="connsiteX57" fmla="*/ 2589325 w 2842751"/>
                <a:gd name="connsiteY57" fmla="*/ 3124562 h 3498714"/>
                <a:gd name="connsiteX58" fmla="*/ 2589325 w 2842751"/>
                <a:gd name="connsiteY58" fmla="*/ 3361625 h 3498714"/>
                <a:gd name="connsiteX59" fmla="*/ 2480313 w 2842751"/>
                <a:gd name="connsiteY59" fmla="*/ 3470637 h 3498714"/>
                <a:gd name="connsiteX60" fmla="*/ 2279239 w 2842751"/>
                <a:gd name="connsiteY60" fmla="*/ 3470637 h 3498714"/>
                <a:gd name="connsiteX61" fmla="*/ 2170227 w 2842751"/>
                <a:gd name="connsiteY61" fmla="*/ 3361625 h 3498714"/>
                <a:gd name="connsiteX62" fmla="*/ 2170227 w 2842751"/>
                <a:gd name="connsiteY62" fmla="*/ 3124562 h 3498714"/>
                <a:gd name="connsiteX63" fmla="*/ 2052754 w 2842751"/>
                <a:gd name="connsiteY63" fmla="*/ 3124562 h 3498714"/>
                <a:gd name="connsiteX64" fmla="*/ 1941629 w 2842751"/>
                <a:gd name="connsiteY64" fmla="*/ 3013437 h 3498714"/>
                <a:gd name="connsiteX65" fmla="*/ 2052754 w 2842751"/>
                <a:gd name="connsiteY65" fmla="*/ 2902312 h 3498714"/>
                <a:gd name="connsiteX66" fmla="*/ 682782 w 2842751"/>
                <a:gd name="connsiteY66" fmla="*/ 0 h 3498714"/>
                <a:gd name="connsiteX0" fmla="*/ 2251033 w 2842751"/>
                <a:gd name="connsiteY0" fmla="*/ 2089512 h 3498714"/>
                <a:gd name="connsiteX1" fmla="*/ 2070058 w 2842751"/>
                <a:gd name="connsiteY1" fmla="*/ 2270487 h 3498714"/>
                <a:gd name="connsiteX2" fmla="*/ 2251033 w 2842751"/>
                <a:gd name="connsiteY2" fmla="*/ 2089512 h 3498714"/>
                <a:gd name="connsiteX3" fmla="*/ 2842751 w 2842751"/>
                <a:gd name="connsiteY3" fmla="*/ 1749356 h 3498714"/>
                <a:gd name="connsiteX4" fmla="*/ 2392797 w 2842751"/>
                <a:gd name="connsiteY4" fmla="*/ 1878907 h 3498714"/>
                <a:gd name="connsiteX5" fmla="*/ 2478781 w 2842751"/>
                <a:gd name="connsiteY5" fmla="*/ 1920808 h 3498714"/>
                <a:gd name="connsiteX6" fmla="*/ 2842751 w 2842751"/>
                <a:gd name="connsiteY6" fmla="*/ 1749356 h 3498714"/>
                <a:gd name="connsiteX7" fmla="*/ 2534724 w 2842751"/>
                <a:gd name="connsiteY7" fmla="*/ 982297 h 3498714"/>
                <a:gd name="connsiteX8" fmla="*/ 2217440 w 2842751"/>
                <a:gd name="connsiteY8" fmla="*/ 1856216 h 3498714"/>
                <a:gd name="connsiteX9" fmla="*/ 2534724 w 2842751"/>
                <a:gd name="connsiteY9" fmla="*/ 982297 h 3498714"/>
                <a:gd name="connsiteX10" fmla="*/ 358791 w 2842751"/>
                <a:gd name="connsiteY10" fmla="*/ 644545 h 3498714"/>
                <a:gd name="connsiteX11" fmla="*/ 1006774 w 2842751"/>
                <a:gd name="connsiteY11" fmla="*/ 644545 h 3498714"/>
                <a:gd name="connsiteX12" fmla="*/ 1542636 w 2842751"/>
                <a:gd name="connsiteY12" fmla="*/ 1193969 h 3498714"/>
                <a:gd name="connsiteX13" fmla="*/ 1929878 w 2842751"/>
                <a:gd name="connsiteY13" fmla="*/ 1193970 h 3498714"/>
                <a:gd name="connsiteX14" fmla="*/ 2070059 w 2842751"/>
                <a:gd name="connsiteY14" fmla="*/ 1334152 h 3498714"/>
                <a:gd name="connsiteX15" fmla="*/ 1929878 w 2842751"/>
                <a:gd name="connsiteY15" fmla="*/ 1474333 h 3498714"/>
                <a:gd name="connsiteX16" fmla="*/ 1520943 w 2842751"/>
                <a:gd name="connsiteY16" fmla="*/ 1470388 h 3498714"/>
                <a:gd name="connsiteX17" fmla="*/ 1332825 w 2842751"/>
                <a:gd name="connsiteY17" fmla="*/ 1367201 h 3498714"/>
                <a:gd name="connsiteX18" fmla="*/ 1106501 w 2842751"/>
                <a:gd name="connsiteY18" fmla="*/ 1098289 h 3498714"/>
                <a:gd name="connsiteX19" fmla="*/ 1101049 w 2842751"/>
                <a:gd name="connsiteY19" fmla="*/ 1092836 h 3498714"/>
                <a:gd name="connsiteX20" fmla="*/ 1046523 w 2842751"/>
                <a:gd name="connsiteY20" fmla="*/ 1092836 h 3498714"/>
                <a:gd name="connsiteX21" fmla="*/ 1041071 w 2842751"/>
                <a:gd name="connsiteY21" fmla="*/ 1098289 h 3498714"/>
                <a:gd name="connsiteX22" fmla="*/ 1042136 w 2842751"/>
                <a:gd name="connsiteY22" fmla="*/ 1419754 h 3498714"/>
                <a:gd name="connsiteX23" fmla="*/ 1042136 w 2842751"/>
                <a:gd name="connsiteY23" fmla="*/ 3337652 h 3498714"/>
                <a:gd name="connsiteX24" fmla="*/ 881075 w 2842751"/>
                <a:gd name="connsiteY24" fmla="*/ 3498714 h 3498714"/>
                <a:gd name="connsiteX25" fmla="*/ 720012 w 2842751"/>
                <a:gd name="connsiteY25" fmla="*/ 3337652 h 3498714"/>
                <a:gd name="connsiteX26" fmla="*/ 720012 w 2842751"/>
                <a:gd name="connsiteY26" fmla="*/ 2125717 h 3498714"/>
                <a:gd name="connsiteX27" fmla="*/ 718947 w 2842751"/>
                <a:gd name="connsiteY27" fmla="*/ 2033194 h 3498714"/>
                <a:gd name="connsiteX28" fmla="*/ 714162 w 2842751"/>
                <a:gd name="connsiteY28" fmla="*/ 2028410 h 3498714"/>
                <a:gd name="connsiteX29" fmla="*/ 654759 w 2842751"/>
                <a:gd name="connsiteY29" fmla="*/ 2028410 h 3498714"/>
                <a:gd name="connsiteX30" fmla="*/ 649974 w 2842751"/>
                <a:gd name="connsiteY30" fmla="*/ 2033194 h 3498714"/>
                <a:gd name="connsiteX31" fmla="*/ 649974 w 2842751"/>
                <a:gd name="connsiteY31" fmla="*/ 2125717 h 3498714"/>
                <a:gd name="connsiteX32" fmla="*/ 649574 w 2842751"/>
                <a:gd name="connsiteY32" fmla="*/ 3337652 h 3498714"/>
                <a:gd name="connsiteX33" fmla="*/ 488511 w 2842751"/>
                <a:gd name="connsiteY33" fmla="*/ 3498714 h 3498714"/>
                <a:gd name="connsiteX34" fmla="*/ 327450 w 2842751"/>
                <a:gd name="connsiteY34" fmla="*/ 3337652 h 3498714"/>
                <a:gd name="connsiteX35" fmla="*/ 327450 w 2842751"/>
                <a:gd name="connsiteY35" fmla="*/ 1458216 h 3498714"/>
                <a:gd name="connsiteX36" fmla="*/ 322427 w 2842751"/>
                <a:gd name="connsiteY36" fmla="*/ 1098205 h 3498714"/>
                <a:gd name="connsiteX37" fmla="*/ 317058 w 2842751"/>
                <a:gd name="connsiteY37" fmla="*/ 1092836 h 3498714"/>
                <a:gd name="connsiteX38" fmla="*/ 263371 w 2842751"/>
                <a:gd name="connsiteY38" fmla="*/ 1092836 h 3498714"/>
                <a:gd name="connsiteX39" fmla="*/ 258001 w 2842751"/>
                <a:gd name="connsiteY39" fmla="*/ 1098205 h 3498714"/>
                <a:gd name="connsiteX40" fmla="*/ 258001 w 2842751"/>
                <a:gd name="connsiteY40" fmla="*/ 1444446 h 3498714"/>
                <a:gd name="connsiteX41" fmla="*/ 257700 w 2842751"/>
                <a:gd name="connsiteY41" fmla="*/ 1444370 h 3498714"/>
                <a:gd name="connsiteX42" fmla="*/ 257700 w 2842751"/>
                <a:gd name="connsiteY42" fmla="*/ 1912573 h 3498714"/>
                <a:gd name="connsiteX43" fmla="*/ 128850 w 2842751"/>
                <a:gd name="connsiteY43" fmla="*/ 2041423 h 3498714"/>
                <a:gd name="connsiteX44" fmla="*/ 0 w 2842751"/>
                <a:gd name="connsiteY44" fmla="*/ 1912573 h 3498714"/>
                <a:gd name="connsiteX45" fmla="*/ 0 w 2842751"/>
                <a:gd name="connsiteY45" fmla="*/ 1101802 h 3498714"/>
                <a:gd name="connsiteX46" fmla="*/ 0 w 2842751"/>
                <a:gd name="connsiteY46" fmla="*/ 1003338 h 3498714"/>
                <a:gd name="connsiteX47" fmla="*/ 0 w 2842751"/>
                <a:gd name="connsiteY47" fmla="*/ 982486 h 3498714"/>
                <a:gd name="connsiteX48" fmla="*/ 12733 w 2842751"/>
                <a:gd name="connsiteY48" fmla="*/ 894663 h 3498714"/>
                <a:gd name="connsiteX49" fmla="*/ 20539 w 2842751"/>
                <a:gd name="connsiteY49" fmla="*/ 868773 h 3498714"/>
                <a:gd name="connsiteX50" fmla="*/ 358791 w 2842751"/>
                <a:gd name="connsiteY50" fmla="*/ 644545 h 3498714"/>
                <a:gd name="connsiteX51" fmla="*/ 682782 w 2842751"/>
                <a:gd name="connsiteY51" fmla="*/ 0 h 3498714"/>
                <a:gd name="connsiteX52" fmla="*/ 966919 w 2842751"/>
                <a:gd name="connsiteY52" fmla="*/ 284138 h 3498714"/>
                <a:gd name="connsiteX53" fmla="*/ 682782 w 2842751"/>
                <a:gd name="connsiteY53" fmla="*/ 568275 h 3498714"/>
                <a:gd name="connsiteX54" fmla="*/ 398645 w 2842751"/>
                <a:gd name="connsiteY54" fmla="*/ 284138 h 3498714"/>
                <a:gd name="connsiteX55" fmla="*/ 682782 w 2842751"/>
                <a:gd name="connsiteY55" fmla="*/ 0 h 3498714"/>
                <a:gd name="connsiteX56" fmla="*/ 2589325 w 2842751"/>
                <a:gd name="connsiteY56" fmla="*/ 3124562 h 3498714"/>
                <a:gd name="connsiteX57" fmla="*/ 2589325 w 2842751"/>
                <a:gd name="connsiteY57" fmla="*/ 3361625 h 3498714"/>
                <a:gd name="connsiteX58" fmla="*/ 2480313 w 2842751"/>
                <a:gd name="connsiteY58" fmla="*/ 3470637 h 3498714"/>
                <a:gd name="connsiteX59" fmla="*/ 2279239 w 2842751"/>
                <a:gd name="connsiteY59" fmla="*/ 3470637 h 3498714"/>
                <a:gd name="connsiteX60" fmla="*/ 2170227 w 2842751"/>
                <a:gd name="connsiteY60" fmla="*/ 3361625 h 3498714"/>
                <a:gd name="connsiteX61" fmla="*/ 2170227 w 2842751"/>
                <a:gd name="connsiteY61" fmla="*/ 3124562 h 3498714"/>
                <a:gd name="connsiteX62" fmla="*/ 2052754 w 2842751"/>
                <a:gd name="connsiteY62" fmla="*/ 3124562 h 3498714"/>
                <a:gd name="connsiteX63" fmla="*/ 1941629 w 2842751"/>
                <a:gd name="connsiteY63" fmla="*/ 3013437 h 3498714"/>
                <a:gd name="connsiteX64" fmla="*/ 2052754 w 2842751"/>
                <a:gd name="connsiteY64" fmla="*/ 2902312 h 3498714"/>
                <a:gd name="connsiteX65" fmla="*/ 682782 w 2842751"/>
                <a:gd name="connsiteY65" fmla="*/ 0 h 3498714"/>
                <a:gd name="connsiteX0" fmla="*/ 2842751 w 2842751"/>
                <a:gd name="connsiteY0" fmla="*/ 1749356 h 3498714"/>
                <a:gd name="connsiteX1" fmla="*/ 2392797 w 2842751"/>
                <a:gd name="connsiteY1" fmla="*/ 1878907 h 3498714"/>
                <a:gd name="connsiteX2" fmla="*/ 2478781 w 2842751"/>
                <a:gd name="connsiteY2" fmla="*/ 1920808 h 3498714"/>
                <a:gd name="connsiteX3" fmla="*/ 2842751 w 2842751"/>
                <a:gd name="connsiteY3" fmla="*/ 1749356 h 3498714"/>
                <a:gd name="connsiteX4" fmla="*/ 2534724 w 2842751"/>
                <a:gd name="connsiteY4" fmla="*/ 982297 h 3498714"/>
                <a:gd name="connsiteX5" fmla="*/ 2217440 w 2842751"/>
                <a:gd name="connsiteY5" fmla="*/ 1856216 h 3498714"/>
                <a:gd name="connsiteX6" fmla="*/ 2534724 w 2842751"/>
                <a:gd name="connsiteY6" fmla="*/ 982297 h 3498714"/>
                <a:gd name="connsiteX7" fmla="*/ 358791 w 2842751"/>
                <a:gd name="connsiteY7" fmla="*/ 644545 h 3498714"/>
                <a:gd name="connsiteX8" fmla="*/ 1006774 w 2842751"/>
                <a:gd name="connsiteY8" fmla="*/ 644545 h 3498714"/>
                <a:gd name="connsiteX9" fmla="*/ 1542636 w 2842751"/>
                <a:gd name="connsiteY9" fmla="*/ 1193969 h 3498714"/>
                <a:gd name="connsiteX10" fmla="*/ 1929878 w 2842751"/>
                <a:gd name="connsiteY10" fmla="*/ 1193970 h 3498714"/>
                <a:gd name="connsiteX11" fmla="*/ 2070059 w 2842751"/>
                <a:gd name="connsiteY11" fmla="*/ 1334152 h 3498714"/>
                <a:gd name="connsiteX12" fmla="*/ 1929878 w 2842751"/>
                <a:gd name="connsiteY12" fmla="*/ 1474333 h 3498714"/>
                <a:gd name="connsiteX13" fmla="*/ 1520943 w 2842751"/>
                <a:gd name="connsiteY13" fmla="*/ 1470388 h 3498714"/>
                <a:gd name="connsiteX14" fmla="*/ 1332825 w 2842751"/>
                <a:gd name="connsiteY14" fmla="*/ 1367201 h 3498714"/>
                <a:gd name="connsiteX15" fmla="*/ 1106501 w 2842751"/>
                <a:gd name="connsiteY15" fmla="*/ 1098289 h 3498714"/>
                <a:gd name="connsiteX16" fmla="*/ 1101049 w 2842751"/>
                <a:gd name="connsiteY16" fmla="*/ 1092836 h 3498714"/>
                <a:gd name="connsiteX17" fmla="*/ 1046523 w 2842751"/>
                <a:gd name="connsiteY17" fmla="*/ 1092836 h 3498714"/>
                <a:gd name="connsiteX18" fmla="*/ 1041071 w 2842751"/>
                <a:gd name="connsiteY18" fmla="*/ 1098289 h 3498714"/>
                <a:gd name="connsiteX19" fmla="*/ 1042136 w 2842751"/>
                <a:gd name="connsiteY19" fmla="*/ 1419754 h 3498714"/>
                <a:gd name="connsiteX20" fmla="*/ 1042136 w 2842751"/>
                <a:gd name="connsiteY20" fmla="*/ 3337652 h 3498714"/>
                <a:gd name="connsiteX21" fmla="*/ 881075 w 2842751"/>
                <a:gd name="connsiteY21" fmla="*/ 3498714 h 3498714"/>
                <a:gd name="connsiteX22" fmla="*/ 720012 w 2842751"/>
                <a:gd name="connsiteY22" fmla="*/ 3337652 h 3498714"/>
                <a:gd name="connsiteX23" fmla="*/ 720012 w 2842751"/>
                <a:gd name="connsiteY23" fmla="*/ 2125717 h 3498714"/>
                <a:gd name="connsiteX24" fmla="*/ 718947 w 2842751"/>
                <a:gd name="connsiteY24" fmla="*/ 2033194 h 3498714"/>
                <a:gd name="connsiteX25" fmla="*/ 714162 w 2842751"/>
                <a:gd name="connsiteY25" fmla="*/ 2028410 h 3498714"/>
                <a:gd name="connsiteX26" fmla="*/ 654759 w 2842751"/>
                <a:gd name="connsiteY26" fmla="*/ 2028410 h 3498714"/>
                <a:gd name="connsiteX27" fmla="*/ 649974 w 2842751"/>
                <a:gd name="connsiteY27" fmla="*/ 2033194 h 3498714"/>
                <a:gd name="connsiteX28" fmla="*/ 649974 w 2842751"/>
                <a:gd name="connsiteY28" fmla="*/ 2125717 h 3498714"/>
                <a:gd name="connsiteX29" fmla="*/ 649574 w 2842751"/>
                <a:gd name="connsiteY29" fmla="*/ 3337652 h 3498714"/>
                <a:gd name="connsiteX30" fmla="*/ 488511 w 2842751"/>
                <a:gd name="connsiteY30" fmla="*/ 3498714 h 3498714"/>
                <a:gd name="connsiteX31" fmla="*/ 327450 w 2842751"/>
                <a:gd name="connsiteY31" fmla="*/ 3337652 h 3498714"/>
                <a:gd name="connsiteX32" fmla="*/ 327450 w 2842751"/>
                <a:gd name="connsiteY32" fmla="*/ 1458216 h 3498714"/>
                <a:gd name="connsiteX33" fmla="*/ 322427 w 2842751"/>
                <a:gd name="connsiteY33" fmla="*/ 1098205 h 3498714"/>
                <a:gd name="connsiteX34" fmla="*/ 317058 w 2842751"/>
                <a:gd name="connsiteY34" fmla="*/ 1092836 h 3498714"/>
                <a:gd name="connsiteX35" fmla="*/ 263371 w 2842751"/>
                <a:gd name="connsiteY35" fmla="*/ 1092836 h 3498714"/>
                <a:gd name="connsiteX36" fmla="*/ 258001 w 2842751"/>
                <a:gd name="connsiteY36" fmla="*/ 1098205 h 3498714"/>
                <a:gd name="connsiteX37" fmla="*/ 258001 w 2842751"/>
                <a:gd name="connsiteY37" fmla="*/ 1444446 h 3498714"/>
                <a:gd name="connsiteX38" fmla="*/ 257700 w 2842751"/>
                <a:gd name="connsiteY38" fmla="*/ 1444370 h 3498714"/>
                <a:gd name="connsiteX39" fmla="*/ 257700 w 2842751"/>
                <a:gd name="connsiteY39" fmla="*/ 1912573 h 3498714"/>
                <a:gd name="connsiteX40" fmla="*/ 128850 w 2842751"/>
                <a:gd name="connsiteY40" fmla="*/ 2041423 h 3498714"/>
                <a:gd name="connsiteX41" fmla="*/ 0 w 2842751"/>
                <a:gd name="connsiteY41" fmla="*/ 1912573 h 3498714"/>
                <a:gd name="connsiteX42" fmla="*/ 0 w 2842751"/>
                <a:gd name="connsiteY42" fmla="*/ 1101802 h 3498714"/>
                <a:gd name="connsiteX43" fmla="*/ 0 w 2842751"/>
                <a:gd name="connsiteY43" fmla="*/ 1003338 h 3498714"/>
                <a:gd name="connsiteX44" fmla="*/ 0 w 2842751"/>
                <a:gd name="connsiteY44" fmla="*/ 982486 h 3498714"/>
                <a:gd name="connsiteX45" fmla="*/ 12733 w 2842751"/>
                <a:gd name="connsiteY45" fmla="*/ 894663 h 3498714"/>
                <a:gd name="connsiteX46" fmla="*/ 20539 w 2842751"/>
                <a:gd name="connsiteY46" fmla="*/ 868773 h 3498714"/>
                <a:gd name="connsiteX47" fmla="*/ 358791 w 2842751"/>
                <a:gd name="connsiteY47" fmla="*/ 644545 h 3498714"/>
                <a:gd name="connsiteX48" fmla="*/ 682782 w 2842751"/>
                <a:gd name="connsiteY48" fmla="*/ 0 h 3498714"/>
                <a:gd name="connsiteX49" fmla="*/ 966919 w 2842751"/>
                <a:gd name="connsiteY49" fmla="*/ 284138 h 3498714"/>
                <a:gd name="connsiteX50" fmla="*/ 682782 w 2842751"/>
                <a:gd name="connsiteY50" fmla="*/ 568275 h 3498714"/>
                <a:gd name="connsiteX51" fmla="*/ 398645 w 2842751"/>
                <a:gd name="connsiteY51" fmla="*/ 284138 h 3498714"/>
                <a:gd name="connsiteX52" fmla="*/ 682782 w 2842751"/>
                <a:gd name="connsiteY52" fmla="*/ 0 h 3498714"/>
                <a:gd name="connsiteX53" fmla="*/ 2589325 w 2842751"/>
                <a:gd name="connsiteY53" fmla="*/ 3124562 h 3498714"/>
                <a:gd name="connsiteX54" fmla="*/ 2589325 w 2842751"/>
                <a:gd name="connsiteY54" fmla="*/ 3361625 h 3498714"/>
                <a:gd name="connsiteX55" fmla="*/ 2480313 w 2842751"/>
                <a:gd name="connsiteY55" fmla="*/ 3470637 h 3498714"/>
                <a:gd name="connsiteX56" fmla="*/ 2279239 w 2842751"/>
                <a:gd name="connsiteY56" fmla="*/ 3470637 h 3498714"/>
                <a:gd name="connsiteX57" fmla="*/ 2170227 w 2842751"/>
                <a:gd name="connsiteY57" fmla="*/ 3361625 h 3498714"/>
                <a:gd name="connsiteX58" fmla="*/ 2170227 w 2842751"/>
                <a:gd name="connsiteY58" fmla="*/ 3124562 h 3498714"/>
                <a:gd name="connsiteX59" fmla="*/ 2052754 w 2842751"/>
                <a:gd name="connsiteY59" fmla="*/ 3124562 h 3498714"/>
                <a:gd name="connsiteX60" fmla="*/ 1941629 w 2842751"/>
                <a:gd name="connsiteY60" fmla="*/ 3013437 h 3498714"/>
                <a:gd name="connsiteX61" fmla="*/ 2052754 w 2842751"/>
                <a:gd name="connsiteY61" fmla="*/ 2902312 h 3498714"/>
                <a:gd name="connsiteX62" fmla="*/ 682782 w 2842751"/>
                <a:gd name="connsiteY62" fmla="*/ 0 h 3498714"/>
                <a:gd name="connsiteX0" fmla="*/ 2842751 w 2842751"/>
                <a:gd name="connsiteY0" fmla="*/ 1749356 h 3498714"/>
                <a:gd name="connsiteX1" fmla="*/ 2392797 w 2842751"/>
                <a:gd name="connsiteY1" fmla="*/ 1878907 h 3498714"/>
                <a:gd name="connsiteX2" fmla="*/ 2478781 w 2842751"/>
                <a:gd name="connsiteY2" fmla="*/ 1920808 h 3498714"/>
                <a:gd name="connsiteX3" fmla="*/ 2842751 w 2842751"/>
                <a:gd name="connsiteY3" fmla="*/ 1749356 h 3498714"/>
                <a:gd name="connsiteX4" fmla="*/ 358791 w 2842751"/>
                <a:gd name="connsiteY4" fmla="*/ 644545 h 3498714"/>
                <a:gd name="connsiteX5" fmla="*/ 1006774 w 2842751"/>
                <a:gd name="connsiteY5" fmla="*/ 644545 h 3498714"/>
                <a:gd name="connsiteX6" fmla="*/ 1542636 w 2842751"/>
                <a:gd name="connsiteY6" fmla="*/ 1193969 h 3498714"/>
                <a:gd name="connsiteX7" fmla="*/ 1929878 w 2842751"/>
                <a:gd name="connsiteY7" fmla="*/ 1193970 h 3498714"/>
                <a:gd name="connsiteX8" fmla="*/ 2070059 w 2842751"/>
                <a:gd name="connsiteY8" fmla="*/ 1334152 h 3498714"/>
                <a:gd name="connsiteX9" fmla="*/ 1929878 w 2842751"/>
                <a:gd name="connsiteY9" fmla="*/ 1474333 h 3498714"/>
                <a:gd name="connsiteX10" fmla="*/ 1520943 w 2842751"/>
                <a:gd name="connsiteY10" fmla="*/ 1470388 h 3498714"/>
                <a:gd name="connsiteX11" fmla="*/ 1332825 w 2842751"/>
                <a:gd name="connsiteY11" fmla="*/ 1367201 h 3498714"/>
                <a:gd name="connsiteX12" fmla="*/ 1106501 w 2842751"/>
                <a:gd name="connsiteY12" fmla="*/ 1098289 h 3498714"/>
                <a:gd name="connsiteX13" fmla="*/ 1101049 w 2842751"/>
                <a:gd name="connsiteY13" fmla="*/ 1092836 h 3498714"/>
                <a:gd name="connsiteX14" fmla="*/ 1046523 w 2842751"/>
                <a:gd name="connsiteY14" fmla="*/ 1092836 h 3498714"/>
                <a:gd name="connsiteX15" fmla="*/ 1041071 w 2842751"/>
                <a:gd name="connsiteY15" fmla="*/ 1098289 h 3498714"/>
                <a:gd name="connsiteX16" fmla="*/ 1042136 w 2842751"/>
                <a:gd name="connsiteY16" fmla="*/ 1419754 h 3498714"/>
                <a:gd name="connsiteX17" fmla="*/ 1042136 w 2842751"/>
                <a:gd name="connsiteY17" fmla="*/ 3337652 h 3498714"/>
                <a:gd name="connsiteX18" fmla="*/ 881075 w 2842751"/>
                <a:gd name="connsiteY18" fmla="*/ 3498714 h 3498714"/>
                <a:gd name="connsiteX19" fmla="*/ 720012 w 2842751"/>
                <a:gd name="connsiteY19" fmla="*/ 3337652 h 3498714"/>
                <a:gd name="connsiteX20" fmla="*/ 720012 w 2842751"/>
                <a:gd name="connsiteY20" fmla="*/ 2125717 h 3498714"/>
                <a:gd name="connsiteX21" fmla="*/ 718947 w 2842751"/>
                <a:gd name="connsiteY21" fmla="*/ 2033194 h 3498714"/>
                <a:gd name="connsiteX22" fmla="*/ 714162 w 2842751"/>
                <a:gd name="connsiteY22" fmla="*/ 2028410 h 3498714"/>
                <a:gd name="connsiteX23" fmla="*/ 654759 w 2842751"/>
                <a:gd name="connsiteY23" fmla="*/ 2028410 h 3498714"/>
                <a:gd name="connsiteX24" fmla="*/ 649974 w 2842751"/>
                <a:gd name="connsiteY24" fmla="*/ 2033194 h 3498714"/>
                <a:gd name="connsiteX25" fmla="*/ 649974 w 2842751"/>
                <a:gd name="connsiteY25" fmla="*/ 2125717 h 3498714"/>
                <a:gd name="connsiteX26" fmla="*/ 649574 w 2842751"/>
                <a:gd name="connsiteY26" fmla="*/ 3337652 h 3498714"/>
                <a:gd name="connsiteX27" fmla="*/ 488511 w 2842751"/>
                <a:gd name="connsiteY27" fmla="*/ 3498714 h 3498714"/>
                <a:gd name="connsiteX28" fmla="*/ 327450 w 2842751"/>
                <a:gd name="connsiteY28" fmla="*/ 3337652 h 3498714"/>
                <a:gd name="connsiteX29" fmla="*/ 327450 w 2842751"/>
                <a:gd name="connsiteY29" fmla="*/ 1458216 h 3498714"/>
                <a:gd name="connsiteX30" fmla="*/ 322427 w 2842751"/>
                <a:gd name="connsiteY30" fmla="*/ 1098205 h 3498714"/>
                <a:gd name="connsiteX31" fmla="*/ 317058 w 2842751"/>
                <a:gd name="connsiteY31" fmla="*/ 1092836 h 3498714"/>
                <a:gd name="connsiteX32" fmla="*/ 263371 w 2842751"/>
                <a:gd name="connsiteY32" fmla="*/ 1092836 h 3498714"/>
                <a:gd name="connsiteX33" fmla="*/ 258001 w 2842751"/>
                <a:gd name="connsiteY33" fmla="*/ 1098205 h 3498714"/>
                <a:gd name="connsiteX34" fmla="*/ 258001 w 2842751"/>
                <a:gd name="connsiteY34" fmla="*/ 1444446 h 3498714"/>
                <a:gd name="connsiteX35" fmla="*/ 257700 w 2842751"/>
                <a:gd name="connsiteY35" fmla="*/ 1444370 h 3498714"/>
                <a:gd name="connsiteX36" fmla="*/ 257700 w 2842751"/>
                <a:gd name="connsiteY36" fmla="*/ 1912573 h 3498714"/>
                <a:gd name="connsiteX37" fmla="*/ 128850 w 2842751"/>
                <a:gd name="connsiteY37" fmla="*/ 2041423 h 3498714"/>
                <a:gd name="connsiteX38" fmla="*/ 0 w 2842751"/>
                <a:gd name="connsiteY38" fmla="*/ 1912573 h 3498714"/>
                <a:gd name="connsiteX39" fmla="*/ 0 w 2842751"/>
                <a:gd name="connsiteY39" fmla="*/ 1101802 h 3498714"/>
                <a:gd name="connsiteX40" fmla="*/ 0 w 2842751"/>
                <a:gd name="connsiteY40" fmla="*/ 1003338 h 3498714"/>
                <a:gd name="connsiteX41" fmla="*/ 0 w 2842751"/>
                <a:gd name="connsiteY41" fmla="*/ 982486 h 3498714"/>
                <a:gd name="connsiteX42" fmla="*/ 12733 w 2842751"/>
                <a:gd name="connsiteY42" fmla="*/ 894663 h 3498714"/>
                <a:gd name="connsiteX43" fmla="*/ 20539 w 2842751"/>
                <a:gd name="connsiteY43" fmla="*/ 868773 h 3498714"/>
                <a:gd name="connsiteX44" fmla="*/ 358791 w 2842751"/>
                <a:gd name="connsiteY44" fmla="*/ 644545 h 3498714"/>
                <a:gd name="connsiteX45" fmla="*/ 682782 w 2842751"/>
                <a:gd name="connsiteY45" fmla="*/ 0 h 3498714"/>
                <a:gd name="connsiteX46" fmla="*/ 966919 w 2842751"/>
                <a:gd name="connsiteY46" fmla="*/ 284138 h 3498714"/>
                <a:gd name="connsiteX47" fmla="*/ 682782 w 2842751"/>
                <a:gd name="connsiteY47" fmla="*/ 568275 h 3498714"/>
                <a:gd name="connsiteX48" fmla="*/ 398645 w 2842751"/>
                <a:gd name="connsiteY48" fmla="*/ 284138 h 3498714"/>
                <a:gd name="connsiteX49" fmla="*/ 682782 w 2842751"/>
                <a:gd name="connsiteY49" fmla="*/ 0 h 3498714"/>
                <a:gd name="connsiteX50" fmla="*/ 2589325 w 2842751"/>
                <a:gd name="connsiteY50" fmla="*/ 3124562 h 3498714"/>
                <a:gd name="connsiteX51" fmla="*/ 2589325 w 2842751"/>
                <a:gd name="connsiteY51" fmla="*/ 3361625 h 3498714"/>
                <a:gd name="connsiteX52" fmla="*/ 2480313 w 2842751"/>
                <a:gd name="connsiteY52" fmla="*/ 3470637 h 3498714"/>
                <a:gd name="connsiteX53" fmla="*/ 2279239 w 2842751"/>
                <a:gd name="connsiteY53" fmla="*/ 3470637 h 3498714"/>
                <a:gd name="connsiteX54" fmla="*/ 2170227 w 2842751"/>
                <a:gd name="connsiteY54" fmla="*/ 3361625 h 3498714"/>
                <a:gd name="connsiteX55" fmla="*/ 2170227 w 2842751"/>
                <a:gd name="connsiteY55" fmla="*/ 3124562 h 3498714"/>
                <a:gd name="connsiteX56" fmla="*/ 2052754 w 2842751"/>
                <a:gd name="connsiteY56" fmla="*/ 3124562 h 3498714"/>
                <a:gd name="connsiteX57" fmla="*/ 1941629 w 2842751"/>
                <a:gd name="connsiteY57" fmla="*/ 3013437 h 3498714"/>
                <a:gd name="connsiteX58" fmla="*/ 2052754 w 2842751"/>
                <a:gd name="connsiteY58" fmla="*/ 2902312 h 3498714"/>
                <a:gd name="connsiteX59" fmla="*/ 682782 w 2842751"/>
                <a:gd name="connsiteY59" fmla="*/ 0 h 3498714"/>
                <a:gd name="connsiteX0" fmla="*/ 2478781 w 2589325"/>
                <a:gd name="connsiteY0" fmla="*/ 1920808 h 3498714"/>
                <a:gd name="connsiteX1" fmla="*/ 2392797 w 2589325"/>
                <a:gd name="connsiteY1" fmla="*/ 1878907 h 3498714"/>
                <a:gd name="connsiteX2" fmla="*/ 2478781 w 2589325"/>
                <a:gd name="connsiteY2" fmla="*/ 1920808 h 3498714"/>
                <a:gd name="connsiteX3" fmla="*/ 358791 w 2589325"/>
                <a:gd name="connsiteY3" fmla="*/ 644545 h 3498714"/>
                <a:gd name="connsiteX4" fmla="*/ 1006774 w 2589325"/>
                <a:gd name="connsiteY4" fmla="*/ 644545 h 3498714"/>
                <a:gd name="connsiteX5" fmla="*/ 1542636 w 2589325"/>
                <a:gd name="connsiteY5" fmla="*/ 1193969 h 3498714"/>
                <a:gd name="connsiteX6" fmla="*/ 1929878 w 2589325"/>
                <a:gd name="connsiteY6" fmla="*/ 1193970 h 3498714"/>
                <a:gd name="connsiteX7" fmla="*/ 2070059 w 2589325"/>
                <a:gd name="connsiteY7" fmla="*/ 1334152 h 3498714"/>
                <a:gd name="connsiteX8" fmla="*/ 1929878 w 2589325"/>
                <a:gd name="connsiteY8" fmla="*/ 1474333 h 3498714"/>
                <a:gd name="connsiteX9" fmla="*/ 1520943 w 2589325"/>
                <a:gd name="connsiteY9" fmla="*/ 1470388 h 3498714"/>
                <a:gd name="connsiteX10" fmla="*/ 1332825 w 2589325"/>
                <a:gd name="connsiteY10" fmla="*/ 1367201 h 3498714"/>
                <a:gd name="connsiteX11" fmla="*/ 1106501 w 2589325"/>
                <a:gd name="connsiteY11" fmla="*/ 1098289 h 3498714"/>
                <a:gd name="connsiteX12" fmla="*/ 1101049 w 2589325"/>
                <a:gd name="connsiteY12" fmla="*/ 1092836 h 3498714"/>
                <a:gd name="connsiteX13" fmla="*/ 1046523 w 2589325"/>
                <a:gd name="connsiteY13" fmla="*/ 1092836 h 3498714"/>
                <a:gd name="connsiteX14" fmla="*/ 1041071 w 2589325"/>
                <a:gd name="connsiteY14" fmla="*/ 1098289 h 3498714"/>
                <a:gd name="connsiteX15" fmla="*/ 1042136 w 2589325"/>
                <a:gd name="connsiteY15" fmla="*/ 1419754 h 3498714"/>
                <a:gd name="connsiteX16" fmla="*/ 1042136 w 2589325"/>
                <a:gd name="connsiteY16" fmla="*/ 3337652 h 3498714"/>
                <a:gd name="connsiteX17" fmla="*/ 881075 w 2589325"/>
                <a:gd name="connsiteY17" fmla="*/ 3498714 h 3498714"/>
                <a:gd name="connsiteX18" fmla="*/ 720012 w 2589325"/>
                <a:gd name="connsiteY18" fmla="*/ 3337652 h 3498714"/>
                <a:gd name="connsiteX19" fmla="*/ 720012 w 2589325"/>
                <a:gd name="connsiteY19" fmla="*/ 2125717 h 3498714"/>
                <a:gd name="connsiteX20" fmla="*/ 718947 w 2589325"/>
                <a:gd name="connsiteY20" fmla="*/ 2033194 h 3498714"/>
                <a:gd name="connsiteX21" fmla="*/ 714162 w 2589325"/>
                <a:gd name="connsiteY21" fmla="*/ 2028410 h 3498714"/>
                <a:gd name="connsiteX22" fmla="*/ 654759 w 2589325"/>
                <a:gd name="connsiteY22" fmla="*/ 2028410 h 3498714"/>
                <a:gd name="connsiteX23" fmla="*/ 649974 w 2589325"/>
                <a:gd name="connsiteY23" fmla="*/ 2033194 h 3498714"/>
                <a:gd name="connsiteX24" fmla="*/ 649974 w 2589325"/>
                <a:gd name="connsiteY24" fmla="*/ 2125717 h 3498714"/>
                <a:gd name="connsiteX25" fmla="*/ 649574 w 2589325"/>
                <a:gd name="connsiteY25" fmla="*/ 3337652 h 3498714"/>
                <a:gd name="connsiteX26" fmla="*/ 488511 w 2589325"/>
                <a:gd name="connsiteY26" fmla="*/ 3498714 h 3498714"/>
                <a:gd name="connsiteX27" fmla="*/ 327450 w 2589325"/>
                <a:gd name="connsiteY27" fmla="*/ 3337652 h 3498714"/>
                <a:gd name="connsiteX28" fmla="*/ 327450 w 2589325"/>
                <a:gd name="connsiteY28" fmla="*/ 1458216 h 3498714"/>
                <a:gd name="connsiteX29" fmla="*/ 322427 w 2589325"/>
                <a:gd name="connsiteY29" fmla="*/ 1098205 h 3498714"/>
                <a:gd name="connsiteX30" fmla="*/ 317058 w 2589325"/>
                <a:gd name="connsiteY30" fmla="*/ 1092836 h 3498714"/>
                <a:gd name="connsiteX31" fmla="*/ 263371 w 2589325"/>
                <a:gd name="connsiteY31" fmla="*/ 1092836 h 3498714"/>
                <a:gd name="connsiteX32" fmla="*/ 258001 w 2589325"/>
                <a:gd name="connsiteY32" fmla="*/ 1098205 h 3498714"/>
                <a:gd name="connsiteX33" fmla="*/ 258001 w 2589325"/>
                <a:gd name="connsiteY33" fmla="*/ 1444446 h 3498714"/>
                <a:gd name="connsiteX34" fmla="*/ 257700 w 2589325"/>
                <a:gd name="connsiteY34" fmla="*/ 1444370 h 3498714"/>
                <a:gd name="connsiteX35" fmla="*/ 257700 w 2589325"/>
                <a:gd name="connsiteY35" fmla="*/ 1912573 h 3498714"/>
                <a:gd name="connsiteX36" fmla="*/ 128850 w 2589325"/>
                <a:gd name="connsiteY36" fmla="*/ 2041423 h 3498714"/>
                <a:gd name="connsiteX37" fmla="*/ 0 w 2589325"/>
                <a:gd name="connsiteY37" fmla="*/ 1912573 h 3498714"/>
                <a:gd name="connsiteX38" fmla="*/ 0 w 2589325"/>
                <a:gd name="connsiteY38" fmla="*/ 1101802 h 3498714"/>
                <a:gd name="connsiteX39" fmla="*/ 0 w 2589325"/>
                <a:gd name="connsiteY39" fmla="*/ 1003338 h 3498714"/>
                <a:gd name="connsiteX40" fmla="*/ 0 w 2589325"/>
                <a:gd name="connsiteY40" fmla="*/ 982486 h 3498714"/>
                <a:gd name="connsiteX41" fmla="*/ 12733 w 2589325"/>
                <a:gd name="connsiteY41" fmla="*/ 894663 h 3498714"/>
                <a:gd name="connsiteX42" fmla="*/ 20539 w 2589325"/>
                <a:gd name="connsiteY42" fmla="*/ 868773 h 3498714"/>
                <a:gd name="connsiteX43" fmla="*/ 358791 w 2589325"/>
                <a:gd name="connsiteY43" fmla="*/ 644545 h 3498714"/>
                <a:gd name="connsiteX44" fmla="*/ 682782 w 2589325"/>
                <a:gd name="connsiteY44" fmla="*/ 0 h 3498714"/>
                <a:gd name="connsiteX45" fmla="*/ 966919 w 2589325"/>
                <a:gd name="connsiteY45" fmla="*/ 284138 h 3498714"/>
                <a:gd name="connsiteX46" fmla="*/ 682782 w 2589325"/>
                <a:gd name="connsiteY46" fmla="*/ 568275 h 3498714"/>
                <a:gd name="connsiteX47" fmla="*/ 398645 w 2589325"/>
                <a:gd name="connsiteY47" fmla="*/ 284138 h 3498714"/>
                <a:gd name="connsiteX48" fmla="*/ 682782 w 2589325"/>
                <a:gd name="connsiteY48" fmla="*/ 0 h 3498714"/>
                <a:gd name="connsiteX49" fmla="*/ 2589325 w 2589325"/>
                <a:gd name="connsiteY49" fmla="*/ 3124562 h 3498714"/>
                <a:gd name="connsiteX50" fmla="*/ 2589325 w 2589325"/>
                <a:gd name="connsiteY50" fmla="*/ 3361625 h 3498714"/>
                <a:gd name="connsiteX51" fmla="*/ 2480313 w 2589325"/>
                <a:gd name="connsiteY51" fmla="*/ 3470637 h 3498714"/>
                <a:gd name="connsiteX52" fmla="*/ 2279239 w 2589325"/>
                <a:gd name="connsiteY52" fmla="*/ 3470637 h 3498714"/>
                <a:gd name="connsiteX53" fmla="*/ 2170227 w 2589325"/>
                <a:gd name="connsiteY53" fmla="*/ 3361625 h 3498714"/>
                <a:gd name="connsiteX54" fmla="*/ 2170227 w 2589325"/>
                <a:gd name="connsiteY54" fmla="*/ 3124562 h 3498714"/>
                <a:gd name="connsiteX55" fmla="*/ 2052754 w 2589325"/>
                <a:gd name="connsiteY55" fmla="*/ 3124562 h 3498714"/>
                <a:gd name="connsiteX56" fmla="*/ 1941629 w 2589325"/>
                <a:gd name="connsiteY56" fmla="*/ 3013437 h 3498714"/>
                <a:gd name="connsiteX57" fmla="*/ 2052754 w 2589325"/>
                <a:gd name="connsiteY57" fmla="*/ 2902312 h 3498714"/>
                <a:gd name="connsiteX58" fmla="*/ 682782 w 2589325"/>
                <a:gd name="connsiteY58" fmla="*/ 0 h 3498714"/>
                <a:gd name="connsiteX0" fmla="*/ 358791 w 2589325"/>
                <a:gd name="connsiteY0" fmla="*/ 644545 h 3498714"/>
                <a:gd name="connsiteX1" fmla="*/ 1006774 w 2589325"/>
                <a:gd name="connsiteY1" fmla="*/ 644545 h 3498714"/>
                <a:gd name="connsiteX2" fmla="*/ 1542636 w 2589325"/>
                <a:gd name="connsiteY2" fmla="*/ 1193969 h 3498714"/>
                <a:gd name="connsiteX3" fmla="*/ 1929878 w 2589325"/>
                <a:gd name="connsiteY3" fmla="*/ 1193970 h 3498714"/>
                <a:gd name="connsiteX4" fmla="*/ 2070059 w 2589325"/>
                <a:gd name="connsiteY4" fmla="*/ 1334152 h 3498714"/>
                <a:gd name="connsiteX5" fmla="*/ 1929878 w 2589325"/>
                <a:gd name="connsiteY5" fmla="*/ 1474333 h 3498714"/>
                <a:gd name="connsiteX6" fmla="*/ 1520943 w 2589325"/>
                <a:gd name="connsiteY6" fmla="*/ 1470388 h 3498714"/>
                <a:gd name="connsiteX7" fmla="*/ 1332825 w 2589325"/>
                <a:gd name="connsiteY7" fmla="*/ 1367201 h 3498714"/>
                <a:gd name="connsiteX8" fmla="*/ 1106501 w 2589325"/>
                <a:gd name="connsiteY8" fmla="*/ 1098289 h 3498714"/>
                <a:gd name="connsiteX9" fmla="*/ 1101049 w 2589325"/>
                <a:gd name="connsiteY9" fmla="*/ 1092836 h 3498714"/>
                <a:gd name="connsiteX10" fmla="*/ 1046523 w 2589325"/>
                <a:gd name="connsiteY10" fmla="*/ 1092836 h 3498714"/>
                <a:gd name="connsiteX11" fmla="*/ 1041071 w 2589325"/>
                <a:gd name="connsiteY11" fmla="*/ 1098289 h 3498714"/>
                <a:gd name="connsiteX12" fmla="*/ 1042136 w 2589325"/>
                <a:gd name="connsiteY12" fmla="*/ 1419754 h 3498714"/>
                <a:gd name="connsiteX13" fmla="*/ 1042136 w 2589325"/>
                <a:gd name="connsiteY13" fmla="*/ 3337652 h 3498714"/>
                <a:gd name="connsiteX14" fmla="*/ 881075 w 2589325"/>
                <a:gd name="connsiteY14" fmla="*/ 3498714 h 3498714"/>
                <a:gd name="connsiteX15" fmla="*/ 720012 w 2589325"/>
                <a:gd name="connsiteY15" fmla="*/ 3337652 h 3498714"/>
                <a:gd name="connsiteX16" fmla="*/ 720012 w 2589325"/>
                <a:gd name="connsiteY16" fmla="*/ 2125717 h 3498714"/>
                <a:gd name="connsiteX17" fmla="*/ 718947 w 2589325"/>
                <a:gd name="connsiteY17" fmla="*/ 2033194 h 3498714"/>
                <a:gd name="connsiteX18" fmla="*/ 714162 w 2589325"/>
                <a:gd name="connsiteY18" fmla="*/ 2028410 h 3498714"/>
                <a:gd name="connsiteX19" fmla="*/ 654759 w 2589325"/>
                <a:gd name="connsiteY19" fmla="*/ 2028410 h 3498714"/>
                <a:gd name="connsiteX20" fmla="*/ 649974 w 2589325"/>
                <a:gd name="connsiteY20" fmla="*/ 2033194 h 3498714"/>
                <a:gd name="connsiteX21" fmla="*/ 649974 w 2589325"/>
                <a:gd name="connsiteY21" fmla="*/ 2125717 h 3498714"/>
                <a:gd name="connsiteX22" fmla="*/ 649574 w 2589325"/>
                <a:gd name="connsiteY22" fmla="*/ 3337652 h 3498714"/>
                <a:gd name="connsiteX23" fmla="*/ 488511 w 2589325"/>
                <a:gd name="connsiteY23" fmla="*/ 3498714 h 3498714"/>
                <a:gd name="connsiteX24" fmla="*/ 327450 w 2589325"/>
                <a:gd name="connsiteY24" fmla="*/ 3337652 h 3498714"/>
                <a:gd name="connsiteX25" fmla="*/ 327450 w 2589325"/>
                <a:gd name="connsiteY25" fmla="*/ 1458216 h 3498714"/>
                <a:gd name="connsiteX26" fmla="*/ 322427 w 2589325"/>
                <a:gd name="connsiteY26" fmla="*/ 1098205 h 3498714"/>
                <a:gd name="connsiteX27" fmla="*/ 317058 w 2589325"/>
                <a:gd name="connsiteY27" fmla="*/ 1092836 h 3498714"/>
                <a:gd name="connsiteX28" fmla="*/ 263371 w 2589325"/>
                <a:gd name="connsiteY28" fmla="*/ 1092836 h 3498714"/>
                <a:gd name="connsiteX29" fmla="*/ 258001 w 2589325"/>
                <a:gd name="connsiteY29" fmla="*/ 1098205 h 3498714"/>
                <a:gd name="connsiteX30" fmla="*/ 258001 w 2589325"/>
                <a:gd name="connsiteY30" fmla="*/ 1444446 h 3498714"/>
                <a:gd name="connsiteX31" fmla="*/ 257700 w 2589325"/>
                <a:gd name="connsiteY31" fmla="*/ 1444370 h 3498714"/>
                <a:gd name="connsiteX32" fmla="*/ 257700 w 2589325"/>
                <a:gd name="connsiteY32" fmla="*/ 1912573 h 3498714"/>
                <a:gd name="connsiteX33" fmla="*/ 128850 w 2589325"/>
                <a:gd name="connsiteY33" fmla="*/ 2041423 h 3498714"/>
                <a:gd name="connsiteX34" fmla="*/ 0 w 2589325"/>
                <a:gd name="connsiteY34" fmla="*/ 1912573 h 3498714"/>
                <a:gd name="connsiteX35" fmla="*/ 0 w 2589325"/>
                <a:gd name="connsiteY35" fmla="*/ 1101802 h 3498714"/>
                <a:gd name="connsiteX36" fmla="*/ 0 w 2589325"/>
                <a:gd name="connsiteY36" fmla="*/ 1003338 h 3498714"/>
                <a:gd name="connsiteX37" fmla="*/ 0 w 2589325"/>
                <a:gd name="connsiteY37" fmla="*/ 982486 h 3498714"/>
                <a:gd name="connsiteX38" fmla="*/ 12733 w 2589325"/>
                <a:gd name="connsiteY38" fmla="*/ 894663 h 3498714"/>
                <a:gd name="connsiteX39" fmla="*/ 20539 w 2589325"/>
                <a:gd name="connsiteY39" fmla="*/ 868773 h 3498714"/>
                <a:gd name="connsiteX40" fmla="*/ 358791 w 2589325"/>
                <a:gd name="connsiteY40" fmla="*/ 644545 h 3498714"/>
                <a:gd name="connsiteX41" fmla="*/ 682782 w 2589325"/>
                <a:gd name="connsiteY41" fmla="*/ 0 h 3498714"/>
                <a:gd name="connsiteX42" fmla="*/ 966919 w 2589325"/>
                <a:gd name="connsiteY42" fmla="*/ 284138 h 3498714"/>
                <a:gd name="connsiteX43" fmla="*/ 682782 w 2589325"/>
                <a:gd name="connsiteY43" fmla="*/ 568275 h 3498714"/>
                <a:gd name="connsiteX44" fmla="*/ 398645 w 2589325"/>
                <a:gd name="connsiteY44" fmla="*/ 284138 h 3498714"/>
                <a:gd name="connsiteX45" fmla="*/ 682782 w 2589325"/>
                <a:gd name="connsiteY45" fmla="*/ 0 h 3498714"/>
                <a:gd name="connsiteX46" fmla="*/ 2589325 w 2589325"/>
                <a:gd name="connsiteY46" fmla="*/ 3124562 h 3498714"/>
                <a:gd name="connsiteX47" fmla="*/ 2589325 w 2589325"/>
                <a:gd name="connsiteY47" fmla="*/ 3361625 h 3498714"/>
                <a:gd name="connsiteX48" fmla="*/ 2480313 w 2589325"/>
                <a:gd name="connsiteY48" fmla="*/ 3470637 h 3498714"/>
                <a:gd name="connsiteX49" fmla="*/ 2279239 w 2589325"/>
                <a:gd name="connsiteY49" fmla="*/ 3470637 h 3498714"/>
                <a:gd name="connsiteX50" fmla="*/ 2170227 w 2589325"/>
                <a:gd name="connsiteY50" fmla="*/ 3361625 h 3498714"/>
                <a:gd name="connsiteX51" fmla="*/ 2170227 w 2589325"/>
                <a:gd name="connsiteY51" fmla="*/ 3124562 h 3498714"/>
                <a:gd name="connsiteX52" fmla="*/ 2052754 w 2589325"/>
                <a:gd name="connsiteY52" fmla="*/ 3124562 h 3498714"/>
                <a:gd name="connsiteX53" fmla="*/ 1941629 w 2589325"/>
                <a:gd name="connsiteY53" fmla="*/ 3013437 h 3498714"/>
                <a:gd name="connsiteX54" fmla="*/ 2052754 w 2589325"/>
                <a:gd name="connsiteY54" fmla="*/ 2902312 h 3498714"/>
                <a:gd name="connsiteX55" fmla="*/ 682782 w 2589325"/>
                <a:gd name="connsiteY55" fmla="*/ 0 h 3498714"/>
                <a:gd name="connsiteX0" fmla="*/ 358791 w 2589325"/>
                <a:gd name="connsiteY0" fmla="*/ 644545 h 3498714"/>
                <a:gd name="connsiteX1" fmla="*/ 1006774 w 2589325"/>
                <a:gd name="connsiteY1" fmla="*/ 644545 h 3498714"/>
                <a:gd name="connsiteX2" fmla="*/ 1542636 w 2589325"/>
                <a:gd name="connsiteY2" fmla="*/ 1193969 h 3498714"/>
                <a:gd name="connsiteX3" fmla="*/ 1929878 w 2589325"/>
                <a:gd name="connsiteY3" fmla="*/ 1193970 h 3498714"/>
                <a:gd name="connsiteX4" fmla="*/ 2070059 w 2589325"/>
                <a:gd name="connsiteY4" fmla="*/ 1334152 h 3498714"/>
                <a:gd name="connsiteX5" fmla="*/ 1929878 w 2589325"/>
                <a:gd name="connsiteY5" fmla="*/ 1474333 h 3498714"/>
                <a:gd name="connsiteX6" fmla="*/ 1520943 w 2589325"/>
                <a:gd name="connsiteY6" fmla="*/ 1470388 h 3498714"/>
                <a:gd name="connsiteX7" fmla="*/ 1332825 w 2589325"/>
                <a:gd name="connsiteY7" fmla="*/ 1367201 h 3498714"/>
                <a:gd name="connsiteX8" fmla="*/ 1106501 w 2589325"/>
                <a:gd name="connsiteY8" fmla="*/ 1098289 h 3498714"/>
                <a:gd name="connsiteX9" fmla="*/ 1101049 w 2589325"/>
                <a:gd name="connsiteY9" fmla="*/ 1092836 h 3498714"/>
                <a:gd name="connsiteX10" fmla="*/ 1046523 w 2589325"/>
                <a:gd name="connsiteY10" fmla="*/ 1092836 h 3498714"/>
                <a:gd name="connsiteX11" fmla="*/ 1041071 w 2589325"/>
                <a:gd name="connsiteY11" fmla="*/ 1098289 h 3498714"/>
                <a:gd name="connsiteX12" fmla="*/ 1042136 w 2589325"/>
                <a:gd name="connsiteY12" fmla="*/ 1419754 h 3498714"/>
                <a:gd name="connsiteX13" fmla="*/ 1042136 w 2589325"/>
                <a:gd name="connsiteY13" fmla="*/ 3337652 h 3498714"/>
                <a:gd name="connsiteX14" fmla="*/ 881075 w 2589325"/>
                <a:gd name="connsiteY14" fmla="*/ 3498714 h 3498714"/>
                <a:gd name="connsiteX15" fmla="*/ 720012 w 2589325"/>
                <a:gd name="connsiteY15" fmla="*/ 3337652 h 3498714"/>
                <a:gd name="connsiteX16" fmla="*/ 720012 w 2589325"/>
                <a:gd name="connsiteY16" fmla="*/ 2125717 h 3498714"/>
                <a:gd name="connsiteX17" fmla="*/ 718947 w 2589325"/>
                <a:gd name="connsiteY17" fmla="*/ 2033194 h 3498714"/>
                <a:gd name="connsiteX18" fmla="*/ 714162 w 2589325"/>
                <a:gd name="connsiteY18" fmla="*/ 2028410 h 3498714"/>
                <a:gd name="connsiteX19" fmla="*/ 654759 w 2589325"/>
                <a:gd name="connsiteY19" fmla="*/ 2028410 h 3498714"/>
                <a:gd name="connsiteX20" fmla="*/ 649974 w 2589325"/>
                <a:gd name="connsiteY20" fmla="*/ 2033194 h 3498714"/>
                <a:gd name="connsiteX21" fmla="*/ 649974 w 2589325"/>
                <a:gd name="connsiteY21" fmla="*/ 2125717 h 3498714"/>
                <a:gd name="connsiteX22" fmla="*/ 649574 w 2589325"/>
                <a:gd name="connsiteY22" fmla="*/ 3337652 h 3498714"/>
                <a:gd name="connsiteX23" fmla="*/ 488511 w 2589325"/>
                <a:gd name="connsiteY23" fmla="*/ 3498714 h 3498714"/>
                <a:gd name="connsiteX24" fmla="*/ 327450 w 2589325"/>
                <a:gd name="connsiteY24" fmla="*/ 3337652 h 3498714"/>
                <a:gd name="connsiteX25" fmla="*/ 327450 w 2589325"/>
                <a:gd name="connsiteY25" fmla="*/ 1458216 h 3498714"/>
                <a:gd name="connsiteX26" fmla="*/ 322427 w 2589325"/>
                <a:gd name="connsiteY26" fmla="*/ 1098205 h 3498714"/>
                <a:gd name="connsiteX27" fmla="*/ 317058 w 2589325"/>
                <a:gd name="connsiteY27" fmla="*/ 1092836 h 3498714"/>
                <a:gd name="connsiteX28" fmla="*/ 263371 w 2589325"/>
                <a:gd name="connsiteY28" fmla="*/ 1092836 h 3498714"/>
                <a:gd name="connsiteX29" fmla="*/ 258001 w 2589325"/>
                <a:gd name="connsiteY29" fmla="*/ 1098205 h 3498714"/>
                <a:gd name="connsiteX30" fmla="*/ 258001 w 2589325"/>
                <a:gd name="connsiteY30" fmla="*/ 1444446 h 3498714"/>
                <a:gd name="connsiteX31" fmla="*/ 257700 w 2589325"/>
                <a:gd name="connsiteY31" fmla="*/ 1444370 h 3498714"/>
                <a:gd name="connsiteX32" fmla="*/ 257700 w 2589325"/>
                <a:gd name="connsiteY32" fmla="*/ 1912573 h 3498714"/>
                <a:gd name="connsiteX33" fmla="*/ 128850 w 2589325"/>
                <a:gd name="connsiteY33" fmla="*/ 2041423 h 3498714"/>
                <a:gd name="connsiteX34" fmla="*/ 0 w 2589325"/>
                <a:gd name="connsiteY34" fmla="*/ 1912573 h 3498714"/>
                <a:gd name="connsiteX35" fmla="*/ 0 w 2589325"/>
                <a:gd name="connsiteY35" fmla="*/ 1101802 h 3498714"/>
                <a:gd name="connsiteX36" fmla="*/ 0 w 2589325"/>
                <a:gd name="connsiteY36" fmla="*/ 1003338 h 3498714"/>
                <a:gd name="connsiteX37" fmla="*/ 0 w 2589325"/>
                <a:gd name="connsiteY37" fmla="*/ 982486 h 3498714"/>
                <a:gd name="connsiteX38" fmla="*/ 12733 w 2589325"/>
                <a:gd name="connsiteY38" fmla="*/ 894663 h 3498714"/>
                <a:gd name="connsiteX39" fmla="*/ 20539 w 2589325"/>
                <a:gd name="connsiteY39" fmla="*/ 868773 h 3498714"/>
                <a:gd name="connsiteX40" fmla="*/ 358791 w 2589325"/>
                <a:gd name="connsiteY40" fmla="*/ 644545 h 3498714"/>
                <a:gd name="connsiteX41" fmla="*/ 682782 w 2589325"/>
                <a:gd name="connsiteY41" fmla="*/ 0 h 3498714"/>
                <a:gd name="connsiteX42" fmla="*/ 966919 w 2589325"/>
                <a:gd name="connsiteY42" fmla="*/ 284138 h 3498714"/>
                <a:gd name="connsiteX43" fmla="*/ 682782 w 2589325"/>
                <a:gd name="connsiteY43" fmla="*/ 568275 h 3498714"/>
                <a:gd name="connsiteX44" fmla="*/ 398645 w 2589325"/>
                <a:gd name="connsiteY44" fmla="*/ 284138 h 3498714"/>
                <a:gd name="connsiteX45" fmla="*/ 682782 w 2589325"/>
                <a:gd name="connsiteY45" fmla="*/ 0 h 3498714"/>
                <a:gd name="connsiteX46" fmla="*/ 2589325 w 2589325"/>
                <a:gd name="connsiteY46" fmla="*/ 3361625 h 3498714"/>
                <a:gd name="connsiteX47" fmla="*/ 2480313 w 2589325"/>
                <a:gd name="connsiteY47" fmla="*/ 3470637 h 3498714"/>
                <a:gd name="connsiteX48" fmla="*/ 2279239 w 2589325"/>
                <a:gd name="connsiteY48" fmla="*/ 3470637 h 3498714"/>
                <a:gd name="connsiteX49" fmla="*/ 2170227 w 2589325"/>
                <a:gd name="connsiteY49" fmla="*/ 3361625 h 3498714"/>
                <a:gd name="connsiteX50" fmla="*/ 2170227 w 2589325"/>
                <a:gd name="connsiteY50" fmla="*/ 3124562 h 3498714"/>
                <a:gd name="connsiteX51" fmla="*/ 2052754 w 2589325"/>
                <a:gd name="connsiteY51" fmla="*/ 3124562 h 3498714"/>
                <a:gd name="connsiteX52" fmla="*/ 1941629 w 2589325"/>
                <a:gd name="connsiteY52" fmla="*/ 3013437 h 3498714"/>
                <a:gd name="connsiteX53" fmla="*/ 2052754 w 2589325"/>
                <a:gd name="connsiteY53" fmla="*/ 2902312 h 3498714"/>
                <a:gd name="connsiteX54" fmla="*/ 682782 w 2589325"/>
                <a:gd name="connsiteY54" fmla="*/ 0 h 3498714"/>
                <a:gd name="connsiteX0" fmla="*/ 358791 w 2480313"/>
                <a:gd name="connsiteY0" fmla="*/ 644545 h 3498714"/>
                <a:gd name="connsiteX1" fmla="*/ 1006774 w 2480313"/>
                <a:gd name="connsiteY1" fmla="*/ 644545 h 3498714"/>
                <a:gd name="connsiteX2" fmla="*/ 1542636 w 2480313"/>
                <a:gd name="connsiteY2" fmla="*/ 1193969 h 3498714"/>
                <a:gd name="connsiteX3" fmla="*/ 1929878 w 2480313"/>
                <a:gd name="connsiteY3" fmla="*/ 1193970 h 3498714"/>
                <a:gd name="connsiteX4" fmla="*/ 2070059 w 2480313"/>
                <a:gd name="connsiteY4" fmla="*/ 1334152 h 3498714"/>
                <a:gd name="connsiteX5" fmla="*/ 1929878 w 2480313"/>
                <a:gd name="connsiteY5" fmla="*/ 1474333 h 3498714"/>
                <a:gd name="connsiteX6" fmla="*/ 1520943 w 2480313"/>
                <a:gd name="connsiteY6" fmla="*/ 1470388 h 3498714"/>
                <a:gd name="connsiteX7" fmla="*/ 1332825 w 2480313"/>
                <a:gd name="connsiteY7" fmla="*/ 1367201 h 3498714"/>
                <a:gd name="connsiteX8" fmla="*/ 1106501 w 2480313"/>
                <a:gd name="connsiteY8" fmla="*/ 1098289 h 3498714"/>
                <a:gd name="connsiteX9" fmla="*/ 1101049 w 2480313"/>
                <a:gd name="connsiteY9" fmla="*/ 1092836 h 3498714"/>
                <a:gd name="connsiteX10" fmla="*/ 1046523 w 2480313"/>
                <a:gd name="connsiteY10" fmla="*/ 1092836 h 3498714"/>
                <a:gd name="connsiteX11" fmla="*/ 1041071 w 2480313"/>
                <a:gd name="connsiteY11" fmla="*/ 1098289 h 3498714"/>
                <a:gd name="connsiteX12" fmla="*/ 1042136 w 2480313"/>
                <a:gd name="connsiteY12" fmla="*/ 1419754 h 3498714"/>
                <a:gd name="connsiteX13" fmla="*/ 1042136 w 2480313"/>
                <a:gd name="connsiteY13" fmla="*/ 3337652 h 3498714"/>
                <a:gd name="connsiteX14" fmla="*/ 881075 w 2480313"/>
                <a:gd name="connsiteY14" fmla="*/ 3498714 h 3498714"/>
                <a:gd name="connsiteX15" fmla="*/ 720012 w 2480313"/>
                <a:gd name="connsiteY15" fmla="*/ 3337652 h 3498714"/>
                <a:gd name="connsiteX16" fmla="*/ 720012 w 2480313"/>
                <a:gd name="connsiteY16" fmla="*/ 2125717 h 3498714"/>
                <a:gd name="connsiteX17" fmla="*/ 718947 w 2480313"/>
                <a:gd name="connsiteY17" fmla="*/ 2033194 h 3498714"/>
                <a:gd name="connsiteX18" fmla="*/ 714162 w 2480313"/>
                <a:gd name="connsiteY18" fmla="*/ 2028410 h 3498714"/>
                <a:gd name="connsiteX19" fmla="*/ 654759 w 2480313"/>
                <a:gd name="connsiteY19" fmla="*/ 2028410 h 3498714"/>
                <a:gd name="connsiteX20" fmla="*/ 649974 w 2480313"/>
                <a:gd name="connsiteY20" fmla="*/ 2033194 h 3498714"/>
                <a:gd name="connsiteX21" fmla="*/ 649974 w 2480313"/>
                <a:gd name="connsiteY21" fmla="*/ 2125717 h 3498714"/>
                <a:gd name="connsiteX22" fmla="*/ 649574 w 2480313"/>
                <a:gd name="connsiteY22" fmla="*/ 3337652 h 3498714"/>
                <a:gd name="connsiteX23" fmla="*/ 488511 w 2480313"/>
                <a:gd name="connsiteY23" fmla="*/ 3498714 h 3498714"/>
                <a:gd name="connsiteX24" fmla="*/ 327450 w 2480313"/>
                <a:gd name="connsiteY24" fmla="*/ 3337652 h 3498714"/>
                <a:gd name="connsiteX25" fmla="*/ 327450 w 2480313"/>
                <a:gd name="connsiteY25" fmla="*/ 1458216 h 3498714"/>
                <a:gd name="connsiteX26" fmla="*/ 322427 w 2480313"/>
                <a:gd name="connsiteY26" fmla="*/ 1098205 h 3498714"/>
                <a:gd name="connsiteX27" fmla="*/ 317058 w 2480313"/>
                <a:gd name="connsiteY27" fmla="*/ 1092836 h 3498714"/>
                <a:gd name="connsiteX28" fmla="*/ 263371 w 2480313"/>
                <a:gd name="connsiteY28" fmla="*/ 1092836 h 3498714"/>
                <a:gd name="connsiteX29" fmla="*/ 258001 w 2480313"/>
                <a:gd name="connsiteY29" fmla="*/ 1098205 h 3498714"/>
                <a:gd name="connsiteX30" fmla="*/ 258001 w 2480313"/>
                <a:gd name="connsiteY30" fmla="*/ 1444446 h 3498714"/>
                <a:gd name="connsiteX31" fmla="*/ 257700 w 2480313"/>
                <a:gd name="connsiteY31" fmla="*/ 1444370 h 3498714"/>
                <a:gd name="connsiteX32" fmla="*/ 257700 w 2480313"/>
                <a:gd name="connsiteY32" fmla="*/ 1912573 h 3498714"/>
                <a:gd name="connsiteX33" fmla="*/ 128850 w 2480313"/>
                <a:gd name="connsiteY33" fmla="*/ 2041423 h 3498714"/>
                <a:gd name="connsiteX34" fmla="*/ 0 w 2480313"/>
                <a:gd name="connsiteY34" fmla="*/ 1912573 h 3498714"/>
                <a:gd name="connsiteX35" fmla="*/ 0 w 2480313"/>
                <a:gd name="connsiteY35" fmla="*/ 1101802 h 3498714"/>
                <a:gd name="connsiteX36" fmla="*/ 0 w 2480313"/>
                <a:gd name="connsiteY36" fmla="*/ 1003338 h 3498714"/>
                <a:gd name="connsiteX37" fmla="*/ 0 w 2480313"/>
                <a:gd name="connsiteY37" fmla="*/ 982486 h 3498714"/>
                <a:gd name="connsiteX38" fmla="*/ 12733 w 2480313"/>
                <a:gd name="connsiteY38" fmla="*/ 894663 h 3498714"/>
                <a:gd name="connsiteX39" fmla="*/ 20539 w 2480313"/>
                <a:gd name="connsiteY39" fmla="*/ 868773 h 3498714"/>
                <a:gd name="connsiteX40" fmla="*/ 358791 w 2480313"/>
                <a:gd name="connsiteY40" fmla="*/ 644545 h 3498714"/>
                <a:gd name="connsiteX41" fmla="*/ 682782 w 2480313"/>
                <a:gd name="connsiteY41" fmla="*/ 0 h 3498714"/>
                <a:gd name="connsiteX42" fmla="*/ 966919 w 2480313"/>
                <a:gd name="connsiteY42" fmla="*/ 284138 h 3498714"/>
                <a:gd name="connsiteX43" fmla="*/ 682782 w 2480313"/>
                <a:gd name="connsiteY43" fmla="*/ 568275 h 3498714"/>
                <a:gd name="connsiteX44" fmla="*/ 398645 w 2480313"/>
                <a:gd name="connsiteY44" fmla="*/ 284138 h 3498714"/>
                <a:gd name="connsiteX45" fmla="*/ 682782 w 2480313"/>
                <a:gd name="connsiteY45" fmla="*/ 0 h 3498714"/>
                <a:gd name="connsiteX46" fmla="*/ 2480313 w 2480313"/>
                <a:gd name="connsiteY46" fmla="*/ 3470637 h 3498714"/>
                <a:gd name="connsiteX47" fmla="*/ 2279239 w 2480313"/>
                <a:gd name="connsiteY47" fmla="*/ 3470637 h 3498714"/>
                <a:gd name="connsiteX48" fmla="*/ 2170227 w 2480313"/>
                <a:gd name="connsiteY48" fmla="*/ 3361625 h 3498714"/>
                <a:gd name="connsiteX49" fmla="*/ 2170227 w 2480313"/>
                <a:gd name="connsiteY49" fmla="*/ 3124562 h 3498714"/>
                <a:gd name="connsiteX50" fmla="*/ 2052754 w 2480313"/>
                <a:gd name="connsiteY50" fmla="*/ 3124562 h 3498714"/>
                <a:gd name="connsiteX51" fmla="*/ 1941629 w 2480313"/>
                <a:gd name="connsiteY51" fmla="*/ 3013437 h 3498714"/>
                <a:gd name="connsiteX52" fmla="*/ 2052754 w 2480313"/>
                <a:gd name="connsiteY52" fmla="*/ 2902312 h 3498714"/>
                <a:gd name="connsiteX53" fmla="*/ 682782 w 2480313"/>
                <a:gd name="connsiteY53" fmla="*/ 0 h 3498714"/>
                <a:gd name="connsiteX0" fmla="*/ 358791 w 2279239"/>
                <a:gd name="connsiteY0" fmla="*/ 644545 h 3498714"/>
                <a:gd name="connsiteX1" fmla="*/ 1006774 w 2279239"/>
                <a:gd name="connsiteY1" fmla="*/ 644545 h 3498714"/>
                <a:gd name="connsiteX2" fmla="*/ 1542636 w 2279239"/>
                <a:gd name="connsiteY2" fmla="*/ 1193969 h 3498714"/>
                <a:gd name="connsiteX3" fmla="*/ 1929878 w 2279239"/>
                <a:gd name="connsiteY3" fmla="*/ 1193970 h 3498714"/>
                <a:gd name="connsiteX4" fmla="*/ 2070059 w 2279239"/>
                <a:gd name="connsiteY4" fmla="*/ 1334152 h 3498714"/>
                <a:gd name="connsiteX5" fmla="*/ 1929878 w 2279239"/>
                <a:gd name="connsiteY5" fmla="*/ 1474333 h 3498714"/>
                <a:gd name="connsiteX6" fmla="*/ 1520943 w 2279239"/>
                <a:gd name="connsiteY6" fmla="*/ 1470388 h 3498714"/>
                <a:gd name="connsiteX7" fmla="*/ 1332825 w 2279239"/>
                <a:gd name="connsiteY7" fmla="*/ 1367201 h 3498714"/>
                <a:gd name="connsiteX8" fmla="*/ 1106501 w 2279239"/>
                <a:gd name="connsiteY8" fmla="*/ 1098289 h 3498714"/>
                <a:gd name="connsiteX9" fmla="*/ 1101049 w 2279239"/>
                <a:gd name="connsiteY9" fmla="*/ 1092836 h 3498714"/>
                <a:gd name="connsiteX10" fmla="*/ 1046523 w 2279239"/>
                <a:gd name="connsiteY10" fmla="*/ 1092836 h 3498714"/>
                <a:gd name="connsiteX11" fmla="*/ 1041071 w 2279239"/>
                <a:gd name="connsiteY11" fmla="*/ 1098289 h 3498714"/>
                <a:gd name="connsiteX12" fmla="*/ 1042136 w 2279239"/>
                <a:gd name="connsiteY12" fmla="*/ 1419754 h 3498714"/>
                <a:gd name="connsiteX13" fmla="*/ 1042136 w 2279239"/>
                <a:gd name="connsiteY13" fmla="*/ 3337652 h 3498714"/>
                <a:gd name="connsiteX14" fmla="*/ 881075 w 2279239"/>
                <a:gd name="connsiteY14" fmla="*/ 3498714 h 3498714"/>
                <a:gd name="connsiteX15" fmla="*/ 720012 w 2279239"/>
                <a:gd name="connsiteY15" fmla="*/ 3337652 h 3498714"/>
                <a:gd name="connsiteX16" fmla="*/ 720012 w 2279239"/>
                <a:gd name="connsiteY16" fmla="*/ 2125717 h 3498714"/>
                <a:gd name="connsiteX17" fmla="*/ 718947 w 2279239"/>
                <a:gd name="connsiteY17" fmla="*/ 2033194 h 3498714"/>
                <a:gd name="connsiteX18" fmla="*/ 714162 w 2279239"/>
                <a:gd name="connsiteY18" fmla="*/ 2028410 h 3498714"/>
                <a:gd name="connsiteX19" fmla="*/ 654759 w 2279239"/>
                <a:gd name="connsiteY19" fmla="*/ 2028410 h 3498714"/>
                <a:gd name="connsiteX20" fmla="*/ 649974 w 2279239"/>
                <a:gd name="connsiteY20" fmla="*/ 2033194 h 3498714"/>
                <a:gd name="connsiteX21" fmla="*/ 649974 w 2279239"/>
                <a:gd name="connsiteY21" fmla="*/ 2125717 h 3498714"/>
                <a:gd name="connsiteX22" fmla="*/ 649574 w 2279239"/>
                <a:gd name="connsiteY22" fmla="*/ 3337652 h 3498714"/>
                <a:gd name="connsiteX23" fmla="*/ 488511 w 2279239"/>
                <a:gd name="connsiteY23" fmla="*/ 3498714 h 3498714"/>
                <a:gd name="connsiteX24" fmla="*/ 327450 w 2279239"/>
                <a:gd name="connsiteY24" fmla="*/ 3337652 h 3498714"/>
                <a:gd name="connsiteX25" fmla="*/ 327450 w 2279239"/>
                <a:gd name="connsiteY25" fmla="*/ 1458216 h 3498714"/>
                <a:gd name="connsiteX26" fmla="*/ 322427 w 2279239"/>
                <a:gd name="connsiteY26" fmla="*/ 1098205 h 3498714"/>
                <a:gd name="connsiteX27" fmla="*/ 317058 w 2279239"/>
                <a:gd name="connsiteY27" fmla="*/ 1092836 h 3498714"/>
                <a:gd name="connsiteX28" fmla="*/ 263371 w 2279239"/>
                <a:gd name="connsiteY28" fmla="*/ 1092836 h 3498714"/>
                <a:gd name="connsiteX29" fmla="*/ 258001 w 2279239"/>
                <a:gd name="connsiteY29" fmla="*/ 1098205 h 3498714"/>
                <a:gd name="connsiteX30" fmla="*/ 258001 w 2279239"/>
                <a:gd name="connsiteY30" fmla="*/ 1444446 h 3498714"/>
                <a:gd name="connsiteX31" fmla="*/ 257700 w 2279239"/>
                <a:gd name="connsiteY31" fmla="*/ 1444370 h 3498714"/>
                <a:gd name="connsiteX32" fmla="*/ 257700 w 2279239"/>
                <a:gd name="connsiteY32" fmla="*/ 1912573 h 3498714"/>
                <a:gd name="connsiteX33" fmla="*/ 128850 w 2279239"/>
                <a:gd name="connsiteY33" fmla="*/ 2041423 h 3498714"/>
                <a:gd name="connsiteX34" fmla="*/ 0 w 2279239"/>
                <a:gd name="connsiteY34" fmla="*/ 1912573 h 3498714"/>
                <a:gd name="connsiteX35" fmla="*/ 0 w 2279239"/>
                <a:gd name="connsiteY35" fmla="*/ 1101802 h 3498714"/>
                <a:gd name="connsiteX36" fmla="*/ 0 w 2279239"/>
                <a:gd name="connsiteY36" fmla="*/ 1003338 h 3498714"/>
                <a:gd name="connsiteX37" fmla="*/ 0 w 2279239"/>
                <a:gd name="connsiteY37" fmla="*/ 982486 h 3498714"/>
                <a:gd name="connsiteX38" fmla="*/ 12733 w 2279239"/>
                <a:gd name="connsiteY38" fmla="*/ 894663 h 3498714"/>
                <a:gd name="connsiteX39" fmla="*/ 20539 w 2279239"/>
                <a:gd name="connsiteY39" fmla="*/ 868773 h 3498714"/>
                <a:gd name="connsiteX40" fmla="*/ 358791 w 2279239"/>
                <a:gd name="connsiteY40" fmla="*/ 644545 h 3498714"/>
                <a:gd name="connsiteX41" fmla="*/ 682782 w 2279239"/>
                <a:gd name="connsiteY41" fmla="*/ 0 h 3498714"/>
                <a:gd name="connsiteX42" fmla="*/ 966919 w 2279239"/>
                <a:gd name="connsiteY42" fmla="*/ 284138 h 3498714"/>
                <a:gd name="connsiteX43" fmla="*/ 682782 w 2279239"/>
                <a:gd name="connsiteY43" fmla="*/ 568275 h 3498714"/>
                <a:gd name="connsiteX44" fmla="*/ 398645 w 2279239"/>
                <a:gd name="connsiteY44" fmla="*/ 284138 h 3498714"/>
                <a:gd name="connsiteX45" fmla="*/ 682782 w 2279239"/>
                <a:gd name="connsiteY45" fmla="*/ 0 h 3498714"/>
                <a:gd name="connsiteX46" fmla="*/ 2279239 w 2279239"/>
                <a:gd name="connsiteY46" fmla="*/ 3470637 h 3498714"/>
                <a:gd name="connsiteX47" fmla="*/ 2170227 w 2279239"/>
                <a:gd name="connsiteY47" fmla="*/ 3361625 h 3498714"/>
                <a:gd name="connsiteX48" fmla="*/ 2170227 w 2279239"/>
                <a:gd name="connsiteY48" fmla="*/ 3124562 h 3498714"/>
                <a:gd name="connsiteX49" fmla="*/ 2052754 w 2279239"/>
                <a:gd name="connsiteY49" fmla="*/ 3124562 h 3498714"/>
                <a:gd name="connsiteX50" fmla="*/ 1941629 w 2279239"/>
                <a:gd name="connsiteY50" fmla="*/ 3013437 h 3498714"/>
                <a:gd name="connsiteX51" fmla="*/ 2052754 w 2279239"/>
                <a:gd name="connsiteY51" fmla="*/ 2902312 h 3498714"/>
                <a:gd name="connsiteX52" fmla="*/ 682782 w 2279239"/>
                <a:gd name="connsiteY52" fmla="*/ 0 h 3498714"/>
                <a:gd name="connsiteX0" fmla="*/ 358791 w 2170227"/>
                <a:gd name="connsiteY0" fmla="*/ 644545 h 3498714"/>
                <a:gd name="connsiteX1" fmla="*/ 1006774 w 2170227"/>
                <a:gd name="connsiteY1" fmla="*/ 644545 h 3498714"/>
                <a:gd name="connsiteX2" fmla="*/ 1542636 w 2170227"/>
                <a:gd name="connsiteY2" fmla="*/ 1193969 h 3498714"/>
                <a:gd name="connsiteX3" fmla="*/ 1929878 w 2170227"/>
                <a:gd name="connsiteY3" fmla="*/ 1193970 h 3498714"/>
                <a:gd name="connsiteX4" fmla="*/ 2070059 w 2170227"/>
                <a:gd name="connsiteY4" fmla="*/ 1334152 h 3498714"/>
                <a:gd name="connsiteX5" fmla="*/ 1929878 w 2170227"/>
                <a:gd name="connsiteY5" fmla="*/ 1474333 h 3498714"/>
                <a:gd name="connsiteX6" fmla="*/ 1520943 w 2170227"/>
                <a:gd name="connsiteY6" fmla="*/ 1470388 h 3498714"/>
                <a:gd name="connsiteX7" fmla="*/ 1332825 w 2170227"/>
                <a:gd name="connsiteY7" fmla="*/ 1367201 h 3498714"/>
                <a:gd name="connsiteX8" fmla="*/ 1106501 w 2170227"/>
                <a:gd name="connsiteY8" fmla="*/ 1098289 h 3498714"/>
                <a:gd name="connsiteX9" fmla="*/ 1101049 w 2170227"/>
                <a:gd name="connsiteY9" fmla="*/ 1092836 h 3498714"/>
                <a:gd name="connsiteX10" fmla="*/ 1046523 w 2170227"/>
                <a:gd name="connsiteY10" fmla="*/ 1092836 h 3498714"/>
                <a:gd name="connsiteX11" fmla="*/ 1041071 w 2170227"/>
                <a:gd name="connsiteY11" fmla="*/ 1098289 h 3498714"/>
                <a:gd name="connsiteX12" fmla="*/ 1042136 w 2170227"/>
                <a:gd name="connsiteY12" fmla="*/ 1419754 h 3498714"/>
                <a:gd name="connsiteX13" fmla="*/ 1042136 w 2170227"/>
                <a:gd name="connsiteY13" fmla="*/ 3337652 h 3498714"/>
                <a:gd name="connsiteX14" fmla="*/ 881075 w 2170227"/>
                <a:gd name="connsiteY14" fmla="*/ 3498714 h 3498714"/>
                <a:gd name="connsiteX15" fmla="*/ 720012 w 2170227"/>
                <a:gd name="connsiteY15" fmla="*/ 3337652 h 3498714"/>
                <a:gd name="connsiteX16" fmla="*/ 720012 w 2170227"/>
                <a:gd name="connsiteY16" fmla="*/ 2125717 h 3498714"/>
                <a:gd name="connsiteX17" fmla="*/ 718947 w 2170227"/>
                <a:gd name="connsiteY17" fmla="*/ 2033194 h 3498714"/>
                <a:gd name="connsiteX18" fmla="*/ 714162 w 2170227"/>
                <a:gd name="connsiteY18" fmla="*/ 2028410 h 3498714"/>
                <a:gd name="connsiteX19" fmla="*/ 654759 w 2170227"/>
                <a:gd name="connsiteY19" fmla="*/ 2028410 h 3498714"/>
                <a:gd name="connsiteX20" fmla="*/ 649974 w 2170227"/>
                <a:gd name="connsiteY20" fmla="*/ 2033194 h 3498714"/>
                <a:gd name="connsiteX21" fmla="*/ 649974 w 2170227"/>
                <a:gd name="connsiteY21" fmla="*/ 2125717 h 3498714"/>
                <a:gd name="connsiteX22" fmla="*/ 649574 w 2170227"/>
                <a:gd name="connsiteY22" fmla="*/ 3337652 h 3498714"/>
                <a:gd name="connsiteX23" fmla="*/ 488511 w 2170227"/>
                <a:gd name="connsiteY23" fmla="*/ 3498714 h 3498714"/>
                <a:gd name="connsiteX24" fmla="*/ 327450 w 2170227"/>
                <a:gd name="connsiteY24" fmla="*/ 3337652 h 3498714"/>
                <a:gd name="connsiteX25" fmla="*/ 327450 w 2170227"/>
                <a:gd name="connsiteY25" fmla="*/ 1458216 h 3498714"/>
                <a:gd name="connsiteX26" fmla="*/ 322427 w 2170227"/>
                <a:gd name="connsiteY26" fmla="*/ 1098205 h 3498714"/>
                <a:gd name="connsiteX27" fmla="*/ 317058 w 2170227"/>
                <a:gd name="connsiteY27" fmla="*/ 1092836 h 3498714"/>
                <a:gd name="connsiteX28" fmla="*/ 263371 w 2170227"/>
                <a:gd name="connsiteY28" fmla="*/ 1092836 h 3498714"/>
                <a:gd name="connsiteX29" fmla="*/ 258001 w 2170227"/>
                <a:gd name="connsiteY29" fmla="*/ 1098205 h 3498714"/>
                <a:gd name="connsiteX30" fmla="*/ 258001 w 2170227"/>
                <a:gd name="connsiteY30" fmla="*/ 1444446 h 3498714"/>
                <a:gd name="connsiteX31" fmla="*/ 257700 w 2170227"/>
                <a:gd name="connsiteY31" fmla="*/ 1444370 h 3498714"/>
                <a:gd name="connsiteX32" fmla="*/ 257700 w 2170227"/>
                <a:gd name="connsiteY32" fmla="*/ 1912573 h 3498714"/>
                <a:gd name="connsiteX33" fmla="*/ 128850 w 2170227"/>
                <a:gd name="connsiteY33" fmla="*/ 2041423 h 3498714"/>
                <a:gd name="connsiteX34" fmla="*/ 0 w 2170227"/>
                <a:gd name="connsiteY34" fmla="*/ 1912573 h 3498714"/>
                <a:gd name="connsiteX35" fmla="*/ 0 w 2170227"/>
                <a:gd name="connsiteY35" fmla="*/ 1101802 h 3498714"/>
                <a:gd name="connsiteX36" fmla="*/ 0 w 2170227"/>
                <a:gd name="connsiteY36" fmla="*/ 1003338 h 3498714"/>
                <a:gd name="connsiteX37" fmla="*/ 0 w 2170227"/>
                <a:gd name="connsiteY37" fmla="*/ 982486 h 3498714"/>
                <a:gd name="connsiteX38" fmla="*/ 12733 w 2170227"/>
                <a:gd name="connsiteY38" fmla="*/ 894663 h 3498714"/>
                <a:gd name="connsiteX39" fmla="*/ 20539 w 2170227"/>
                <a:gd name="connsiteY39" fmla="*/ 868773 h 3498714"/>
                <a:gd name="connsiteX40" fmla="*/ 358791 w 2170227"/>
                <a:gd name="connsiteY40" fmla="*/ 644545 h 3498714"/>
                <a:gd name="connsiteX41" fmla="*/ 682782 w 2170227"/>
                <a:gd name="connsiteY41" fmla="*/ 0 h 3498714"/>
                <a:gd name="connsiteX42" fmla="*/ 966919 w 2170227"/>
                <a:gd name="connsiteY42" fmla="*/ 284138 h 3498714"/>
                <a:gd name="connsiteX43" fmla="*/ 682782 w 2170227"/>
                <a:gd name="connsiteY43" fmla="*/ 568275 h 3498714"/>
                <a:gd name="connsiteX44" fmla="*/ 398645 w 2170227"/>
                <a:gd name="connsiteY44" fmla="*/ 284138 h 3498714"/>
                <a:gd name="connsiteX45" fmla="*/ 682782 w 2170227"/>
                <a:gd name="connsiteY45" fmla="*/ 0 h 3498714"/>
                <a:gd name="connsiteX46" fmla="*/ 2170227 w 2170227"/>
                <a:gd name="connsiteY46" fmla="*/ 3361625 h 3498714"/>
                <a:gd name="connsiteX47" fmla="*/ 2170227 w 2170227"/>
                <a:gd name="connsiteY47" fmla="*/ 3124562 h 3498714"/>
                <a:gd name="connsiteX48" fmla="*/ 2052754 w 2170227"/>
                <a:gd name="connsiteY48" fmla="*/ 3124562 h 3498714"/>
                <a:gd name="connsiteX49" fmla="*/ 1941629 w 2170227"/>
                <a:gd name="connsiteY49" fmla="*/ 3013437 h 3498714"/>
                <a:gd name="connsiteX50" fmla="*/ 2052754 w 2170227"/>
                <a:gd name="connsiteY50" fmla="*/ 2902312 h 3498714"/>
                <a:gd name="connsiteX51" fmla="*/ 682782 w 2170227"/>
                <a:gd name="connsiteY51" fmla="*/ 0 h 3498714"/>
                <a:gd name="connsiteX0" fmla="*/ 358791 w 2170227"/>
                <a:gd name="connsiteY0" fmla="*/ 644545 h 3498714"/>
                <a:gd name="connsiteX1" fmla="*/ 1006774 w 2170227"/>
                <a:gd name="connsiteY1" fmla="*/ 644545 h 3498714"/>
                <a:gd name="connsiteX2" fmla="*/ 1542636 w 2170227"/>
                <a:gd name="connsiteY2" fmla="*/ 1193969 h 3498714"/>
                <a:gd name="connsiteX3" fmla="*/ 1929878 w 2170227"/>
                <a:gd name="connsiteY3" fmla="*/ 1193970 h 3498714"/>
                <a:gd name="connsiteX4" fmla="*/ 2070059 w 2170227"/>
                <a:gd name="connsiteY4" fmla="*/ 1334152 h 3498714"/>
                <a:gd name="connsiteX5" fmla="*/ 1929878 w 2170227"/>
                <a:gd name="connsiteY5" fmla="*/ 1474333 h 3498714"/>
                <a:gd name="connsiteX6" fmla="*/ 1520943 w 2170227"/>
                <a:gd name="connsiteY6" fmla="*/ 1470388 h 3498714"/>
                <a:gd name="connsiteX7" fmla="*/ 1332825 w 2170227"/>
                <a:gd name="connsiteY7" fmla="*/ 1367201 h 3498714"/>
                <a:gd name="connsiteX8" fmla="*/ 1106501 w 2170227"/>
                <a:gd name="connsiteY8" fmla="*/ 1098289 h 3498714"/>
                <a:gd name="connsiteX9" fmla="*/ 1101049 w 2170227"/>
                <a:gd name="connsiteY9" fmla="*/ 1092836 h 3498714"/>
                <a:gd name="connsiteX10" fmla="*/ 1046523 w 2170227"/>
                <a:gd name="connsiteY10" fmla="*/ 1092836 h 3498714"/>
                <a:gd name="connsiteX11" fmla="*/ 1041071 w 2170227"/>
                <a:gd name="connsiteY11" fmla="*/ 1098289 h 3498714"/>
                <a:gd name="connsiteX12" fmla="*/ 1042136 w 2170227"/>
                <a:gd name="connsiteY12" fmla="*/ 1419754 h 3498714"/>
                <a:gd name="connsiteX13" fmla="*/ 1042136 w 2170227"/>
                <a:gd name="connsiteY13" fmla="*/ 3337652 h 3498714"/>
                <a:gd name="connsiteX14" fmla="*/ 881075 w 2170227"/>
                <a:gd name="connsiteY14" fmla="*/ 3498714 h 3498714"/>
                <a:gd name="connsiteX15" fmla="*/ 720012 w 2170227"/>
                <a:gd name="connsiteY15" fmla="*/ 3337652 h 3498714"/>
                <a:gd name="connsiteX16" fmla="*/ 720012 w 2170227"/>
                <a:gd name="connsiteY16" fmla="*/ 2125717 h 3498714"/>
                <a:gd name="connsiteX17" fmla="*/ 718947 w 2170227"/>
                <a:gd name="connsiteY17" fmla="*/ 2033194 h 3498714"/>
                <a:gd name="connsiteX18" fmla="*/ 714162 w 2170227"/>
                <a:gd name="connsiteY18" fmla="*/ 2028410 h 3498714"/>
                <a:gd name="connsiteX19" fmla="*/ 654759 w 2170227"/>
                <a:gd name="connsiteY19" fmla="*/ 2028410 h 3498714"/>
                <a:gd name="connsiteX20" fmla="*/ 649974 w 2170227"/>
                <a:gd name="connsiteY20" fmla="*/ 2033194 h 3498714"/>
                <a:gd name="connsiteX21" fmla="*/ 649974 w 2170227"/>
                <a:gd name="connsiteY21" fmla="*/ 2125717 h 3498714"/>
                <a:gd name="connsiteX22" fmla="*/ 649574 w 2170227"/>
                <a:gd name="connsiteY22" fmla="*/ 3337652 h 3498714"/>
                <a:gd name="connsiteX23" fmla="*/ 488511 w 2170227"/>
                <a:gd name="connsiteY23" fmla="*/ 3498714 h 3498714"/>
                <a:gd name="connsiteX24" fmla="*/ 327450 w 2170227"/>
                <a:gd name="connsiteY24" fmla="*/ 3337652 h 3498714"/>
                <a:gd name="connsiteX25" fmla="*/ 327450 w 2170227"/>
                <a:gd name="connsiteY25" fmla="*/ 1458216 h 3498714"/>
                <a:gd name="connsiteX26" fmla="*/ 322427 w 2170227"/>
                <a:gd name="connsiteY26" fmla="*/ 1098205 h 3498714"/>
                <a:gd name="connsiteX27" fmla="*/ 317058 w 2170227"/>
                <a:gd name="connsiteY27" fmla="*/ 1092836 h 3498714"/>
                <a:gd name="connsiteX28" fmla="*/ 263371 w 2170227"/>
                <a:gd name="connsiteY28" fmla="*/ 1092836 h 3498714"/>
                <a:gd name="connsiteX29" fmla="*/ 258001 w 2170227"/>
                <a:gd name="connsiteY29" fmla="*/ 1098205 h 3498714"/>
                <a:gd name="connsiteX30" fmla="*/ 258001 w 2170227"/>
                <a:gd name="connsiteY30" fmla="*/ 1444446 h 3498714"/>
                <a:gd name="connsiteX31" fmla="*/ 257700 w 2170227"/>
                <a:gd name="connsiteY31" fmla="*/ 1444370 h 3498714"/>
                <a:gd name="connsiteX32" fmla="*/ 257700 w 2170227"/>
                <a:gd name="connsiteY32" fmla="*/ 1912573 h 3498714"/>
                <a:gd name="connsiteX33" fmla="*/ 128850 w 2170227"/>
                <a:gd name="connsiteY33" fmla="*/ 2041423 h 3498714"/>
                <a:gd name="connsiteX34" fmla="*/ 0 w 2170227"/>
                <a:gd name="connsiteY34" fmla="*/ 1912573 h 3498714"/>
                <a:gd name="connsiteX35" fmla="*/ 0 w 2170227"/>
                <a:gd name="connsiteY35" fmla="*/ 1101802 h 3498714"/>
                <a:gd name="connsiteX36" fmla="*/ 0 w 2170227"/>
                <a:gd name="connsiteY36" fmla="*/ 1003338 h 3498714"/>
                <a:gd name="connsiteX37" fmla="*/ 0 w 2170227"/>
                <a:gd name="connsiteY37" fmla="*/ 982486 h 3498714"/>
                <a:gd name="connsiteX38" fmla="*/ 12733 w 2170227"/>
                <a:gd name="connsiteY38" fmla="*/ 894663 h 3498714"/>
                <a:gd name="connsiteX39" fmla="*/ 20539 w 2170227"/>
                <a:gd name="connsiteY39" fmla="*/ 868773 h 3498714"/>
                <a:gd name="connsiteX40" fmla="*/ 358791 w 2170227"/>
                <a:gd name="connsiteY40" fmla="*/ 644545 h 3498714"/>
                <a:gd name="connsiteX41" fmla="*/ 682782 w 2170227"/>
                <a:gd name="connsiteY41" fmla="*/ 0 h 3498714"/>
                <a:gd name="connsiteX42" fmla="*/ 966919 w 2170227"/>
                <a:gd name="connsiteY42" fmla="*/ 284138 h 3498714"/>
                <a:gd name="connsiteX43" fmla="*/ 682782 w 2170227"/>
                <a:gd name="connsiteY43" fmla="*/ 568275 h 3498714"/>
                <a:gd name="connsiteX44" fmla="*/ 398645 w 2170227"/>
                <a:gd name="connsiteY44" fmla="*/ 284138 h 3498714"/>
                <a:gd name="connsiteX45" fmla="*/ 682782 w 2170227"/>
                <a:gd name="connsiteY45" fmla="*/ 0 h 3498714"/>
                <a:gd name="connsiteX46" fmla="*/ 2170227 w 2170227"/>
                <a:gd name="connsiteY46" fmla="*/ 3124562 h 3498714"/>
                <a:gd name="connsiteX47" fmla="*/ 2052754 w 2170227"/>
                <a:gd name="connsiteY47" fmla="*/ 3124562 h 3498714"/>
                <a:gd name="connsiteX48" fmla="*/ 1941629 w 2170227"/>
                <a:gd name="connsiteY48" fmla="*/ 3013437 h 3498714"/>
                <a:gd name="connsiteX49" fmla="*/ 2052754 w 2170227"/>
                <a:gd name="connsiteY49" fmla="*/ 2902312 h 3498714"/>
                <a:gd name="connsiteX50" fmla="*/ 682782 w 2170227"/>
                <a:gd name="connsiteY50" fmla="*/ 0 h 3498714"/>
                <a:gd name="connsiteX0" fmla="*/ 358791 w 2170227"/>
                <a:gd name="connsiteY0" fmla="*/ 644545 h 3498714"/>
                <a:gd name="connsiteX1" fmla="*/ 1006774 w 2170227"/>
                <a:gd name="connsiteY1" fmla="*/ 644545 h 3498714"/>
                <a:gd name="connsiteX2" fmla="*/ 1542636 w 2170227"/>
                <a:gd name="connsiteY2" fmla="*/ 1193969 h 3498714"/>
                <a:gd name="connsiteX3" fmla="*/ 1929878 w 2170227"/>
                <a:gd name="connsiteY3" fmla="*/ 1193970 h 3498714"/>
                <a:gd name="connsiteX4" fmla="*/ 2070059 w 2170227"/>
                <a:gd name="connsiteY4" fmla="*/ 1334152 h 3498714"/>
                <a:gd name="connsiteX5" fmla="*/ 1929878 w 2170227"/>
                <a:gd name="connsiteY5" fmla="*/ 1474333 h 3498714"/>
                <a:gd name="connsiteX6" fmla="*/ 1520943 w 2170227"/>
                <a:gd name="connsiteY6" fmla="*/ 1470388 h 3498714"/>
                <a:gd name="connsiteX7" fmla="*/ 1332825 w 2170227"/>
                <a:gd name="connsiteY7" fmla="*/ 1367201 h 3498714"/>
                <a:gd name="connsiteX8" fmla="*/ 1106501 w 2170227"/>
                <a:gd name="connsiteY8" fmla="*/ 1098289 h 3498714"/>
                <a:gd name="connsiteX9" fmla="*/ 1101049 w 2170227"/>
                <a:gd name="connsiteY9" fmla="*/ 1092836 h 3498714"/>
                <a:gd name="connsiteX10" fmla="*/ 1046523 w 2170227"/>
                <a:gd name="connsiteY10" fmla="*/ 1092836 h 3498714"/>
                <a:gd name="connsiteX11" fmla="*/ 1041071 w 2170227"/>
                <a:gd name="connsiteY11" fmla="*/ 1098289 h 3498714"/>
                <a:gd name="connsiteX12" fmla="*/ 1042136 w 2170227"/>
                <a:gd name="connsiteY12" fmla="*/ 1419754 h 3498714"/>
                <a:gd name="connsiteX13" fmla="*/ 1042136 w 2170227"/>
                <a:gd name="connsiteY13" fmla="*/ 3337652 h 3498714"/>
                <a:gd name="connsiteX14" fmla="*/ 881075 w 2170227"/>
                <a:gd name="connsiteY14" fmla="*/ 3498714 h 3498714"/>
                <a:gd name="connsiteX15" fmla="*/ 720012 w 2170227"/>
                <a:gd name="connsiteY15" fmla="*/ 3337652 h 3498714"/>
                <a:gd name="connsiteX16" fmla="*/ 720012 w 2170227"/>
                <a:gd name="connsiteY16" fmla="*/ 2125717 h 3498714"/>
                <a:gd name="connsiteX17" fmla="*/ 718947 w 2170227"/>
                <a:gd name="connsiteY17" fmla="*/ 2033194 h 3498714"/>
                <a:gd name="connsiteX18" fmla="*/ 714162 w 2170227"/>
                <a:gd name="connsiteY18" fmla="*/ 2028410 h 3498714"/>
                <a:gd name="connsiteX19" fmla="*/ 654759 w 2170227"/>
                <a:gd name="connsiteY19" fmla="*/ 2028410 h 3498714"/>
                <a:gd name="connsiteX20" fmla="*/ 649974 w 2170227"/>
                <a:gd name="connsiteY20" fmla="*/ 2033194 h 3498714"/>
                <a:gd name="connsiteX21" fmla="*/ 649974 w 2170227"/>
                <a:gd name="connsiteY21" fmla="*/ 2125717 h 3498714"/>
                <a:gd name="connsiteX22" fmla="*/ 649574 w 2170227"/>
                <a:gd name="connsiteY22" fmla="*/ 3337652 h 3498714"/>
                <a:gd name="connsiteX23" fmla="*/ 488511 w 2170227"/>
                <a:gd name="connsiteY23" fmla="*/ 3498714 h 3498714"/>
                <a:gd name="connsiteX24" fmla="*/ 327450 w 2170227"/>
                <a:gd name="connsiteY24" fmla="*/ 3337652 h 3498714"/>
                <a:gd name="connsiteX25" fmla="*/ 327450 w 2170227"/>
                <a:gd name="connsiteY25" fmla="*/ 1458216 h 3498714"/>
                <a:gd name="connsiteX26" fmla="*/ 322427 w 2170227"/>
                <a:gd name="connsiteY26" fmla="*/ 1098205 h 3498714"/>
                <a:gd name="connsiteX27" fmla="*/ 317058 w 2170227"/>
                <a:gd name="connsiteY27" fmla="*/ 1092836 h 3498714"/>
                <a:gd name="connsiteX28" fmla="*/ 263371 w 2170227"/>
                <a:gd name="connsiteY28" fmla="*/ 1092836 h 3498714"/>
                <a:gd name="connsiteX29" fmla="*/ 258001 w 2170227"/>
                <a:gd name="connsiteY29" fmla="*/ 1098205 h 3498714"/>
                <a:gd name="connsiteX30" fmla="*/ 258001 w 2170227"/>
                <a:gd name="connsiteY30" fmla="*/ 1444446 h 3498714"/>
                <a:gd name="connsiteX31" fmla="*/ 257700 w 2170227"/>
                <a:gd name="connsiteY31" fmla="*/ 1444370 h 3498714"/>
                <a:gd name="connsiteX32" fmla="*/ 257700 w 2170227"/>
                <a:gd name="connsiteY32" fmla="*/ 1912573 h 3498714"/>
                <a:gd name="connsiteX33" fmla="*/ 128850 w 2170227"/>
                <a:gd name="connsiteY33" fmla="*/ 2041423 h 3498714"/>
                <a:gd name="connsiteX34" fmla="*/ 0 w 2170227"/>
                <a:gd name="connsiteY34" fmla="*/ 1912573 h 3498714"/>
                <a:gd name="connsiteX35" fmla="*/ 0 w 2170227"/>
                <a:gd name="connsiteY35" fmla="*/ 1101802 h 3498714"/>
                <a:gd name="connsiteX36" fmla="*/ 0 w 2170227"/>
                <a:gd name="connsiteY36" fmla="*/ 1003338 h 3498714"/>
                <a:gd name="connsiteX37" fmla="*/ 0 w 2170227"/>
                <a:gd name="connsiteY37" fmla="*/ 982486 h 3498714"/>
                <a:gd name="connsiteX38" fmla="*/ 12733 w 2170227"/>
                <a:gd name="connsiteY38" fmla="*/ 894663 h 3498714"/>
                <a:gd name="connsiteX39" fmla="*/ 20539 w 2170227"/>
                <a:gd name="connsiteY39" fmla="*/ 868773 h 3498714"/>
                <a:gd name="connsiteX40" fmla="*/ 358791 w 2170227"/>
                <a:gd name="connsiteY40" fmla="*/ 644545 h 3498714"/>
                <a:gd name="connsiteX41" fmla="*/ 682782 w 2170227"/>
                <a:gd name="connsiteY41" fmla="*/ 0 h 3498714"/>
                <a:gd name="connsiteX42" fmla="*/ 966919 w 2170227"/>
                <a:gd name="connsiteY42" fmla="*/ 284138 h 3498714"/>
                <a:gd name="connsiteX43" fmla="*/ 682782 w 2170227"/>
                <a:gd name="connsiteY43" fmla="*/ 568275 h 3498714"/>
                <a:gd name="connsiteX44" fmla="*/ 398645 w 2170227"/>
                <a:gd name="connsiteY44" fmla="*/ 284138 h 3498714"/>
                <a:gd name="connsiteX45" fmla="*/ 682782 w 2170227"/>
                <a:gd name="connsiteY45" fmla="*/ 0 h 3498714"/>
                <a:gd name="connsiteX46" fmla="*/ 2170227 w 2170227"/>
                <a:gd name="connsiteY46" fmla="*/ 3124562 h 3498714"/>
                <a:gd name="connsiteX47" fmla="*/ 1941629 w 2170227"/>
                <a:gd name="connsiteY47" fmla="*/ 3013437 h 3498714"/>
                <a:gd name="connsiteX48" fmla="*/ 2052754 w 2170227"/>
                <a:gd name="connsiteY48" fmla="*/ 2902312 h 3498714"/>
                <a:gd name="connsiteX49" fmla="*/ 682782 w 2170227"/>
                <a:gd name="connsiteY49" fmla="*/ 0 h 3498714"/>
                <a:gd name="connsiteX0" fmla="*/ 358791 w 2170227"/>
                <a:gd name="connsiteY0" fmla="*/ 644545 h 3498714"/>
                <a:gd name="connsiteX1" fmla="*/ 1006774 w 2170227"/>
                <a:gd name="connsiteY1" fmla="*/ 644545 h 3498714"/>
                <a:gd name="connsiteX2" fmla="*/ 1542636 w 2170227"/>
                <a:gd name="connsiteY2" fmla="*/ 1193969 h 3498714"/>
                <a:gd name="connsiteX3" fmla="*/ 1929878 w 2170227"/>
                <a:gd name="connsiteY3" fmla="*/ 1193970 h 3498714"/>
                <a:gd name="connsiteX4" fmla="*/ 2070059 w 2170227"/>
                <a:gd name="connsiteY4" fmla="*/ 1334152 h 3498714"/>
                <a:gd name="connsiteX5" fmla="*/ 1929878 w 2170227"/>
                <a:gd name="connsiteY5" fmla="*/ 1474333 h 3498714"/>
                <a:gd name="connsiteX6" fmla="*/ 1520943 w 2170227"/>
                <a:gd name="connsiteY6" fmla="*/ 1470388 h 3498714"/>
                <a:gd name="connsiteX7" fmla="*/ 1332825 w 2170227"/>
                <a:gd name="connsiteY7" fmla="*/ 1367201 h 3498714"/>
                <a:gd name="connsiteX8" fmla="*/ 1106501 w 2170227"/>
                <a:gd name="connsiteY8" fmla="*/ 1098289 h 3498714"/>
                <a:gd name="connsiteX9" fmla="*/ 1101049 w 2170227"/>
                <a:gd name="connsiteY9" fmla="*/ 1092836 h 3498714"/>
                <a:gd name="connsiteX10" fmla="*/ 1046523 w 2170227"/>
                <a:gd name="connsiteY10" fmla="*/ 1092836 h 3498714"/>
                <a:gd name="connsiteX11" fmla="*/ 1041071 w 2170227"/>
                <a:gd name="connsiteY11" fmla="*/ 1098289 h 3498714"/>
                <a:gd name="connsiteX12" fmla="*/ 1042136 w 2170227"/>
                <a:gd name="connsiteY12" fmla="*/ 1419754 h 3498714"/>
                <a:gd name="connsiteX13" fmla="*/ 1042136 w 2170227"/>
                <a:gd name="connsiteY13" fmla="*/ 3337652 h 3498714"/>
                <a:gd name="connsiteX14" fmla="*/ 881075 w 2170227"/>
                <a:gd name="connsiteY14" fmla="*/ 3498714 h 3498714"/>
                <a:gd name="connsiteX15" fmla="*/ 720012 w 2170227"/>
                <a:gd name="connsiteY15" fmla="*/ 3337652 h 3498714"/>
                <a:gd name="connsiteX16" fmla="*/ 720012 w 2170227"/>
                <a:gd name="connsiteY16" fmla="*/ 2125717 h 3498714"/>
                <a:gd name="connsiteX17" fmla="*/ 718947 w 2170227"/>
                <a:gd name="connsiteY17" fmla="*/ 2033194 h 3498714"/>
                <a:gd name="connsiteX18" fmla="*/ 714162 w 2170227"/>
                <a:gd name="connsiteY18" fmla="*/ 2028410 h 3498714"/>
                <a:gd name="connsiteX19" fmla="*/ 654759 w 2170227"/>
                <a:gd name="connsiteY19" fmla="*/ 2028410 h 3498714"/>
                <a:gd name="connsiteX20" fmla="*/ 649974 w 2170227"/>
                <a:gd name="connsiteY20" fmla="*/ 2033194 h 3498714"/>
                <a:gd name="connsiteX21" fmla="*/ 649974 w 2170227"/>
                <a:gd name="connsiteY21" fmla="*/ 2125717 h 3498714"/>
                <a:gd name="connsiteX22" fmla="*/ 649574 w 2170227"/>
                <a:gd name="connsiteY22" fmla="*/ 3337652 h 3498714"/>
                <a:gd name="connsiteX23" fmla="*/ 488511 w 2170227"/>
                <a:gd name="connsiteY23" fmla="*/ 3498714 h 3498714"/>
                <a:gd name="connsiteX24" fmla="*/ 327450 w 2170227"/>
                <a:gd name="connsiteY24" fmla="*/ 3337652 h 3498714"/>
                <a:gd name="connsiteX25" fmla="*/ 327450 w 2170227"/>
                <a:gd name="connsiteY25" fmla="*/ 1458216 h 3498714"/>
                <a:gd name="connsiteX26" fmla="*/ 322427 w 2170227"/>
                <a:gd name="connsiteY26" fmla="*/ 1098205 h 3498714"/>
                <a:gd name="connsiteX27" fmla="*/ 317058 w 2170227"/>
                <a:gd name="connsiteY27" fmla="*/ 1092836 h 3498714"/>
                <a:gd name="connsiteX28" fmla="*/ 263371 w 2170227"/>
                <a:gd name="connsiteY28" fmla="*/ 1092836 h 3498714"/>
                <a:gd name="connsiteX29" fmla="*/ 258001 w 2170227"/>
                <a:gd name="connsiteY29" fmla="*/ 1098205 h 3498714"/>
                <a:gd name="connsiteX30" fmla="*/ 258001 w 2170227"/>
                <a:gd name="connsiteY30" fmla="*/ 1444446 h 3498714"/>
                <a:gd name="connsiteX31" fmla="*/ 257700 w 2170227"/>
                <a:gd name="connsiteY31" fmla="*/ 1444370 h 3498714"/>
                <a:gd name="connsiteX32" fmla="*/ 257700 w 2170227"/>
                <a:gd name="connsiteY32" fmla="*/ 1912573 h 3498714"/>
                <a:gd name="connsiteX33" fmla="*/ 128850 w 2170227"/>
                <a:gd name="connsiteY33" fmla="*/ 2041423 h 3498714"/>
                <a:gd name="connsiteX34" fmla="*/ 0 w 2170227"/>
                <a:gd name="connsiteY34" fmla="*/ 1912573 h 3498714"/>
                <a:gd name="connsiteX35" fmla="*/ 0 w 2170227"/>
                <a:gd name="connsiteY35" fmla="*/ 1101802 h 3498714"/>
                <a:gd name="connsiteX36" fmla="*/ 0 w 2170227"/>
                <a:gd name="connsiteY36" fmla="*/ 1003338 h 3498714"/>
                <a:gd name="connsiteX37" fmla="*/ 0 w 2170227"/>
                <a:gd name="connsiteY37" fmla="*/ 982486 h 3498714"/>
                <a:gd name="connsiteX38" fmla="*/ 12733 w 2170227"/>
                <a:gd name="connsiteY38" fmla="*/ 894663 h 3498714"/>
                <a:gd name="connsiteX39" fmla="*/ 20539 w 2170227"/>
                <a:gd name="connsiteY39" fmla="*/ 868773 h 3498714"/>
                <a:gd name="connsiteX40" fmla="*/ 358791 w 2170227"/>
                <a:gd name="connsiteY40" fmla="*/ 644545 h 3498714"/>
                <a:gd name="connsiteX41" fmla="*/ 682782 w 2170227"/>
                <a:gd name="connsiteY41" fmla="*/ 0 h 3498714"/>
                <a:gd name="connsiteX42" fmla="*/ 966919 w 2170227"/>
                <a:gd name="connsiteY42" fmla="*/ 284138 h 3498714"/>
                <a:gd name="connsiteX43" fmla="*/ 682782 w 2170227"/>
                <a:gd name="connsiteY43" fmla="*/ 568275 h 3498714"/>
                <a:gd name="connsiteX44" fmla="*/ 398645 w 2170227"/>
                <a:gd name="connsiteY44" fmla="*/ 284138 h 3498714"/>
                <a:gd name="connsiteX45" fmla="*/ 682782 w 2170227"/>
                <a:gd name="connsiteY45" fmla="*/ 0 h 3498714"/>
                <a:gd name="connsiteX46" fmla="*/ 2170227 w 2170227"/>
                <a:gd name="connsiteY46" fmla="*/ 3124562 h 3498714"/>
                <a:gd name="connsiteX47" fmla="*/ 2052754 w 2170227"/>
                <a:gd name="connsiteY47" fmla="*/ 2902312 h 3498714"/>
                <a:gd name="connsiteX48" fmla="*/ 682782 w 2170227"/>
                <a:gd name="connsiteY48" fmla="*/ 0 h 3498714"/>
                <a:gd name="connsiteX0" fmla="*/ 358791 w 2170227"/>
                <a:gd name="connsiteY0" fmla="*/ 644545 h 3498714"/>
                <a:gd name="connsiteX1" fmla="*/ 1006774 w 2170227"/>
                <a:gd name="connsiteY1" fmla="*/ 644545 h 3498714"/>
                <a:gd name="connsiteX2" fmla="*/ 1542636 w 2170227"/>
                <a:gd name="connsiteY2" fmla="*/ 1193969 h 3498714"/>
                <a:gd name="connsiteX3" fmla="*/ 1929878 w 2170227"/>
                <a:gd name="connsiteY3" fmla="*/ 1193970 h 3498714"/>
                <a:gd name="connsiteX4" fmla="*/ 2070059 w 2170227"/>
                <a:gd name="connsiteY4" fmla="*/ 1334152 h 3498714"/>
                <a:gd name="connsiteX5" fmla="*/ 1929878 w 2170227"/>
                <a:gd name="connsiteY5" fmla="*/ 1474333 h 3498714"/>
                <a:gd name="connsiteX6" fmla="*/ 1520943 w 2170227"/>
                <a:gd name="connsiteY6" fmla="*/ 1470388 h 3498714"/>
                <a:gd name="connsiteX7" fmla="*/ 1332825 w 2170227"/>
                <a:gd name="connsiteY7" fmla="*/ 1367201 h 3498714"/>
                <a:gd name="connsiteX8" fmla="*/ 1106501 w 2170227"/>
                <a:gd name="connsiteY8" fmla="*/ 1098289 h 3498714"/>
                <a:gd name="connsiteX9" fmla="*/ 1101049 w 2170227"/>
                <a:gd name="connsiteY9" fmla="*/ 1092836 h 3498714"/>
                <a:gd name="connsiteX10" fmla="*/ 1046523 w 2170227"/>
                <a:gd name="connsiteY10" fmla="*/ 1092836 h 3498714"/>
                <a:gd name="connsiteX11" fmla="*/ 1041071 w 2170227"/>
                <a:gd name="connsiteY11" fmla="*/ 1098289 h 3498714"/>
                <a:gd name="connsiteX12" fmla="*/ 1042136 w 2170227"/>
                <a:gd name="connsiteY12" fmla="*/ 1419754 h 3498714"/>
                <a:gd name="connsiteX13" fmla="*/ 1042136 w 2170227"/>
                <a:gd name="connsiteY13" fmla="*/ 3337652 h 3498714"/>
                <a:gd name="connsiteX14" fmla="*/ 881075 w 2170227"/>
                <a:gd name="connsiteY14" fmla="*/ 3498714 h 3498714"/>
                <a:gd name="connsiteX15" fmla="*/ 720012 w 2170227"/>
                <a:gd name="connsiteY15" fmla="*/ 3337652 h 3498714"/>
                <a:gd name="connsiteX16" fmla="*/ 720012 w 2170227"/>
                <a:gd name="connsiteY16" fmla="*/ 2125717 h 3498714"/>
                <a:gd name="connsiteX17" fmla="*/ 718947 w 2170227"/>
                <a:gd name="connsiteY17" fmla="*/ 2033194 h 3498714"/>
                <a:gd name="connsiteX18" fmla="*/ 714162 w 2170227"/>
                <a:gd name="connsiteY18" fmla="*/ 2028410 h 3498714"/>
                <a:gd name="connsiteX19" fmla="*/ 654759 w 2170227"/>
                <a:gd name="connsiteY19" fmla="*/ 2028410 h 3498714"/>
                <a:gd name="connsiteX20" fmla="*/ 649974 w 2170227"/>
                <a:gd name="connsiteY20" fmla="*/ 2033194 h 3498714"/>
                <a:gd name="connsiteX21" fmla="*/ 649974 w 2170227"/>
                <a:gd name="connsiteY21" fmla="*/ 2125717 h 3498714"/>
                <a:gd name="connsiteX22" fmla="*/ 649574 w 2170227"/>
                <a:gd name="connsiteY22" fmla="*/ 3337652 h 3498714"/>
                <a:gd name="connsiteX23" fmla="*/ 488511 w 2170227"/>
                <a:gd name="connsiteY23" fmla="*/ 3498714 h 3498714"/>
                <a:gd name="connsiteX24" fmla="*/ 327450 w 2170227"/>
                <a:gd name="connsiteY24" fmla="*/ 3337652 h 3498714"/>
                <a:gd name="connsiteX25" fmla="*/ 327450 w 2170227"/>
                <a:gd name="connsiteY25" fmla="*/ 1458216 h 3498714"/>
                <a:gd name="connsiteX26" fmla="*/ 322427 w 2170227"/>
                <a:gd name="connsiteY26" fmla="*/ 1098205 h 3498714"/>
                <a:gd name="connsiteX27" fmla="*/ 317058 w 2170227"/>
                <a:gd name="connsiteY27" fmla="*/ 1092836 h 3498714"/>
                <a:gd name="connsiteX28" fmla="*/ 263371 w 2170227"/>
                <a:gd name="connsiteY28" fmla="*/ 1092836 h 3498714"/>
                <a:gd name="connsiteX29" fmla="*/ 258001 w 2170227"/>
                <a:gd name="connsiteY29" fmla="*/ 1098205 h 3498714"/>
                <a:gd name="connsiteX30" fmla="*/ 258001 w 2170227"/>
                <a:gd name="connsiteY30" fmla="*/ 1444446 h 3498714"/>
                <a:gd name="connsiteX31" fmla="*/ 257700 w 2170227"/>
                <a:gd name="connsiteY31" fmla="*/ 1444370 h 3498714"/>
                <a:gd name="connsiteX32" fmla="*/ 257700 w 2170227"/>
                <a:gd name="connsiteY32" fmla="*/ 1912573 h 3498714"/>
                <a:gd name="connsiteX33" fmla="*/ 128850 w 2170227"/>
                <a:gd name="connsiteY33" fmla="*/ 2041423 h 3498714"/>
                <a:gd name="connsiteX34" fmla="*/ 0 w 2170227"/>
                <a:gd name="connsiteY34" fmla="*/ 1912573 h 3498714"/>
                <a:gd name="connsiteX35" fmla="*/ 0 w 2170227"/>
                <a:gd name="connsiteY35" fmla="*/ 1101802 h 3498714"/>
                <a:gd name="connsiteX36" fmla="*/ 0 w 2170227"/>
                <a:gd name="connsiteY36" fmla="*/ 1003338 h 3498714"/>
                <a:gd name="connsiteX37" fmla="*/ 0 w 2170227"/>
                <a:gd name="connsiteY37" fmla="*/ 982486 h 3498714"/>
                <a:gd name="connsiteX38" fmla="*/ 12733 w 2170227"/>
                <a:gd name="connsiteY38" fmla="*/ 894663 h 3498714"/>
                <a:gd name="connsiteX39" fmla="*/ 20539 w 2170227"/>
                <a:gd name="connsiteY39" fmla="*/ 868773 h 3498714"/>
                <a:gd name="connsiteX40" fmla="*/ 358791 w 2170227"/>
                <a:gd name="connsiteY40" fmla="*/ 644545 h 3498714"/>
                <a:gd name="connsiteX41" fmla="*/ 682782 w 2170227"/>
                <a:gd name="connsiteY41" fmla="*/ 0 h 3498714"/>
                <a:gd name="connsiteX42" fmla="*/ 966919 w 2170227"/>
                <a:gd name="connsiteY42" fmla="*/ 284138 h 3498714"/>
                <a:gd name="connsiteX43" fmla="*/ 682782 w 2170227"/>
                <a:gd name="connsiteY43" fmla="*/ 568275 h 3498714"/>
                <a:gd name="connsiteX44" fmla="*/ 398645 w 2170227"/>
                <a:gd name="connsiteY44" fmla="*/ 284138 h 3498714"/>
                <a:gd name="connsiteX45" fmla="*/ 682782 w 2170227"/>
                <a:gd name="connsiteY45" fmla="*/ 0 h 3498714"/>
                <a:gd name="connsiteX46" fmla="*/ 2170227 w 2170227"/>
                <a:gd name="connsiteY46" fmla="*/ 3124562 h 3498714"/>
                <a:gd name="connsiteX47" fmla="*/ 682782 w 2170227"/>
                <a:gd name="connsiteY47" fmla="*/ 0 h 3498714"/>
                <a:gd name="connsiteX0" fmla="*/ 358791 w 2070059"/>
                <a:gd name="connsiteY0" fmla="*/ 644545 h 3498714"/>
                <a:gd name="connsiteX1" fmla="*/ 1006774 w 2070059"/>
                <a:gd name="connsiteY1" fmla="*/ 644545 h 3498714"/>
                <a:gd name="connsiteX2" fmla="*/ 1542636 w 2070059"/>
                <a:gd name="connsiteY2" fmla="*/ 1193969 h 3498714"/>
                <a:gd name="connsiteX3" fmla="*/ 1929878 w 2070059"/>
                <a:gd name="connsiteY3" fmla="*/ 1193970 h 3498714"/>
                <a:gd name="connsiteX4" fmla="*/ 2070059 w 2070059"/>
                <a:gd name="connsiteY4" fmla="*/ 1334152 h 3498714"/>
                <a:gd name="connsiteX5" fmla="*/ 1929878 w 2070059"/>
                <a:gd name="connsiteY5" fmla="*/ 1474333 h 3498714"/>
                <a:gd name="connsiteX6" fmla="*/ 1520943 w 2070059"/>
                <a:gd name="connsiteY6" fmla="*/ 1470388 h 3498714"/>
                <a:gd name="connsiteX7" fmla="*/ 1332825 w 2070059"/>
                <a:gd name="connsiteY7" fmla="*/ 1367201 h 3498714"/>
                <a:gd name="connsiteX8" fmla="*/ 1106501 w 2070059"/>
                <a:gd name="connsiteY8" fmla="*/ 1098289 h 3498714"/>
                <a:gd name="connsiteX9" fmla="*/ 1101049 w 2070059"/>
                <a:gd name="connsiteY9" fmla="*/ 1092836 h 3498714"/>
                <a:gd name="connsiteX10" fmla="*/ 1046523 w 2070059"/>
                <a:gd name="connsiteY10" fmla="*/ 1092836 h 3498714"/>
                <a:gd name="connsiteX11" fmla="*/ 1041071 w 2070059"/>
                <a:gd name="connsiteY11" fmla="*/ 1098289 h 3498714"/>
                <a:gd name="connsiteX12" fmla="*/ 1042136 w 2070059"/>
                <a:gd name="connsiteY12" fmla="*/ 1419754 h 3498714"/>
                <a:gd name="connsiteX13" fmla="*/ 1042136 w 2070059"/>
                <a:gd name="connsiteY13" fmla="*/ 3337652 h 3498714"/>
                <a:gd name="connsiteX14" fmla="*/ 881075 w 2070059"/>
                <a:gd name="connsiteY14" fmla="*/ 3498714 h 3498714"/>
                <a:gd name="connsiteX15" fmla="*/ 720012 w 2070059"/>
                <a:gd name="connsiteY15" fmla="*/ 3337652 h 3498714"/>
                <a:gd name="connsiteX16" fmla="*/ 720012 w 2070059"/>
                <a:gd name="connsiteY16" fmla="*/ 2125717 h 3498714"/>
                <a:gd name="connsiteX17" fmla="*/ 718947 w 2070059"/>
                <a:gd name="connsiteY17" fmla="*/ 2033194 h 3498714"/>
                <a:gd name="connsiteX18" fmla="*/ 714162 w 2070059"/>
                <a:gd name="connsiteY18" fmla="*/ 2028410 h 3498714"/>
                <a:gd name="connsiteX19" fmla="*/ 654759 w 2070059"/>
                <a:gd name="connsiteY19" fmla="*/ 2028410 h 3498714"/>
                <a:gd name="connsiteX20" fmla="*/ 649974 w 2070059"/>
                <a:gd name="connsiteY20" fmla="*/ 2033194 h 3498714"/>
                <a:gd name="connsiteX21" fmla="*/ 649974 w 2070059"/>
                <a:gd name="connsiteY21" fmla="*/ 2125717 h 3498714"/>
                <a:gd name="connsiteX22" fmla="*/ 649574 w 2070059"/>
                <a:gd name="connsiteY22" fmla="*/ 3337652 h 3498714"/>
                <a:gd name="connsiteX23" fmla="*/ 488511 w 2070059"/>
                <a:gd name="connsiteY23" fmla="*/ 3498714 h 3498714"/>
                <a:gd name="connsiteX24" fmla="*/ 327450 w 2070059"/>
                <a:gd name="connsiteY24" fmla="*/ 3337652 h 3498714"/>
                <a:gd name="connsiteX25" fmla="*/ 327450 w 2070059"/>
                <a:gd name="connsiteY25" fmla="*/ 1458216 h 3498714"/>
                <a:gd name="connsiteX26" fmla="*/ 322427 w 2070059"/>
                <a:gd name="connsiteY26" fmla="*/ 1098205 h 3498714"/>
                <a:gd name="connsiteX27" fmla="*/ 317058 w 2070059"/>
                <a:gd name="connsiteY27" fmla="*/ 1092836 h 3498714"/>
                <a:gd name="connsiteX28" fmla="*/ 263371 w 2070059"/>
                <a:gd name="connsiteY28" fmla="*/ 1092836 h 3498714"/>
                <a:gd name="connsiteX29" fmla="*/ 258001 w 2070059"/>
                <a:gd name="connsiteY29" fmla="*/ 1098205 h 3498714"/>
                <a:gd name="connsiteX30" fmla="*/ 258001 w 2070059"/>
                <a:gd name="connsiteY30" fmla="*/ 1444446 h 3498714"/>
                <a:gd name="connsiteX31" fmla="*/ 257700 w 2070059"/>
                <a:gd name="connsiteY31" fmla="*/ 1444370 h 3498714"/>
                <a:gd name="connsiteX32" fmla="*/ 257700 w 2070059"/>
                <a:gd name="connsiteY32" fmla="*/ 1912573 h 3498714"/>
                <a:gd name="connsiteX33" fmla="*/ 128850 w 2070059"/>
                <a:gd name="connsiteY33" fmla="*/ 2041423 h 3498714"/>
                <a:gd name="connsiteX34" fmla="*/ 0 w 2070059"/>
                <a:gd name="connsiteY34" fmla="*/ 1912573 h 3498714"/>
                <a:gd name="connsiteX35" fmla="*/ 0 w 2070059"/>
                <a:gd name="connsiteY35" fmla="*/ 1101802 h 3498714"/>
                <a:gd name="connsiteX36" fmla="*/ 0 w 2070059"/>
                <a:gd name="connsiteY36" fmla="*/ 1003338 h 3498714"/>
                <a:gd name="connsiteX37" fmla="*/ 0 w 2070059"/>
                <a:gd name="connsiteY37" fmla="*/ 982486 h 3498714"/>
                <a:gd name="connsiteX38" fmla="*/ 12733 w 2070059"/>
                <a:gd name="connsiteY38" fmla="*/ 894663 h 3498714"/>
                <a:gd name="connsiteX39" fmla="*/ 20539 w 2070059"/>
                <a:gd name="connsiteY39" fmla="*/ 868773 h 3498714"/>
                <a:gd name="connsiteX40" fmla="*/ 358791 w 2070059"/>
                <a:gd name="connsiteY40" fmla="*/ 644545 h 3498714"/>
                <a:gd name="connsiteX41" fmla="*/ 682782 w 2070059"/>
                <a:gd name="connsiteY41" fmla="*/ 0 h 3498714"/>
                <a:gd name="connsiteX42" fmla="*/ 966919 w 2070059"/>
                <a:gd name="connsiteY42" fmla="*/ 284138 h 3498714"/>
                <a:gd name="connsiteX43" fmla="*/ 682782 w 2070059"/>
                <a:gd name="connsiteY43" fmla="*/ 568275 h 3498714"/>
                <a:gd name="connsiteX44" fmla="*/ 398645 w 2070059"/>
                <a:gd name="connsiteY44" fmla="*/ 284138 h 3498714"/>
                <a:gd name="connsiteX45" fmla="*/ 682782 w 2070059"/>
                <a:gd name="connsiteY45" fmla="*/ 0 h 3498714"/>
                <a:gd name="connsiteX46" fmla="*/ 682782 w 2070059"/>
                <a:gd name="connsiteY46" fmla="*/ 0 h 3498714"/>
                <a:gd name="connsiteX0" fmla="*/ 358791 w 2070059"/>
                <a:gd name="connsiteY0" fmla="*/ 644545 h 3498714"/>
                <a:gd name="connsiteX1" fmla="*/ 1006774 w 2070059"/>
                <a:gd name="connsiteY1" fmla="*/ 644545 h 3498714"/>
                <a:gd name="connsiteX2" fmla="*/ 1542636 w 2070059"/>
                <a:gd name="connsiteY2" fmla="*/ 1193969 h 3498714"/>
                <a:gd name="connsiteX3" fmla="*/ 1929878 w 2070059"/>
                <a:gd name="connsiteY3" fmla="*/ 1193970 h 3498714"/>
                <a:gd name="connsiteX4" fmla="*/ 2070059 w 2070059"/>
                <a:gd name="connsiteY4" fmla="*/ 1334152 h 3498714"/>
                <a:gd name="connsiteX5" fmla="*/ 1929878 w 2070059"/>
                <a:gd name="connsiteY5" fmla="*/ 1474333 h 3498714"/>
                <a:gd name="connsiteX6" fmla="*/ 1520943 w 2070059"/>
                <a:gd name="connsiteY6" fmla="*/ 1470388 h 3498714"/>
                <a:gd name="connsiteX7" fmla="*/ 1332825 w 2070059"/>
                <a:gd name="connsiteY7" fmla="*/ 1367201 h 3498714"/>
                <a:gd name="connsiteX8" fmla="*/ 1106501 w 2070059"/>
                <a:gd name="connsiteY8" fmla="*/ 1098289 h 3498714"/>
                <a:gd name="connsiteX9" fmla="*/ 1101049 w 2070059"/>
                <a:gd name="connsiteY9" fmla="*/ 1092836 h 3498714"/>
                <a:gd name="connsiteX10" fmla="*/ 1046523 w 2070059"/>
                <a:gd name="connsiteY10" fmla="*/ 1092836 h 3498714"/>
                <a:gd name="connsiteX11" fmla="*/ 1041071 w 2070059"/>
                <a:gd name="connsiteY11" fmla="*/ 1098289 h 3498714"/>
                <a:gd name="connsiteX12" fmla="*/ 1042136 w 2070059"/>
                <a:gd name="connsiteY12" fmla="*/ 1419754 h 3498714"/>
                <a:gd name="connsiteX13" fmla="*/ 1042136 w 2070059"/>
                <a:gd name="connsiteY13" fmla="*/ 3337652 h 3498714"/>
                <a:gd name="connsiteX14" fmla="*/ 881075 w 2070059"/>
                <a:gd name="connsiteY14" fmla="*/ 3498714 h 3498714"/>
                <a:gd name="connsiteX15" fmla="*/ 720012 w 2070059"/>
                <a:gd name="connsiteY15" fmla="*/ 3337652 h 3498714"/>
                <a:gd name="connsiteX16" fmla="*/ 720012 w 2070059"/>
                <a:gd name="connsiteY16" fmla="*/ 2125717 h 3498714"/>
                <a:gd name="connsiteX17" fmla="*/ 718947 w 2070059"/>
                <a:gd name="connsiteY17" fmla="*/ 2033194 h 3498714"/>
                <a:gd name="connsiteX18" fmla="*/ 714162 w 2070059"/>
                <a:gd name="connsiteY18" fmla="*/ 2028410 h 3498714"/>
                <a:gd name="connsiteX19" fmla="*/ 654759 w 2070059"/>
                <a:gd name="connsiteY19" fmla="*/ 2028410 h 3498714"/>
                <a:gd name="connsiteX20" fmla="*/ 649974 w 2070059"/>
                <a:gd name="connsiteY20" fmla="*/ 2033194 h 3498714"/>
                <a:gd name="connsiteX21" fmla="*/ 649974 w 2070059"/>
                <a:gd name="connsiteY21" fmla="*/ 2125717 h 3498714"/>
                <a:gd name="connsiteX22" fmla="*/ 649574 w 2070059"/>
                <a:gd name="connsiteY22" fmla="*/ 3337652 h 3498714"/>
                <a:gd name="connsiteX23" fmla="*/ 488511 w 2070059"/>
                <a:gd name="connsiteY23" fmla="*/ 3498714 h 3498714"/>
                <a:gd name="connsiteX24" fmla="*/ 327450 w 2070059"/>
                <a:gd name="connsiteY24" fmla="*/ 3337652 h 3498714"/>
                <a:gd name="connsiteX25" fmla="*/ 327450 w 2070059"/>
                <a:gd name="connsiteY25" fmla="*/ 1458216 h 3498714"/>
                <a:gd name="connsiteX26" fmla="*/ 322427 w 2070059"/>
                <a:gd name="connsiteY26" fmla="*/ 1098205 h 3498714"/>
                <a:gd name="connsiteX27" fmla="*/ 317058 w 2070059"/>
                <a:gd name="connsiteY27" fmla="*/ 1092836 h 3498714"/>
                <a:gd name="connsiteX28" fmla="*/ 263371 w 2070059"/>
                <a:gd name="connsiteY28" fmla="*/ 1092836 h 3498714"/>
                <a:gd name="connsiteX29" fmla="*/ 258001 w 2070059"/>
                <a:gd name="connsiteY29" fmla="*/ 1098205 h 3498714"/>
                <a:gd name="connsiteX30" fmla="*/ 258001 w 2070059"/>
                <a:gd name="connsiteY30" fmla="*/ 1444446 h 3498714"/>
                <a:gd name="connsiteX31" fmla="*/ 257700 w 2070059"/>
                <a:gd name="connsiteY31" fmla="*/ 1444370 h 3498714"/>
                <a:gd name="connsiteX32" fmla="*/ 257700 w 2070059"/>
                <a:gd name="connsiteY32" fmla="*/ 1912573 h 3498714"/>
                <a:gd name="connsiteX33" fmla="*/ 128850 w 2070059"/>
                <a:gd name="connsiteY33" fmla="*/ 2041423 h 3498714"/>
                <a:gd name="connsiteX34" fmla="*/ 0 w 2070059"/>
                <a:gd name="connsiteY34" fmla="*/ 1912573 h 3498714"/>
                <a:gd name="connsiteX35" fmla="*/ 0 w 2070059"/>
                <a:gd name="connsiteY35" fmla="*/ 1101802 h 3498714"/>
                <a:gd name="connsiteX36" fmla="*/ 0 w 2070059"/>
                <a:gd name="connsiteY36" fmla="*/ 1003338 h 3498714"/>
                <a:gd name="connsiteX37" fmla="*/ 0 w 2070059"/>
                <a:gd name="connsiteY37" fmla="*/ 982486 h 3498714"/>
                <a:gd name="connsiteX38" fmla="*/ 12733 w 2070059"/>
                <a:gd name="connsiteY38" fmla="*/ 894663 h 3498714"/>
                <a:gd name="connsiteX39" fmla="*/ 20539 w 2070059"/>
                <a:gd name="connsiteY39" fmla="*/ 868773 h 3498714"/>
                <a:gd name="connsiteX40" fmla="*/ 358791 w 2070059"/>
                <a:gd name="connsiteY40" fmla="*/ 644545 h 3498714"/>
                <a:gd name="connsiteX41" fmla="*/ 682782 w 2070059"/>
                <a:gd name="connsiteY41" fmla="*/ 0 h 3498714"/>
                <a:gd name="connsiteX42" fmla="*/ 966919 w 2070059"/>
                <a:gd name="connsiteY42" fmla="*/ 284138 h 3498714"/>
                <a:gd name="connsiteX43" fmla="*/ 682782 w 2070059"/>
                <a:gd name="connsiteY43" fmla="*/ 568275 h 3498714"/>
                <a:gd name="connsiteX44" fmla="*/ 398645 w 2070059"/>
                <a:gd name="connsiteY44" fmla="*/ 284138 h 3498714"/>
                <a:gd name="connsiteX45" fmla="*/ 682782 w 2070059"/>
                <a:gd name="connsiteY45" fmla="*/ 0 h 3498714"/>
                <a:gd name="connsiteX46" fmla="*/ 682782 w 2070059"/>
                <a:gd name="connsiteY46" fmla="*/ 0 h 349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070059" h="3498714">
                  <a:close/>
                  <a:moveTo>
                    <a:pt x="358791" y="644545"/>
                  </a:moveTo>
                  <a:lnTo>
                    <a:pt x="1006774" y="644545"/>
                  </a:lnTo>
                  <a:cubicBezTo>
                    <a:pt x="1218838" y="701686"/>
                    <a:pt x="1428136" y="1033850"/>
                    <a:pt x="1542636" y="1193969"/>
                  </a:cubicBezTo>
                  <a:lnTo>
                    <a:pt x="1929878" y="1193970"/>
                  </a:lnTo>
                  <a:cubicBezTo>
                    <a:pt x="2007298" y="1193970"/>
                    <a:pt x="2070059" y="1256732"/>
                    <a:pt x="2070059" y="1334152"/>
                  </a:cubicBezTo>
                  <a:cubicBezTo>
                    <a:pt x="2070059" y="1411572"/>
                    <a:pt x="2021397" y="1451628"/>
                    <a:pt x="1929878" y="1474333"/>
                  </a:cubicBezTo>
                  <a:lnTo>
                    <a:pt x="1520943" y="1470388"/>
                  </a:lnTo>
                  <a:cubicBezTo>
                    <a:pt x="1397118" y="1474356"/>
                    <a:pt x="1368544" y="1410856"/>
                    <a:pt x="1332825" y="1367201"/>
                  </a:cubicBezTo>
                  <a:lnTo>
                    <a:pt x="1106501" y="1098289"/>
                  </a:lnTo>
                  <a:cubicBezTo>
                    <a:pt x="1106501" y="1095278"/>
                    <a:pt x="1104059" y="1092836"/>
                    <a:pt x="1101049" y="1092836"/>
                  </a:cubicBezTo>
                  <a:lnTo>
                    <a:pt x="1046523" y="1092836"/>
                  </a:lnTo>
                  <a:cubicBezTo>
                    <a:pt x="1043511" y="1092836"/>
                    <a:pt x="1041071" y="1095278"/>
                    <a:pt x="1041071" y="1098289"/>
                  </a:cubicBezTo>
                  <a:lnTo>
                    <a:pt x="1042136" y="1419754"/>
                  </a:lnTo>
                  <a:lnTo>
                    <a:pt x="1042136" y="3337652"/>
                  </a:lnTo>
                  <a:cubicBezTo>
                    <a:pt x="1042136" y="3426604"/>
                    <a:pt x="970027" y="3498714"/>
                    <a:pt x="881075" y="3498714"/>
                  </a:cubicBezTo>
                  <a:cubicBezTo>
                    <a:pt x="792123" y="3498714"/>
                    <a:pt x="720012" y="3426604"/>
                    <a:pt x="720012" y="3337652"/>
                  </a:cubicBezTo>
                  <a:lnTo>
                    <a:pt x="720012" y="2125717"/>
                  </a:lnTo>
                  <a:lnTo>
                    <a:pt x="718947" y="2033194"/>
                  </a:lnTo>
                  <a:cubicBezTo>
                    <a:pt x="718947" y="2030552"/>
                    <a:pt x="716805" y="2028410"/>
                    <a:pt x="714162" y="2028410"/>
                  </a:cubicBezTo>
                  <a:lnTo>
                    <a:pt x="654759" y="2028410"/>
                  </a:lnTo>
                  <a:cubicBezTo>
                    <a:pt x="652116" y="2028410"/>
                    <a:pt x="649974" y="2030552"/>
                    <a:pt x="649974" y="2033194"/>
                  </a:cubicBezTo>
                  <a:lnTo>
                    <a:pt x="649974" y="2125717"/>
                  </a:lnTo>
                  <a:cubicBezTo>
                    <a:pt x="649841" y="2529695"/>
                    <a:pt x="649707" y="2933674"/>
                    <a:pt x="649574" y="3337652"/>
                  </a:cubicBezTo>
                  <a:cubicBezTo>
                    <a:pt x="649574" y="3426604"/>
                    <a:pt x="577464" y="3498714"/>
                    <a:pt x="488511" y="3498714"/>
                  </a:cubicBezTo>
                  <a:cubicBezTo>
                    <a:pt x="399560" y="3498714"/>
                    <a:pt x="327450" y="3426604"/>
                    <a:pt x="327450" y="3337652"/>
                  </a:cubicBezTo>
                  <a:lnTo>
                    <a:pt x="327450" y="1458216"/>
                  </a:lnTo>
                  <a:cubicBezTo>
                    <a:pt x="325775" y="1338213"/>
                    <a:pt x="324101" y="1218209"/>
                    <a:pt x="322427" y="1098205"/>
                  </a:cubicBezTo>
                  <a:cubicBezTo>
                    <a:pt x="322427" y="1095240"/>
                    <a:pt x="320022" y="1092836"/>
                    <a:pt x="317058" y="1092836"/>
                  </a:cubicBezTo>
                  <a:lnTo>
                    <a:pt x="263371" y="1092836"/>
                  </a:lnTo>
                  <a:cubicBezTo>
                    <a:pt x="260405" y="1092836"/>
                    <a:pt x="258001" y="1095240"/>
                    <a:pt x="258001" y="1098205"/>
                  </a:cubicBezTo>
                  <a:lnTo>
                    <a:pt x="258001" y="1444446"/>
                  </a:lnTo>
                  <a:cubicBezTo>
                    <a:pt x="257895" y="1444438"/>
                    <a:pt x="257798" y="1444405"/>
                    <a:pt x="257700" y="1444370"/>
                  </a:cubicBezTo>
                  <a:lnTo>
                    <a:pt x="257700" y="1912573"/>
                  </a:lnTo>
                  <a:cubicBezTo>
                    <a:pt x="257700" y="1983734"/>
                    <a:pt x="200011" y="2041423"/>
                    <a:pt x="128850" y="2041423"/>
                  </a:cubicBezTo>
                  <a:cubicBezTo>
                    <a:pt x="57687" y="2041423"/>
                    <a:pt x="0" y="1983734"/>
                    <a:pt x="0" y="1912573"/>
                  </a:cubicBezTo>
                  <a:lnTo>
                    <a:pt x="0" y="1101802"/>
                  </a:lnTo>
                  <a:lnTo>
                    <a:pt x="0" y="1003338"/>
                  </a:lnTo>
                  <a:lnTo>
                    <a:pt x="0" y="982486"/>
                  </a:lnTo>
                  <a:cubicBezTo>
                    <a:pt x="0" y="952006"/>
                    <a:pt x="3965" y="922453"/>
                    <a:pt x="12733" y="894663"/>
                  </a:cubicBezTo>
                  <a:cubicBezTo>
                    <a:pt x="15126" y="886107"/>
                    <a:pt x="14856" y="875418"/>
                    <a:pt x="20539" y="868773"/>
                  </a:cubicBezTo>
                  <a:cubicBezTo>
                    <a:pt x="72281" y="735385"/>
                    <a:pt x="207053" y="644545"/>
                    <a:pt x="358791" y="644545"/>
                  </a:cubicBezTo>
                  <a:close/>
                  <a:moveTo>
                    <a:pt x="682782" y="0"/>
                  </a:moveTo>
                  <a:cubicBezTo>
                    <a:pt x="730138" y="47356"/>
                    <a:pt x="917322" y="-43301"/>
                    <a:pt x="966919" y="284138"/>
                  </a:cubicBezTo>
                  <a:cubicBezTo>
                    <a:pt x="1016516" y="611577"/>
                    <a:pt x="839708" y="568275"/>
                    <a:pt x="682782" y="568275"/>
                  </a:cubicBezTo>
                  <a:cubicBezTo>
                    <a:pt x="525858" y="568275"/>
                    <a:pt x="398645" y="441063"/>
                    <a:pt x="398645" y="284138"/>
                  </a:cubicBezTo>
                  <a:cubicBezTo>
                    <a:pt x="398645" y="127213"/>
                    <a:pt x="525858" y="0"/>
                    <a:pt x="682782" y="0"/>
                  </a:cubicBezTo>
                  <a:lnTo>
                    <a:pt x="682782" y="0"/>
                  </a:lnTo>
                  <a:close/>
                </a:path>
              </a:pathLst>
            </a:custGeom>
            <a:solidFill>
              <a:schemeClr val="bg1">
                <a:lumMod val="50000"/>
              </a:schemeClr>
            </a:solidFill>
            <a:ln w="19050">
              <a:noFill/>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16" tIns="91416" rIns="91416" bIns="91416"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a:endParaRPr lang="en-US" sz="1200" dirty="0">
                <a:solidFill>
                  <a:schemeClr val="tx1"/>
                </a:solidFill>
              </a:endParaRPr>
            </a:p>
          </p:txBody>
        </p:sp>
      </p:grpSp>
      <p:sp>
        <p:nvSpPr>
          <p:cNvPr id="157" name="Isosceles Triangle 156"/>
          <p:cNvSpPr/>
          <p:nvPr/>
        </p:nvSpPr>
        <p:spPr>
          <a:xfrm rot="5400000">
            <a:off x="5279931" y="2844888"/>
            <a:ext cx="396749" cy="156227"/>
          </a:xfrm>
          <a:prstGeom prst="triangle">
            <a:avLst/>
          </a:prstGeom>
          <a:solidFill>
            <a:schemeClr val="accent5"/>
          </a:solidFill>
        </p:spPr>
        <p:txBody>
          <a:bodyPr vert="horz" lIns="137160" tIns="91440" rIns="91440" bIns="91440" rtlCol="0" anchor="t" anchorCtr="0">
            <a:noAutofit/>
          </a:bodyPr>
          <a:lstStyle/>
          <a:p>
            <a:pPr algn="ctr"/>
            <a:endParaRPr lang="en-US" sz="900" dirty="0">
              <a:cs typeface="Segoe UI Light"/>
            </a:endParaRPr>
          </a:p>
        </p:txBody>
      </p:sp>
      <p:sp>
        <p:nvSpPr>
          <p:cNvPr id="158" name="Isosceles Triangle 157"/>
          <p:cNvSpPr/>
          <p:nvPr/>
        </p:nvSpPr>
        <p:spPr>
          <a:xfrm rot="5400000">
            <a:off x="7424226" y="2844888"/>
            <a:ext cx="396749" cy="156227"/>
          </a:xfrm>
          <a:prstGeom prst="triangle">
            <a:avLst/>
          </a:prstGeom>
          <a:solidFill>
            <a:schemeClr val="accent5"/>
          </a:solidFill>
        </p:spPr>
        <p:txBody>
          <a:bodyPr vert="horz" lIns="137160" tIns="91440" rIns="91440" bIns="91440" rtlCol="0" anchor="t" anchorCtr="0">
            <a:noAutofit/>
          </a:bodyPr>
          <a:lstStyle/>
          <a:p>
            <a:pPr algn="ctr"/>
            <a:endParaRPr lang="en-US" sz="900" dirty="0">
              <a:cs typeface="Segoe UI Light"/>
            </a:endParaRPr>
          </a:p>
        </p:txBody>
      </p:sp>
      <p:sp>
        <p:nvSpPr>
          <p:cNvPr id="159" name="Freeform 158"/>
          <p:cNvSpPr/>
          <p:nvPr/>
        </p:nvSpPr>
        <p:spPr bwMode="auto">
          <a:xfrm>
            <a:off x="4750997" y="2605656"/>
            <a:ext cx="348723" cy="264443"/>
          </a:xfrm>
          <a:custGeom>
            <a:avLst/>
            <a:gdLst>
              <a:gd name="connsiteX0" fmla="*/ 740331 w 4351020"/>
              <a:gd name="connsiteY0" fmla="*/ 2662229 h 3299460"/>
              <a:gd name="connsiteX1" fmla="*/ 1471887 w 4351020"/>
              <a:gd name="connsiteY1" fmla="*/ 2662229 h 3299460"/>
              <a:gd name="connsiteX2" fmla="*/ 1471887 w 4351020"/>
              <a:gd name="connsiteY2" fmla="*/ 2813037 h 3299460"/>
              <a:gd name="connsiteX3" fmla="*/ 740331 w 4351020"/>
              <a:gd name="connsiteY3" fmla="*/ 2813037 h 3299460"/>
              <a:gd name="connsiteX4" fmla="*/ 514906 w 4351020"/>
              <a:gd name="connsiteY4" fmla="*/ 2662229 h 3299460"/>
              <a:gd name="connsiteX5" fmla="*/ 670354 w 4351020"/>
              <a:gd name="connsiteY5" fmla="*/ 2662229 h 3299460"/>
              <a:gd name="connsiteX6" fmla="*/ 670354 w 4351020"/>
              <a:gd name="connsiteY6" fmla="*/ 2813037 h 3299460"/>
              <a:gd name="connsiteX7" fmla="*/ 514906 w 4351020"/>
              <a:gd name="connsiteY7" fmla="*/ 2813037 h 3299460"/>
              <a:gd name="connsiteX8" fmla="*/ 740330 w 4351020"/>
              <a:gd name="connsiteY8" fmla="*/ 2376492 h 3299460"/>
              <a:gd name="connsiteX9" fmla="*/ 1759919 w 4351020"/>
              <a:gd name="connsiteY9" fmla="*/ 2376492 h 3299460"/>
              <a:gd name="connsiteX10" fmla="*/ 1759919 w 4351020"/>
              <a:gd name="connsiteY10" fmla="*/ 2527300 h 3299460"/>
              <a:gd name="connsiteX11" fmla="*/ 740330 w 4351020"/>
              <a:gd name="connsiteY11" fmla="*/ 2527300 h 3299460"/>
              <a:gd name="connsiteX12" fmla="*/ 514906 w 4351020"/>
              <a:gd name="connsiteY12" fmla="*/ 2376492 h 3299460"/>
              <a:gd name="connsiteX13" fmla="*/ 670354 w 4351020"/>
              <a:gd name="connsiteY13" fmla="*/ 2376492 h 3299460"/>
              <a:gd name="connsiteX14" fmla="*/ 670354 w 4351020"/>
              <a:gd name="connsiteY14" fmla="*/ 2527300 h 3299460"/>
              <a:gd name="connsiteX15" fmla="*/ 514906 w 4351020"/>
              <a:gd name="connsiteY15" fmla="*/ 2527300 h 3299460"/>
              <a:gd name="connsiteX16" fmla="*/ 740331 w 4351020"/>
              <a:gd name="connsiteY16" fmla="*/ 2081755 h 3299460"/>
              <a:gd name="connsiteX17" fmla="*/ 1660525 w 4351020"/>
              <a:gd name="connsiteY17" fmla="*/ 2081755 h 3299460"/>
              <a:gd name="connsiteX18" fmla="*/ 1660525 w 4351020"/>
              <a:gd name="connsiteY18" fmla="*/ 2232563 h 3299460"/>
              <a:gd name="connsiteX19" fmla="*/ 740331 w 4351020"/>
              <a:gd name="connsiteY19" fmla="*/ 2232563 h 3299460"/>
              <a:gd name="connsiteX20" fmla="*/ 514906 w 4351020"/>
              <a:gd name="connsiteY20" fmla="*/ 2081755 h 3299460"/>
              <a:gd name="connsiteX21" fmla="*/ 670354 w 4351020"/>
              <a:gd name="connsiteY21" fmla="*/ 2081755 h 3299460"/>
              <a:gd name="connsiteX22" fmla="*/ 670354 w 4351020"/>
              <a:gd name="connsiteY22" fmla="*/ 2232563 h 3299460"/>
              <a:gd name="connsiteX23" fmla="*/ 514906 w 4351020"/>
              <a:gd name="connsiteY23" fmla="*/ 2232563 h 3299460"/>
              <a:gd name="connsiteX24" fmla="*/ 1277609 w 4351020"/>
              <a:gd name="connsiteY24" fmla="*/ 1570990 h 3299460"/>
              <a:gd name="connsiteX25" fmla="*/ 1471886 w 4351020"/>
              <a:gd name="connsiteY25" fmla="*/ 1570990 h 3299460"/>
              <a:gd name="connsiteX26" fmla="*/ 1471886 w 4351020"/>
              <a:gd name="connsiteY26" fmla="*/ 1774190 h 3299460"/>
              <a:gd name="connsiteX27" fmla="*/ 1277609 w 4351020"/>
              <a:gd name="connsiteY27" fmla="*/ 1774190 h 3299460"/>
              <a:gd name="connsiteX28" fmla="*/ 497873 w 4351020"/>
              <a:gd name="connsiteY28" fmla="*/ 1348740 h 3299460"/>
              <a:gd name="connsiteX29" fmla="*/ 692150 w 4351020"/>
              <a:gd name="connsiteY29" fmla="*/ 1348740 h 3299460"/>
              <a:gd name="connsiteX30" fmla="*/ 692150 w 4351020"/>
              <a:gd name="connsiteY30" fmla="*/ 1774190 h 3299460"/>
              <a:gd name="connsiteX31" fmla="*/ 497873 w 4351020"/>
              <a:gd name="connsiteY31" fmla="*/ 1774190 h 3299460"/>
              <a:gd name="connsiteX32" fmla="*/ 2867660 w 4351020"/>
              <a:gd name="connsiteY32" fmla="*/ 1329689 h 3299460"/>
              <a:gd name="connsiteX33" fmla="*/ 2867660 w 4351020"/>
              <a:gd name="connsiteY33" fmla="*/ 2040889 h 3299460"/>
              <a:gd name="connsiteX34" fmla="*/ 3578860 w 4351020"/>
              <a:gd name="connsiteY34" fmla="*/ 2040888 h 3299460"/>
              <a:gd name="connsiteX35" fmla="*/ 2867660 w 4351020"/>
              <a:gd name="connsiteY35" fmla="*/ 2752089 h 3299460"/>
              <a:gd name="connsiteX36" fmla="*/ 2156460 w 4351020"/>
              <a:gd name="connsiteY36" fmla="*/ 2040889 h 3299460"/>
              <a:gd name="connsiteX37" fmla="*/ 2867660 w 4351020"/>
              <a:gd name="connsiteY37" fmla="*/ 1329689 h 3299460"/>
              <a:gd name="connsiteX38" fmla="*/ 1017697 w 4351020"/>
              <a:gd name="connsiteY38" fmla="*/ 1228090 h 3299460"/>
              <a:gd name="connsiteX39" fmla="*/ 1211974 w 4351020"/>
              <a:gd name="connsiteY39" fmla="*/ 1228090 h 3299460"/>
              <a:gd name="connsiteX40" fmla="*/ 1211974 w 4351020"/>
              <a:gd name="connsiteY40" fmla="*/ 1774190 h 3299460"/>
              <a:gd name="connsiteX41" fmla="*/ 1017697 w 4351020"/>
              <a:gd name="connsiteY41" fmla="*/ 1774190 h 3299460"/>
              <a:gd name="connsiteX42" fmla="*/ 3014362 w 4351020"/>
              <a:gd name="connsiteY42" fmla="*/ 1176615 h 3299460"/>
              <a:gd name="connsiteX43" fmla="*/ 3536939 w 4351020"/>
              <a:gd name="connsiteY43" fmla="*/ 1395626 h 3299460"/>
              <a:gd name="connsiteX44" fmla="*/ 3743945 w 4351020"/>
              <a:gd name="connsiteY44" fmla="*/ 1923073 h 3299460"/>
              <a:gd name="connsiteX45" fmla="*/ 3016624 w 4351020"/>
              <a:gd name="connsiteY45" fmla="*/ 1904178 h 3299460"/>
              <a:gd name="connsiteX46" fmla="*/ 757785 w 4351020"/>
              <a:gd name="connsiteY46" fmla="*/ 1101090 h 3299460"/>
              <a:gd name="connsiteX47" fmla="*/ 952062 w 4351020"/>
              <a:gd name="connsiteY47" fmla="*/ 1101090 h 3299460"/>
              <a:gd name="connsiteX48" fmla="*/ 952062 w 4351020"/>
              <a:gd name="connsiteY48" fmla="*/ 1774190 h 3299460"/>
              <a:gd name="connsiteX49" fmla="*/ 757785 w 4351020"/>
              <a:gd name="connsiteY49" fmla="*/ 1774190 h 3299460"/>
              <a:gd name="connsiteX50" fmla="*/ 1537520 w 4351020"/>
              <a:gd name="connsiteY50" fmla="*/ 980159 h 3299460"/>
              <a:gd name="connsiteX51" fmla="*/ 1731797 w 4351020"/>
              <a:gd name="connsiteY51" fmla="*/ 980159 h 3299460"/>
              <a:gd name="connsiteX52" fmla="*/ 1731797 w 4351020"/>
              <a:gd name="connsiteY52" fmla="*/ 1774190 h 3299460"/>
              <a:gd name="connsiteX53" fmla="*/ 1537520 w 4351020"/>
              <a:gd name="connsiteY53" fmla="*/ 1774190 h 3299460"/>
              <a:gd name="connsiteX54" fmla="*/ 200732 w 4351020"/>
              <a:gd name="connsiteY54" fmla="*/ 736050 h 3299460"/>
              <a:gd name="connsiteX55" fmla="*/ 200732 w 4351020"/>
              <a:gd name="connsiteY55" fmla="*/ 3098728 h 3299460"/>
              <a:gd name="connsiteX56" fmla="*/ 4150288 w 4351020"/>
              <a:gd name="connsiteY56" fmla="*/ 3098728 h 3299460"/>
              <a:gd name="connsiteX57" fmla="*/ 4150288 w 4351020"/>
              <a:gd name="connsiteY57" fmla="*/ 736050 h 3299460"/>
              <a:gd name="connsiteX58" fmla="*/ 0 w 4351020"/>
              <a:gd name="connsiteY58" fmla="*/ 535318 h 3299460"/>
              <a:gd name="connsiteX59" fmla="*/ 4351020 w 4351020"/>
              <a:gd name="connsiteY59" fmla="*/ 535318 h 3299460"/>
              <a:gd name="connsiteX60" fmla="*/ 4351020 w 4351020"/>
              <a:gd name="connsiteY60" fmla="*/ 3299460 h 3299460"/>
              <a:gd name="connsiteX61" fmla="*/ 0 w 4351020"/>
              <a:gd name="connsiteY61" fmla="*/ 3299460 h 3299460"/>
              <a:gd name="connsiteX62" fmla="*/ 3296658 w 4351020"/>
              <a:gd name="connsiteY62" fmla="*/ 300233 h 3299460"/>
              <a:gd name="connsiteX63" fmla="*/ 3296658 w 4351020"/>
              <a:gd name="connsiteY63" fmla="*/ 358333 h 3299460"/>
              <a:gd name="connsiteX64" fmla="*/ 3543943 w 4351020"/>
              <a:gd name="connsiteY64" fmla="*/ 358333 h 3299460"/>
              <a:gd name="connsiteX65" fmla="*/ 3543943 w 4351020"/>
              <a:gd name="connsiteY65" fmla="*/ 300233 h 3299460"/>
              <a:gd name="connsiteX66" fmla="*/ 3719498 w 4351020"/>
              <a:gd name="connsiteY66" fmla="*/ 177649 h 3299460"/>
              <a:gd name="connsiteX67" fmla="*/ 3871925 w 4351020"/>
              <a:gd name="connsiteY67" fmla="*/ 177649 h 3299460"/>
              <a:gd name="connsiteX68" fmla="*/ 3871925 w 4351020"/>
              <a:gd name="connsiteY68" fmla="*/ 336427 h 3299460"/>
              <a:gd name="connsiteX69" fmla="*/ 3719498 w 4351020"/>
              <a:gd name="connsiteY69" fmla="*/ 336427 h 3299460"/>
              <a:gd name="connsiteX70" fmla="*/ 4076449 w 4351020"/>
              <a:gd name="connsiteY70" fmla="*/ 129232 h 3299460"/>
              <a:gd name="connsiteX71" fmla="*/ 4023670 w 4351020"/>
              <a:gd name="connsiteY71" fmla="*/ 182011 h 3299460"/>
              <a:gd name="connsiteX72" fmla="*/ 4090260 w 4351020"/>
              <a:gd name="connsiteY72" fmla="*/ 248602 h 3299460"/>
              <a:gd name="connsiteX73" fmla="*/ 4023670 w 4351020"/>
              <a:gd name="connsiteY73" fmla="*/ 315193 h 3299460"/>
              <a:gd name="connsiteX74" fmla="*/ 4076449 w 4351020"/>
              <a:gd name="connsiteY74" fmla="*/ 367972 h 3299460"/>
              <a:gd name="connsiteX75" fmla="*/ 4143040 w 4351020"/>
              <a:gd name="connsiteY75" fmla="*/ 301382 h 3299460"/>
              <a:gd name="connsiteX76" fmla="*/ 4209631 w 4351020"/>
              <a:gd name="connsiteY76" fmla="*/ 367972 h 3299460"/>
              <a:gd name="connsiteX77" fmla="*/ 4262410 w 4351020"/>
              <a:gd name="connsiteY77" fmla="*/ 315193 h 3299460"/>
              <a:gd name="connsiteX78" fmla="*/ 4195820 w 4351020"/>
              <a:gd name="connsiteY78" fmla="*/ 248602 h 3299460"/>
              <a:gd name="connsiteX79" fmla="*/ 4262410 w 4351020"/>
              <a:gd name="connsiteY79" fmla="*/ 182011 h 3299460"/>
              <a:gd name="connsiteX80" fmla="*/ 4209631 w 4351020"/>
              <a:gd name="connsiteY80" fmla="*/ 129232 h 3299460"/>
              <a:gd name="connsiteX81" fmla="*/ 4143040 w 4351020"/>
              <a:gd name="connsiteY81" fmla="*/ 195822 h 3299460"/>
              <a:gd name="connsiteX82" fmla="*/ 3674269 w 4351020"/>
              <a:gd name="connsiteY82" fmla="*/ 127159 h 3299460"/>
              <a:gd name="connsiteX83" fmla="*/ 3674269 w 4351020"/>
              <a:gd name="connsiteY83" fmla="*/ 365284 h 3299460"/>
              <a:gd name="connsiteX84" fmla="*/ 3902869 w 4351020"/>
              <a:gd name="connsiteY84" fmla="*/ 365284 h 3299460"/>
              <a:gd name="connsiteX85" fmla="*/ 3902869 w 4351020"/>
              <a:gd name="connsiteY85" fmla="*/ 127159 h 3299460"/>
              <a:gd name="connsiteX86" fmla="*/ 0 w 4351020"/>
              <a:gd name="connsiteY86" fmla="*/ 0 h 3299460"/>
              <a:gd name="connsiteX87" fmla="*/ 4351020 w 4351020"/>
              <a:gd name="connsiteY87" fmla="*/ 0 h 3299460"/>
              <a:gd name="connsiteX88" fmla="*/ 4351020 w 4351020"/>
              <a:gd name="connsiteY88" fmla="*/ 434340 h 3299460"/>
              <a:gd name="connsiteX89" fmla="*/ 0 w 4351020"/>
              <a:gd name="connsiteY89" fmla="*/ 434340 h 329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351020" h="3299460">
                <a:moveTo>
                  <a:pt x="740331" y="2662229"/>
                </a:moveTo>
                <a:lnTo>
                  <a:pt x="1471887" y="2662229"/>
                </a:lnTo>
                <a:lnTo>
                  <a:pt x="1471887" y="2813037"/>
                </a:lnTo>
                <a:lnTo>
                  <a:pt x="740331" y="2813037"/>
                </a:lnTo>
                <a:close/>
                <a:moveTo>
                  <a:pt x="514906" y="2662229"/>
                </a:moveTo>
                <a:lnTo>
                  <a:pt x="670354" y="2662229"/>
                </a:lnTo>
                <a:lnTo>
                  <a:pt x="670354" y="2813037"/>
                </a:lnTo>
                <a:lnTo>
                  <a:pt x="514906" y="2813037"/>
                </a:lnTo>
                <a:close/>
                <a:moveTo>
                  <a:pt x="740330" y="2376492"/>
                </a:moveTo>
                <a:lnTo>
                  <a:pt x="1759919" y="2376492"/>
                </a:lnTo>
                <a:lnTo>
                  <a:pt x="1759919" y="2527300"/>
                </a:lnTo>
                <a:lnTo>
                  <a:pt x="740330" y="2527300"/>
                </a:lnTo>
                <a:close/>
                <a:moveTo>
                  <a:pt x="514906" y="2376492"/>
                </a:moveTo>
                <a:lnTo>
                  <a:pt x="670354" y="2376492"/>
                </a:lnTo>
                <a:lnTo>
                  <a:pt x="670354" y="2527300"/>
                </a:lnTo>
                <a:lnTo>
                  <a:pt x="514906" y="2527300"/>
                </a:lnTo>
                <a:close/>
                <a:moveTo>
                  <a:pt x="740331" y="2081755"/>
                </a:moveTo>
                <a:lnTo>
                  <a:pt x="1660525" y="2081755"/>
                </a:lnTo>
                <a:lnTo>
                  <a:pt x="1660525" y="2232563"/>
                </a:lnTo>
                <a:lnTo>
                  <a:pt x="740331" y="2232563"/>
                </a:lnTo>
                <a:close/>
                <a:moveTo>
                  <a:pt x="514906" y="2081755"/>
                </a:moveTo>
                <a:lnTo>
                  <a:pt x="670354" y="2081755"/>
                </a:lnTo>
                <a:lnTo>
                  <a:pt x="670354" y="2232563"/>
                </a:lnTo>
                <a:lnTo>
                  <a:pt x="514906" y="2232563"/>
                </a:lnTo>
                <a:close/>
                <a:moveTo>
                  <a:pt x="1277609" y="1570990"/>
                </a:moveTo>
                <a:lnTo>
                  <a:pt x="1471886" y="1570990"/>
                </a:lnTo>
                <a:lnTo>
                  <a:pt x="1471886" y="1774190"/>
                </a:lnTo>
                <a:lnTo>
                  <a:pt x="1277609" y="1774190"/>
                </a:lnTo>
                <a:close/>
                <a:moveTo>
                  <a:pt x="497873" y="1348740"/>
                </a:moveTo>
                <a:lnTo>
                  <a:pt x="692150" y="1348740"/>
                </a:lnTo>
                <a:lnTo>
                  <a:pt x="692150" y="1774190"/>
                </a:lnTo>
                <a:lnTo>
                  <a:pt x="497873" y="1774190"/>
                </a:lnTo>
                <a:close/>
                <a:moveTo>
                  <a:pt x="2867660" y="1329689"/>
                </a:moveTo>
                <a:lnTo>
                  <a:pt x="2867660" y="2040889"/>
                </a:lnTo>
                <a:lnTo>
                  <a:pt x="3578860" y="2040888"/>
                </a:lnTo>
                <a:cubicBezTo>
                  <a:pt x="3578860" y="2433674"/>
                  <a:pt x="3260445" y="2752089"/>
                  <a:pt x="2867660" y="2752089"/>
                </a:cubicBezTo>
                <a:cubicBezTo>
                  <a:pt x="2474875" y="2752089"/>
                  <a:pt x="2156460" y="2433674"/>
                  <a:pt x="2156460" y="2040889"/>
                </a:cubicBezTo>
                <a:cubicBezTo>
                  <a:pt x="2156460" y="1648104"/>
                  <a:pt x="2474875" y="1329689"/>
                  <a:pt x="2867660" y="1329689"/>
                </a:cubicBezTo>
                <a:close/>
                <a:moveTo>
                  <a:pt x="1017697" y="1228090"/>
                </a:moveTo>
                <a:lnTo>
                  <a:pt x="1211974" y="1228090"/>
                </a:lnTo>
                <a:lnTo>
                  <a:pt x="1211974" y="1774190"/>
                </a:lnTo>
                <a:lnTo>
                  <a:pt x="1017697" y="1774190"/>
                </a:lnTo>
                <a:close/>
                <a:moveTo>
                  <a:pt x="3014362" y="1176615"/>
                </a:moveTo>
                <a:cubicBezTo>
                  <a:pt x="3210992" y="1176003"/>
                  <a:pt x="3399499" y="1255006"/>
                  <a:pt x="3536939" y="1395626"/>
                </a:cubicBezTo>
                <a:cubicBezTo>
                  <a:pt x="3674380" y="1536246"/>
                  <a:pt x="3749053" y="1726509"/>
                  <a:pt x="3743945" y="1923073"/>
                </a:cubicBezTo>
                <a:lnTo>
                  <a:pt x="3016624" y="1904178"/>
                </a:lnTo>
                <a:close/>
                <a:moveTo>
                  <a:pt x="757785" y="1101090"/>
                </a:moveTo>
                <a:lnTo>
                  <a:pt x="952062" y="1101090"/>
                </a:lnTo>
                <a:lnTo>
                  <a:pt x="952062" y="1774190"/>
                </a:lnTo>
                <a:lnTo>
                  <a:pt x="757785" y="1774190"/>
                </a:lnTo>
                <a:close/>
                <a:moveTo>
                  <a:pt x="1537520" y="980159"/>
                </a:moveTo>
                <a:lnTo>
                  <a:pt x="1731797" y="980159"/>
                </a:lnTo>
                <a:lnTo>
                  <a:pt x="1731797" y="1774190"/>
                </a:lnTo>
                <a:lnTo>
                  <a:pt x="1537520" y="1774190"/>
                </a:lnTo>
                <a:close/>
                <a:moveTo>
                  <a:pt x="200732" y="736050"/>
                </a:moveTo>
                <a:lnTo>
                  <a:pt x="200732" y="3098728"/>
                </a:lnTo>
                <a:lnTo>
                  <a:pt x="4150288" y="3098728"/>
                </a:lnTo>
                <a:lnTo>
                  <a:pt x="4150288" y="736050"/>
                </a:lnTo>
                <a:close/>
                <a:moveTo>
                  <a:pt x="0" y="535318"/>
                </a:moveTo>
                <a:lnTo>
                  <a:pt x="4351020" y="535318"/>
                </a:lnTo>
                <a:lnTo>
                  <a:pt x="4351020" y="3299460"/>
                </a:lnTo>
                <a:lnTo>
                  <a:pt x="0" y="3299460"/>
                </a:lnTo>
                <a:close/>
                <a:moveTo>
                  <a:pt x="3296658" y="300233"/>
                </a:moveTo>
                <a:lnTo>
                  <a:pt x="3296658" y="358333"/>
                </a:lnTo>
                <a:lnTo>
                  <a:pt x="3543943" y="358333"/>
                </a:lnTo>
                <a:lnTo>
                  <a:pt x="3543943" y="300233"/>
                </a:lnTo>
                <a:close/>
                <a:moveTo>
                  <a:pt x="3719498" y="177649"/>
                </a:moveTo>
                <a:lnTo>
                  <a:pt x="3871925" y="177649"/>
                </a:lnTo>
                <a:lnTo>
                  <a:pt x="3871925" y="336427"/>
                </a:lnTo>
                <a:lnTo>
                  <a:pt x="3719498" y="336427"/>
                </a:lnTo>
                <a:close/>
                <a:moveTo>
                  <a:pt x="4076449" y="129232"/>
                </a:moveTo>
                <a:lnTo>
                  <a:pt x="4023670" y="182011"/>
                </a:lnTo>
                <a:lnTo>
                  <a:pt x="4090260" y="248602"/>
                </a:lnTo>
                <a:lnTo>
                  <a:pt x="4023670" y="315193"/>
                </a:lnTo>
                <a:lnTo>
                  <a:pt x="4076449" y="367972"/>
                </a:lnTo>
                <a:lnTo>
                  <a:pt x="4143040" y="301382"/>
                </a:lnTo>
                <a:lnTo>
                  <a:pt x="4209631" y="367972"/>
                </a:lnTo>
                <a:lnTo>
                  <a:pt x="4262410" y="315193"/>
                </a:lnTo>
                <a:lnTo>
                  <a:pt x="4195820" y="248602"/>
                </a:lnTo>
                <a:lnTo>
                  <a:pt x="4262410" y="182011"/>
                </a:lnTo>
                <a:lnTo>
                  <a:pt x="4209631" y="129232"/>
                </a:lnTo>
                <a:lnTo>
                  <a:pt x="4143040" y="195822"/>
                </a:lnTo>
                <a:close/>
                <a:moveTo>
                  <a:pt x="3674269" y="127159"/>
                </a:moveTo>
                <a:lnTo>
                  <a:pt x="3674269" y="365284"/>
                </a:lnTo>
                <a:lnTo>
                  <a:pt x="3902869" y="365284"/>
                </a:lnTo>
                <a:lnTo>
                  <a:pt x="3902869" y="127159"/>
                </a:lnTo>
                <a:close/>
                <a:moveTo>
                  <a:pt x="0" y="0"/>
                </a:moveTo>
                <a:lnTo>
                  <a:pt x="4351020" y="0"/>
                </a:lnTo>
                <a:lnTo>
                  <a:pt x="4351020" y="434340"/>
                </a:lnTo>
                <a:lnTo>
                  <a:pt x="0" y="43434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200" dirty="0">
              <a:solidFill>
                <a:schemeClr val="tx1"/>
              </a:solidFill>
            </a:endParaRPr>
          </a:p>
        </p:txBody>
      </p:sp>
      <p:pic>
        <p:nvPicPr>
          <p:cNvPr id="160" name="Picture 2" descr="\\MAGNUM\Projects\Microsoft\Cloud Power FY12\Design\ICONS_PNG\Devices.png"/>
          <p:cNvPicPr>
            <a:picLocks noChangeAspect="1" noChangeArrowheads="1"/>
          </p:cNvPicPr>
          <p:nvPr/>
        </p:nvPicPr>
        <p:blipFill>
          <a:blip r:embed="rId13" cstate="print">
            <a:duotone>
              <a:prstClr val="black"/>
              <a:schemeClr val="accent6">
                <a:tint val="45000"/>
                <a:satMod val="400000"/>
              </a:schemeClr>
            </a:duotone>
            <a:extLst>
              <a:ext uri="{BEBA8EAE-BF5A-486C-A8C5-ECC9F3942E4B}">
                <a14:imgProps xmlns:a14="http://schemas.microsoft.com/office/drawing/2010/main">
                  <a14:imgLayer r:embed="rId14">
                    <a14:imgEffect>
                      <a14:brightnessContrast contrast="-40000"/>
                    </a14:imgEffect>
                  </a14:imgLayer>
                </a14:imgProps>
              </a:ext>
              <a:ext uri="{28A0092B-C50C-407E-A947-70E740481C1C}">
                <a14:useLocalDpi xmlns:a14="http://schemas.microsoft.com/office/drawing/2010/main"/>
              </a:ext>
            </a:extLst>
          </a:blip>
          <a:srcRect/>
          <a:stretch>
            <a:fillRect/>
          </a:stretch>
        </p:blipFill>
        <p:spPr bwMode="auto">
          <a:xfrm>
            <a:off x="4126054" y="2642382"/>
            <a:ext cx="362718" cy="320866"/>
          </a:xfrm>
          <a:prstGeom prst="rect">
            <a:avLst/>
          </a:prstGeom>
          <a:noFill/>
          <a:ln>
            <a:noFill/>
          </a:ln>
        </p:spPr>
      </p:pic>
      <p:grpSp>
        <p:nvGrpSpPr>
          <p:cNvPr id="170" name="Group 169"/>
          <p:cNvGrpSpPr/>
          <p:nvPr/>
        </p:nvGrpSpPr>
        <p:grpSpPr>
          <a:xfrm>
            <a:off x="796085" y="1989056"/>
            <a:ext cx="989544" cy="755992"/>
            <a:chOff x="1073344" y="1874136"/>
            <a:chExt cx="996633" cy="761408"/>
          </a:xfrm>
        </p:grpSpPr>
        <p:sp>
          <p:nvSpPr>
            <p:cNvPr id="171" name="Rounded Rectangle 60"/>
            <p:cNvSpPr>
              <a:spLocks noChangeArrowheads="1"/>
            </p:cNvSpPr>
            <p:nvPr/>
          </p:nvSpPr>
          <p:spPr bwMode="auto">
            <a:xfrm>
              <a:off x="1073344" y="1874136"/>
              <a:ext cx="996633" cy="761408"/>
            </a:xfrm>
            <a:prstGeom prst="ellipse">
              <a:avLst/>
            </a:prstGeom>
            <a:solidFill>
              <a:schemeClr val="bg1">
                <a:lumMod val="85000"/>
                <a:alpha val="30196"/>
              </a:schemeClr>
            </a:solidFill>
            <a:ln w="3175">
              <a:noFill/>
              <a:prstDash val="lgDashDot"/>
            </a:ln>
          </p:spPr>
          <p:style>
            <a:lnRef idx="2">
              <a:schemeClr val="accent1">
                <a:shade val="50000"/>
              </a:schemeClr>
            </a:lnRef>
            <a:fillRef idx="1">
              <a:schemeClr val="accent1"/>
            </a:fillRef>
            <a:effectRef idx="0">
              <a:schemeClr val="accent1"/>
            </a:effectRef>
            <a:fontRef idx="minor">
              <a:schemeClr val="lt1"/>
            </a:fontRef>
          </p:style>
          <p:txBody>
            <a:bodyPr lIns="137160" anchor="ctr"/>
            <a:lstStyle/>
            <a:p>
              <a:pPr marL="88900" indent="-88900" defTabSz="914241" fontAlgn="t">
                <a:defRPr/>
              </a:pPr>
              <a:endParaRPr lang="en-US" sz="1100" dirty="0">
                <a:solidFill>
                  <a:schemeClr val="tx1"/>
                </a:solidFill>
              </a:endParaRPr>
            </a:p>
          </p:txBody>
        </p:sp>
        <p:pic>
          <p:nvPicPr>
            <p:cNvPr id="172" name="Picture 171"/>
            <p:cNvPicPr>
              <a:picLocks noChangeAspect="1"/>
            </p:cNvPicPr>
            <p:nvPr/>
          </p:nvPicPr>
          <p:blipFill>
            <a:blip r:embed="rId15" cstate="screen">
              <a:duotone>
                <a:prstClr val="black"/>
                <a:schemeClr val="accent5">
                  <a:tint val="45000"/>
                  <a:satMod val="400000"/>
                </a:schemeClr>
              </a:duotone>
              <a:lum bright="-20000" contrast="-20000"/>
              <a:extLst>
                <a:ext uri="{28A0092B-C50C-407E-A947-70E740481C1C}">
                  <a14:useLocalDpi xmlns:a14="http://schemas.microsoft.com/office/drawing/2010/main"/>
                </a:ext>
              </a:extLst>
            </a:blip>
            <a:stretch>
              <a:fillRect/>
            </a:stretch>
          </p:blipFill>
          <p:spPr bwMode="auto">
            <a:xfrm>
              <a:off x="1772534" y="2255216"/>
              <a:ext cx="296579" cy="264713"/>
            </a:xfrm>
            <a:prstGeom prst="rect">
              <a:avLst/>
            </a:prstGeom>
          </p:spPr>
        </p:pic>
        <p:sp>
          <p:nvSpPr>
            <p:cNvPr id="173" name="Freeform 14"/>
            <p:cNvSpPr>
              <a:spLocks noEditPoints="1"/>
            </p:cNvSpPr>
            <p:nvPr/>
          </p:nvSpPr>
          <p:spPr bwMode="black">
            <a:xfrm>
              <a:off x="1709529" y="1961213"/>
              <a:ext cx="147641" cy="157162"/>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chemeClr val="bg1">
                <a:lumMod val="50000"/>
              </a:schemeClr>
            </a:solidFill>
            <a:ln w="10795" cap="flat" cmpd="sng" algn="ctr">
              <a:noFill/>
              <a:prstDash val="solid"/>
              <a:headEnd type="none" w="med" len="med"/>
              <a:tailEnd type="none" w="med" len="med"/>
            </a:ln>
            <a:effectLst/>
          </p:spPr>
          <p:txBody>
            <a:bodyPr lIns="109707" tIns="54854" rIns="109707" bIns="54854" anchor="ctr"/>
            <a:lstStyle/>
            <a:p>
              <a:pPr defTabSz="987406">
                <a:defRPr/>
              </a:pPr>
              <a:endParaRPr lang="en-US" sz="2399" dirty="0">
                <a:latin typeface="Segoe Light" pitchFamily="34" charset="0"/>
              </a:endParaRPr>
            </a:p>
          </p:txBody>
        </p:sp>
        <p:pic>
          <p:nvPicPr>
            <p:cNvPr id="174" name="Picture 173"/>
            <p:cNvPicPr>
              <a:picLocks noChangeAspect="1"/>
            </p:cNvPicPr>
            <p:nvPr/>
          </p:nvPicPr>
          <p:blipFill>
            <a:blip r:embed="rId16" cstate="screen">
              <a:duotone>
                <a:prstClr val="black"/>
                <a:schemeClr val="accent5">
                  <a:tint val="45000"/>
                  <a:satMod val="400000"/>
                </a:schemeClr>
              </a:duotone>
              <a:extLst>
                <a:ext uri="{BEBA8EAE-BF5A-486C-A8C5-ECC9F3942E4B}">
                  <a14:imgProps xmlns:a14="http://schemas.microsoft.com/office/drawing/2010/main">
                    <a14:imgLayer r:embed="rId17">
                      <a14:imgEffect>
                        <a14:brightnessContrast bright="-20000" contrast="-20000"/>
                      </a14:imgEffect>
                    </a14:imgLayer>
                  </a14:imgProps>
                </a:ext>
                <a:ext uri="{28A0092B-C50C-407E-A947-70E740481C1C}">
                  <a14:useLocalDpi xmlns:a14="http://schemas.microsoft.com/office/drawing/2010/main"/>
                </a:ext>
              </a:extLst>
            </a:blip>
            <a:stretch>
              <a:fillRect/>
            </a:stretch>
          </p:blipFill>
          <p:spPr bwMode="auto">
            <a:xfrm>
              <a:off x="1886082" y="2101123"/>
              <a:ext cx="124258" cy="142717"/>
            </a:xfrm>
            <a:prstGeom prst="rect">
              <a:avLst/>
            </a:prstGeom>
          </p:spPr>
        </p:pic>
        <p:sp>
          <p:nvSpPr>
            <p:cNvPr id="175" name="Freeform 13"/>
            <p:cNvSpPr>
              <a:spLocks noEditPoints="1"/>
            </p:cNvSpPr>
            <p:nvPr/>
          </p:nvSpPr>
          <p:spPr bwMode="black">
            <a:xfrm>
              <a:off x="1092015" y="2186267"/>
              <a:ext cx="215905" cy="184149"/>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lumMod val="50000"/>
              </a:schemeClr>
            </a:solidFill>
            <a:ln w="10795" cap="flat" cmpd="sng" algn="ctr">
              <a:noFill/>
              <a:prstDash val="solid"/>
              <a:headEnd type="none" w="med" len="med"/>
              <a:tailEnd type="none" w="med" len="med"/>
            </a:ln>
            <a:effectLst/>
          </p:spPr>
          <p:txBody>
            <a:bodyPr lIns="82302" tIns="41151" rIns="82302" bIns="41151" anchor="ctr"/>
            <a:lstStyle/>
            <a:p>
              <a:pPr defTabSz="740740">
                <a:defRPr/>
              </a:pPr>
              <a:endParaRPr lang="en-US" dirty="0">
                <a:latin typeface="Segoe Light" pitchFamily="34" charset="0"/>
              </a:endParaRPr>
            </a:p>
          </p:txBody>
        </p:sp>
        <p:sp>
          <p:nvSpPr>
            <p:cNvPr id="176" name="Freeform 175"/>
            <p:cNvSpPr>
              <a:spLocks/>
            </p:cNvSpPr>
            <p:nvPr/>
          </p:nvSpPr>
          <p:spPr bwMode="black">
            <a:xfrm>
              <a:off x="1248260" y="2005656"/>
              <a:ext cx="157165" cy="157162"/>
            </a:xfrm>
            <a:custGeom>
              <a:avLst/>
              <a:gdLst>
                <a:gd name="connsiteX0" fmla="*/ 276253 w 393142"/>
                <a:gd name="connsiteY0" fmla="*/ 48406 h 393039"/>
                <a:gd name="connsiteX1" fmla="*/ 213366 w 393142"/>
                <a:gd name="connsiteY1" fmla="*/ 111283 h 393039"/>
                <a:gd name="connsiteX2" fmla="*/ 213366 w 393142"/>
                <a:gd name="connsiteY2" fmla="*/ 143229 h 393039"/>
                <a:gd name="connsiteX3" fmla="*/ 168230 w 393142"/>
                <a:gd name="connsiteY3" fmla="*/ 143229 h 393039"/>
                <a:gd name="connsiteX4" fmla="*/ 168230 w 393142"/>
                <a:gd name="connsiteY4" fmla="*/ 196725 h 393039"/>
                <a:gd name="connsiteX5" fmla="*/ 213366 w 393142"/>
                <a:gd name="connsiteY5" fmla="*/ 196725 h 393039"/>
                <a:gd name="connsiteX6" fmla="*/ 213366 w 393142"/>
                <a:gd name="connsiteY6" fmla="*/ 361270 h 393039"/>
                <a:gd name="connsiteX7" fmla="*/ 283606 w 393142"/>
                <a:gd name="connsiteY7" fmla="*/ 361270 h 393039"/>
                <a:gd name="connsiteX8" fmla="*/ 283606 w 393142"/>
                <a:gd name="connsiteY8" fmla="*/ 196725 h 393039"/>
                <a:gd name="connsiteX9" fmla="*/ 333560 w 393142"/>
                <a:gd name="connsiteY9" fmla="*/ 196725 h 393039"/>
                <a:gd name="connsiteX10" fmla="*/ 333560 w 393142"/>
                <a:gd name="connsiteY10" fmla="*/ 143229 h 393039"/>
                <a:gd name="connsiteX11" fmla="*/ 283606 w 393142"/>
                <a:gd name="connsiteY11" fmla="*/ 143229 h 393039"/>
                <a:gd name="connsiteX12" fmla="*/ 283606 w 393142"/>
                <a:gd name="connsiteY12" fmla="*/ 125481 h 393039"/>
                <a:gd name="connsiteX13" fmla="*/ 307189 w 393142"/>
                <a:gd name="connsiteY13" fmla="*/ 101902 h 393039"/>
                <a:gd name="connsiteX14" fmla="*/ 333560 w 393142"/>
                <a:gd name="connsiteY14" fmla="*/ 101902 h 393039"/>
                <a:gd name="connsiteX15" fmla="*/ 333560 w 393142"/>
                <a:gd name="connsiteY15" fmla="*/ 48406 h 393039"/>
                <a:gd name="connsiteX16" fmla="*/ 276253 w 393142"/>
                <a:gd name="connsiteY16" fmla="*/ 48406 h 393039"/>
                <a:gd name="connsiteX17" fmla="*/ 70512 w 393142"/>
                <a:gd name="connsiteY17" fmla="*/ 0 h 393039"/>
                <a:gd name="connsiteX18" fmla="*/ 322630 w 393142"/>
                <a:gd name="connsiteY18" fmla="*/ 0 h 393039"/>
                <a:gd name="connsiteX19" fmla="*/ 393142 w 393142"/>
                <a:gd name="connsiteY19" fmla="*/ 70494 h 393039"/>
                <a:gd name="connsiteX20" fmla="*/ 393142 w 393142"/>
                <a:gd name="connsiteY20" fmla="*/ 322546 h 393039"/>
                <a:gd name="connsiteX21" fmla="*/ 322630 w 393142"/>
                <a:gd name="connsiteY21" fmla="*/ 393039 h 393039"/>
                <a:gd name="connsiteX22" fmla="*/ 70512 w 393142"/>
                <a:gd name="connsiteY22" fmla="*/ 393039 h 393039"/>
                <a:gd name="connsiteX23" fmla="*/ 0 w 393142"/>
                <a:gd name="connsiteY23" fmla="*/ 322546 h 393039"/>
                <a:gd name="connsiteX24" fmla="*/ 0 w 393142"/>
                <a:gd name="connsiteY24" fmla="*/ 70494 h 393039"/>
                <a:gd name="connsiteX25" fmla="*/ 70512 w 393142"/>
                <a:gd name="connsiteY25" fmla="*/ 0 h 393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93142" h="393039">
                  <a:moveTo>
                    <a:pt x="276253" y="48406"/>
                  </a:moveTo>
                  <a:cubicBezTo>
                    <a:pt x="241513" y="48406"/>
                    <a:pt x="213366" y="76549"/>
                    <a:pt x="213366" y="111283"/>
                  </a:cubicBezTo>
                  <a:cubicBezTo>
                    <a:pt x="213366" y="143229"/>
                    <a:pt x="213366" y="143229"/>
                    <a:pt x="213366" y="143229"/>
                  </a:cubicBezTo>
                  <a:cubicBezTo>
                    <a:pt x="168230" y="143229"/>
                    <a:pt x="168230" y="143229"/>
                    <a:pt x="168230" y="143229"/>
                  </a:cubicBezTo>
                  <a:cubicBezTo>
                    <a:pt x="168230" y="196725"/>
                    <a:pt x="168230" y="196725"/>
                    <a:pt x="168230" y="196725"/>
                  </a:cubicBezTo>
                  <a:cubicBezTo>
                    <a:pt x="213366" y="196725"/>
                    <a:pt x="213366" y="196725"/>
                    <a:pt x="213366" y="196725"/>
                  </a:cubicBezTo>
                  <a:cubicBezTo>
                    <a:pt x="213366" y="361270"/>
                    <a:pt x="213366" y="361270"/>
                    <a:pt x="213366" y="361270"/>
                  </a:cubicBezTo>
                  <a:cubicBezTo>
                    <a:pt x="283606" y="361270"/>
                    <a:pt x="283606" y="361270"/>
                    <a:pt x="283606" y="361270"/>
                  </a:cubicBezTo>
                  <a:cubicBezTo>
                    <a:pt x="283606" y="196725"/>
                    <a:pt x="283606" y="196725"/>
                    <a:pt x="283606" y="196725"/>
                  </a:cubicBezTo>
                  <a:cubicBezTo>
                    <a:pt x="333560" y="196725"/>
                    <a:pt x="333560" y="196725"/>
                    <a:pt x="333560" y="196725"/>
                  </a:cubicBezTo>
                  <a:cubicBezTo>
                    <a:pt x="333560" y="143229"/>
                    <a:pt x="333560" y="143229"/>
                    <a:pt x="333560" y="143229"/>
                  </a:cubicBezTo>
                  <a:cubicBezTo>
                    <a:pt x="283606" y="143229"/>
                    <a:pt x="283606" y="143229"/>
                    <a:pt x="283606" y="143229"/>
                  </a:cubicBezTo>
                  <a:cubicBezTo>
                    <a:pt x="283606" y="125481"/>
                    <a:pt x="283606" y="125481"/>
                    <a:pt x="283606" y="125481"/>
                  </a:cubicBezTo>
                  <a:cubicBezTo>
                    <a:pt x="283606" y="112297"/>
                    <a:pt x="294003" y="101902"/>
                    <a:pt x="307189" y="101902"/>
                  </a:cubicBezTo>
                  <a:cubicBezTo>
                    <a:pt x="333560" y="101902"/>
                    <a:pt x="333560" y="101902"/>
                    <a:pt x="333560" y="101902"/>
                  </a:cubicBezTo>
                  <a:cubicBezTo>
                    <a:pt x="333560" y="48406"/>
                    <a:pt x="333560" y="48406"/>
                    <a:pt x="333560" y="48406"/>
                  </a:cubicBezTo>
                  <a:cubicBezTo>
                    <a:pt x="276253" y="48406"/>
                    <a:pt x="276253" y="48406"/>
                    <a:pt x="276253" y="48406"/>
                  </a:cubicBezTo>
                  <a:close/>
                  <a:moveTo>
                    <a:pt x="70512" y="0"/>
                  </a:moveTo>
                  <a:cubicBezTo>
                    <a:pt x="70512" y="0"/>
                    <a:pt x="70512" y="0"/>
                    <a:pt x="322630" y="0"/>
                  </a:cubicBezTo>
                  <a:cubicBezTo>
                    <a:pt x="361437" y="0"/>
                    <a:pt x="393142" y="31697"/>
                    <a:pt x="393142" y="70494"/>
                  </a:cubicBezTo>
                  <a:cubicBezTo>
                    <a:pt x="393142" y="70494"/>
                    <a:pt x="393142" y="70494"/>
                    <a:pt x="393142" y="322546"/>
                  </a:cubicBezTo>
                  <a:cubicBezTo>
                    <a:pt x="393142" y="361342"/>
                    <a:pt x="361437" y="393039"/>
                    <a:pt x="322630" y="393039"/>
                  </a:cubicBezTo>
                  <a:cubicBezTo>
                    <a:pt x="322630" y="393039"/>
                    <a:pt x="322630" y="393039"/>
                    <a:pt x="70512" y="393039"/>
                  </a:cubicBezTo>
                  <a:cubicBezTo>
                    <a:pt x="31705" y="393039"/>
                    <a:pt x="0" y="361342"/>
                    <a:pt x="0" y="322546"/>
                  </a:cubicBezTo>
                  <a:cubicBezTo>
                    <a:pt x="0" y="322546"/>
                    <a:pt x="0" y="322546"/>
                    <a:pt x="0" y="70494"/>
                  </a:cubicBezTo>
                  <a:cubicBezTo>
                    <a:pt x="0" y="31697"/>
                    <a:pt x="31705" y="0"/>
                    <a:pt x="70512" y="0"/>
                  </a:cubicBezTo>
                  <a:close/>
                </a:path>
              </a:pathLst>
            </a:custGeom>
            <a:solidFill>
              <a:schemeClr val="bg1">
                <a:lumMod val="50000"/>
              </a:schemeClr>
            </a:solidFill>
            <a:ln w="10795" cap="flat" cmpd="sng" algn="ctr">
              <a:noFill/>
              <a:prstDash val="solid"/>
              <a:headEnd type="none" w="med" len="med"/>
              <a:tailEnd type="none" w="med" len="med"/>
            </a:ln>
            <a:effectLst/>
            <a:extLst/>
          </p:spPr>
          <p:txBody>
            <a:bodyPr lIns="91436" tIns="45718" rIns="91436" bIns="45718" anchor="ctr"/>
            <a:lstStyle/>
            <a:p>
              <a:pPr defTabSz="740740">
                <a:defRPr/>
              </a:pPr>
              <a:endParaRPr lang="en-US" dirty="0">
                <a:latin typeface="Segoe Light" pitchFamily="34" charset="0"/>
              </a:endParaRPr>
            </a:p>
          </p:txBody>
        </p:sp>
        <p:sp>
          <p:nvSpPr>
            <p:cNvPr id="177" name="Freeform 176"/>
            <p:cNvSpPr>
              <a:spLocks/>
            </p:cNvSpPr>
            <p:nvPr/>
          </p:nvSpPr>
          <p:spPr bwMode="black">
            <a:xfrm>
              <a:off x="1470108" y="2446109"/>
              <a:ext cx="153991" cy="153986"/>
            </a:xfrm>
            <a:custGeom>
              <a:avLst/>
              <a:gdLst/>
              <a:ahLst/>
              <a:cxnLst/>
              <a:rect l="l" t="t" r="r" b="b"/>
              <a:pathLst>
                <a:path w="393142" h="393039">
                  <a:moveTo>
                    <a:pt x="81679" y="184317"/>
                  </a:moveTo>
                  <a:lnTo>
                    <a:pt x="81679" y="344009"/>
                  </a:lnTo>
                  <a:lnTo>
                    <a:pt x="138295" y="344009"/>
                  </a:lnTo>
                  <a:lnTo>
                    <a:pt x="138295" y="184317"/>
                  </a:lnTo>
                  <a:close/>
                  <a:moveTo>
                    <a:pt x="285263" y="180875"/>
                  </a:moveTo>
                  <a:cubicBezTo>
                    <a:pt x="271861" y="180875"/>
                    <a:pt x="260692" y="183399"/>
                    <a:pt x="251758" y="188447"/>
                  </a:cubicBezTo>
                  <a:cubicBezTo>
                    <a:pt x="246259" y="191544"/>
                    <a:pt x="240245" y="196879"/>
                    <a:pt x="233717" y="204450"/>
                  </a:cubicBezTo>
                  <a:lnTo>
                    <a:pt x="233717" y="184317"/>
                  </a:lnTo>
                  <a:lnTo>
                    <a:pt x="177101" y="184317"/>
                  </a:lnTo>
                  <a:lnTo>
                    <a:pt x="177101" y="344009"/>
                  </a:lnTo>
                  <a:lnTo>
                    <a:pt x="233717" y="344009"/>
                  </a:lnTo>
                  <a:lnTo>
                    <a:pt x="233717" y="258484"/>
                  </a:lnTo>
                  <a:cubicBezTo>
                    <a:pt x="233717" y="247299"/>
                    <a:pt x="236339" y="239081"/>
                    <a:pt x="241584" y="233831"/>
                  </a:cubicBezTo>
                  <a:cubicBezTo>
                    <a:pt x="247399" y="228010"/>
                    <a:pt x="254582" y="225100"/>
                    <a:pt x="263132" y="225100"/>
                  </a:cubicBezTo>
                  <a:cubicBezTo>
                    <a:pt x="272480" y="225100"/>
                    <a:pt x="279491" y="228480"/>
                    <a:pt x="284166" y="235240"/>
                  </a:cubicBezTo>
                  <a:cubicBezTo>
                    <a:pt x="287359" y="239821"/>
                    <a:pt x="288955" y="249157"/>
                    <a:pt x="288955" y="263246"/>
                  </a:cubicBezTo>
                  <a:lnTo>
                    <a:pt x="288955" y="344009"/>
                  </a:lnTo>
                  <a:lnTo>
                    <a:pt x="345570" y="344009"/>
                  </a:lnTo>
                  <a:lnTo>
                    <a:pt x="345570" y="242308"/>
                  </a:lnTo>
                  <a:cubicBezTo>
                    <a:pt x="345570" y="221200"/>
                    <a:pt x="339443" y="205368"/>
                    <a:pt x="327187" y="194814"/>
                  </a:cubicBezTo>
                  <a:cubicBezTo>
                    <a:pt x="316419" y="185521"/>
                    <a:pt x="302445" y="180875"/>
                    <a:pt x="285263" y="180875"/>
                  </a:cubicBezTo>
                  <a:close/>
                  <a:moveTo>
                    <a:pt x="109987" y="91392"/>
                  </a:moveTo>
                  <a:cubicBezTo>
                    <a:pt x="101177" y="91392"/>
                    <a:pt x="93711" y="94452"/>
                    <a:pt x="87591" y="100573"/>
                  </a:cubicBezTo>
                  <a:cubicBezTo>
                    <a:pt x="81470" y="106693"/>
                    <a:pt x="78410" y="114159"/>
                    <a:pt x="78410" y="122969"/>
                  </a:cubicBezTo>
                  <a:cubicBezTo>
                    <a:pt x="78410" y="131779"/>
                    <a:pt x="81470" y="139274"/>
                    <a:pt x="87591" y="145451"/>
                  </a:cubicBezTo>
                  <a:cubicBezTo>
                    <a:pt x="93711" y="151629"/>
                    <a:pt x="101177" y="154718"/>
                    <a:pt x="109987" y="154718"/>
                  </a:cubicBezTo>
                  <a:cubicBezTo>
                    <a:pt x="118912" y="154718"/>
                    <a:pt x="126435" y="151658"/>
                    <a:pt x="132555" y="145537"/>
                  </a:cubicBezTo>
                  <a:cubicBezTo>
                    <a:pt x="138676" y="139417"/>
                    <a:pt x="141736" y="131894"/>
                    <a:pt x="141736" y="122969"/>
                  </a:cubicBezTo>
                  <a:cubicBezTo>
                    <a:pt x="141736" y="114159"/>
                    <a:pt x="138647" y="106693"/>
                    <a:pt x="132469" y="100573"/>
                  </a:cubicBezTo>
                  <a:cubicBezTo>
                    <a:pt x="126291" y="94452"/>
                    <a:pt x="118797" y="91392"/>
                    <a:pt x="109987" y="91392"/>
                  </a:cubicBezTo>
                  <a:close/>
                  <a:moveTo>
                    <a:pt x="70512" y="0"/>
                  </a:moveTo>
                  <a:cubicBezTo>
                    <a:pt x="70512" y="0"/>
                    <a:pt x="70512" y="0"/>
                    <a:pt x="322630" y="0"/>
                  </a:cubicBezTo>
                  <a:cubicBezTo>
                    <a:pt x="361437" y="0"/>
                    <a:pt x="393142" y="31697"/>
                    <a:pt x="393142" y="70494"/>
                  </a:cubicBezTo>
                  <a:cubicBezTo>
                    <a:pt x="393142" y="70494"/>
                    <a:pt x="393142" y="70494"/>
                    <a:pt x="393142" y="322546"/>
                  </a:cubicBezTo>
                  <a:cubicBezTo>
                    <a:pt x="393142" y="361342"/>
                    <a:pt x="361437" y="393039"/>
                    <a:pt x="322630" y="393039"/>
                  </a:cubicBezTo>
                  <a:cubicBezTo>
                    <a:pt x="322630" y="393039"/>
                    <a:pt x="322630" y="393039"/>
                    <a:pt x="70512" y="393039"/>
                  </a:cubicBezTo>
                  <a:cubicBezTo>
                    <a:pt x="31705" y="393039"/>
                    <a:pt x="0" y="361342"/>
                    <a:pt x="0" y="322546"/>
                  </a:cubicBezTo>
                  <a:cubicBezTo>
                    <a:pt x="0" y="322546"/>
                    <a:pt x="0" y="322546"/>
                    <a:pt x="0" y="70494"/>
                  </a:cubicBezTo>
                  <a:cubicBezTo>
                    <a:pt x="0" y="31697"/>
                    <a:pt x="31705" y="0"/>
                    <a:pt x="70512" y="0"/>
                  </a:cubicBezTo>
                  <a:close/>
                </a:path>
              </a:pathLst>
            </a:custGeom>
            <a:solidFill>
              <a:schemeClr val="bg1">
                <a:lumMod val="50000"/>
              </a:schemeClr>
            </a:solidFill>
            <a:ln w="10795" cap="flat" cmpd="sng" algn="ctr">
              <a:noFill/>
              <a:prstDash val="solid"/>
              <a:headEnd type="none" w="med" len="med"/>
              <a:tailEnd type="none" w="med" len="med"/>
            </a:ln>
            <a:effectLst/>
            <a:extLst/>
          </p:spPr>
          <p:txBody>
            <a:bodyPr lIns="91436" tIns="45718" rIns="91436" bIns="45718" anchor="ctr"/>
            <a:lstStyle/>
            <a:p>
              <a:pPr defTabSz="740740">
                <a:defRPr/>
              </a:pPr>
              <a:endParaRPr lang="en-US" dirty="0">
                <a:latin typeface="Segoe Light" pitchFamily="34" charset="0"/>
              </a:endParaRPr>
            </a:p>
          </p:txBody>
        </p:sp>
        <p:sp>
          <p:nvSpPr>
            <p:cNvPr id="178" name="Trapezoid 86"/>
            <p:cNvSpPr/>
            <p:nvPr/>
          </p:nvSpPr>
          <p:spPr>
            <a:xfrm rot="16200000">
              <a:off x="1487527" y="1895084"/>
              <a:ext cx="169510" cy="177140"/>
            </a:xfrm>
            <a:custGeom>
              <a:avLst/>
              <a:gdLst/>
              <a:ahLst/>
              <a:cxnLst/>
              <a:rect l="l" t="t" r="r" b="b"/>
              <a:pathLst>
                <a:path w="2026419" h="2117634">
                  <a:moveTo>
                    <a:pt x="683394" y="1357221"/>
                  </a:moveTo>
                  <a:cubicBezTo>
                    <a:pt x="683394" y="1472952"/>
                    <a:pt x="589575" y="1566771"/>
                    <a:pt x="473844" y="1566771"/>
                  </a:cubicBezTo>
                  <a:cubicBezTo>
                    <a:pt x="358113" y="1566771"/>
                    <a:pt x="264294" y="1472952"/>
                    <a:pt x="264294" y="1357221"/>
                  </a:cubicBezTo>
                  <a:cubicBezTo>
                    <a:pt x="264294" y="1241490"/>
                    <a:pt x="358113" y="1147671"/>
                    <a:pt x="473844" y="1147671"/>
                  </a:cubicBezTo>
                  <a:cubicBezTo>
                    <a:pt x="589575" y="1147671"/>
                    <a:pt x="683394" y="1241490"/>
                    <a:pt x="683394" y="1357221"/>
                  </a:cubicBezTo>
                  <a:close/>
                  <a:moveTo>
                    <a:pt x="794521" y="1772403"/>
                  </a:moveTo>
                  <a:cubicBezTo>
                    <a:pt x="775533" y="1803019"/>
                    <a:pt x="763564" y="1838106"/>
                    <a:pt x="760480" y="1875663"/>
                  </a:cubicBezTo>
                  <a:cubicBezTo>
                    <a:pt x="654054" y="1822066"/>
                    <a:pt x="568072" y="1734443"/>
                    <a:pt x="516913" y="1626725"/>
                  </a:cubicBezTo>
                  <a:cubicBezTo>
                    <a:pt x="554560" y="1621730"/>
                    <a:pt x="589522" y="1608175"/>
                    <a:pt x="619969" y="1588089"/>
                  </a:cubicBezTo>
                  <a:cubicBezTo>
                    <a:pt x="656986" y="1666600"/>
                    <a:pt x="718716" y="1730458"/>
                    <a:pt x="794521" y="1772403"/>
                  </a:cubicBezTo>
                  <a:close/>
                  <a:moveTo>
                    <a:pt x="1240606" y="1908084"/>
                  </a:moveTo>
                  <a:cubicBezTo>
                    <a:pt x="1240606" y="2023815"/>
                    <a:pt x="1146787" y="2117634"/>
                    <a:pt x="1031056" y="2117634"/>
                  </a:cubicBezTo>
                  <a:cubicBezTo>
                    <a:pt x="915325" y="2117634"/>
                    <a:pt x="821506" y="2023815"/>
                    <a:pt x="821506" y="1908084"/>
                  </a:cubicBezTo>
                  <a:cubicBezTo>
                    <a:pt x="821506" y="1792353"/>
                    <a:pt x="915325" y="1698534"/>
                    <a:pt x="1031056" y="1698534"/>
                  </a:cubicBezTo>
                  <a:cubicBezTo>
                    <a:pt x="1146787" y="1698534"/>
                    <a:pt x="1240606" y="1792353"/>
                    <a:pt x="1240606" y="1908084"/>
                  </a:cubicBezTo>
                  <a:close/>
                  <a:moveTo>
                    <a:pt x="1373359" y="613050"/>
                  </a:moveTo>
                  <a:cubicBezTo>
                    <a:pt x="1373781" y="592439"/>
                    <a:pt x="1371525" y="580084"/>
                    <a:pt x="1366588" y="548121"/>
                  </a:cubicBezTo>
                  <a:cubicBezTo>
                    <a:pt x="1346003" y="461219"/>
                    <a:pt x="1278868" y="410011"/>
                    <a:pt x="1201868" y="402221"/>
                  </a:cubicBezTo>
                  <a:cubicBezTo>
                    <a:pt x="931351" y="360536"/>
                    <a:pt x="985455" y="670197"/>
                    <a:pt x="854062" y="652331"/>
                  </a:cubicBezTo>
                  <a:cubicBezTo>
                    <a:pt x="735550" y="625534"/>
                    <a:pt x="783213" y="491547"/>
                    <a:pt x="823146" y="420087"/>
                  </a:cubicBezTo>
                  <a:lnTo>
                    <a:pt x="695617" y="393290"/>
                  </a:lnTo>
                  <a:cubicBezTo>
                    <a:pt x="669255" y="453845"/>
                    <a:pt x="655521" y="504886"/>
                    <a:pt x="653658" y="548121"/>
                  </a:cubicBezTo>
                  <a:cubicBezTo>
                    <a:pt x="652750" y="592572"/>
                    <a:pt x="651843" y="592994"/>
                    <a:pt x="658078" y="637445"/>
                  </a:cubicBezTo>
                  <a:cubicBezTo>
                    <a:pt x="684114" y="745767"/>
                    <a:pt x="788926" y="772909"/>
                    <a:pt x="827010" y="783341"/>
                  </a:cubicBezTo>
                  <a:cubicBezTo>
                    <a:pt x="1076916" y="832967"/>
                    <a:pt x="1075626" y="531247"/>
                    <a:pt x="1182546" y="530254"/>
                  </a:cubicBezTo>
                  <a:cubicBezTo>
                    <a:pt x="1299767" y="545140"/>
                    <a:pt x="1246955" y="694015"/>
                    <a:pt x="1209598" y="735701"/>
                  </a:cubicBezTo>
                  <a:lnTo>
                    <a:pt x="1340990" y="762499"/>
                  </a:lnTo>
                  <a:cubicBezTo>
                    <a:pt x="1359764" y="717009"/>
                    <a:pt x="1370090" y="675238"/>
                    <a:pt x="1372044" y="637445"/>
                  </a:cubicBezTo>
                  <a:cubicBezTo>
                    <a:pt x="1372780" y="627708"/>
                    <a:pt x="1373218" y="619921"/>
                    <a:pt x="1373359" y="613050"/>
                  </a:cubicBezTo>
                  <a:close/>
                  <a:moveTo>
                    <a:pt x="1512939" y="1619251"/>
                  </a:moveTo>
                  <a:cubicBezTo>
                    <a:pt x="1467757" y="1718695"/>
                    <a:pt x="1392941" y="1801540"/>
                    <a:pt x="1299780" y="1857295"/>
                  </a:cubicBezTo>
                  <a:cubicBezTo>
                    <a:pt x="1293356" y="1820868"/>
                    <a:pt x="1279346" y="1787051"/>
                    <a:pt x="1259468" y="1757439"/>
                  </a:cubicBezTo>
                  <a:cubicBezTo>
                    <a:pt x="1328714" y="1711331"/>
                    <a:pt x="1384214" y="1646253"/>
                    <a:pt x="1415932" y="1568433"/>
                  </a:cubicBezTo>
                  <a:cubicBezTo>
                    <a:pt x="1443458" y="1592539"/>
                    <a:pt x="1476496" y="1610117"/>
                    <a:pt x="1512939" y="1619251"/>
                  </a:cubicBezTo>
                  <a:close/>
                  <a:moveTo>
                    <a:pt x="1797819" y="1357221"/>
                  </a:moveTo>
                  <a:cubicBezTo>
                    <a:pt x="1797819" y="1472952"/>
                    <a:pt x="1704000" y="1566771"/>
                    <a:pt x="1588269" y="1566771"/>
                  </a:cubicBezTo>
                  <a:cubicBezTo>
                    <a:pt x="1472538" y="1566771"/>
                    <a:pt x="1378719" y="1472952"/>
                    <a:pt x="1378719" y="1357221"/>
                  </a:cubicBezTo>
                  <a:cubicBezTo>
                    <a:pt x="1378719" y="1241490"/>
                    <a:pt x="1472538" y="1147671"/>
                    <a:pt x="1588269" y="1147671"/>
                  </a:cubicBezTo>
                  <a:cubicBezTo>
                    <a:pt x="1704000" y="1147671"/>
                    <a:pt x="1797819" y="1241490"/>
                    <a:pt x="1797819" y="1357221"/>
                  </a:cubicBezTo>
                  <a:close/>
                  <a:moveTo>
                    <a:pt x="2026419" y="1204820"/>
                  </a:moveTo>
                  <a:lnTo>
                    <a:pt x="1815729" y="1204820"/>
                  </a:lnTo>
                  <a:cubicBezTo>
                    <a:pt x="1766640" y="1131561"/>
                    <a:pt x="1683081" y="1083377"/>
                    <a:pt x="1588269" y="1083377"/>
                  </a:cubicBezTo>
                  <a:cubicBezTo>
                    <a:pt x="1493456" y="1083377"/>
                    <a:pt x="1409898" y="1131561"/>
                    <a:pt x="1360808" y="1204820"/>
                  </a:cubicBezTo>
                  <a:lnTo>
                    <a:pt x="701304" y="1204820"/>
                  </a:lnTo>
                  <a:cubicBezTo>
                    <a:pt x="652215" y="1131561"/>
                    <a:pt x="568656" y="1083377"/>
                    <a:pt x="473844" y="1083377"/>
                  </a:cubicBezTo>
                  <a:cubicBezTo>
                    <a:pt x="379031" y="1083377"/>
                    <a:pt x="295473" y="1131561"/>
                    <a:pt x="246383" y="1204820"/>
                  </a:cubicBezTo>
                  <a:lnTo>
                    <a:pt x="0" y="1204820"/>
                  </a:lnTo>
                  <a:lnTo>
                    <a:pt x="199603" y="0"/>
                  </a:lnTo>
                  <a:lnTo>
                    <a:pt x="1826816" y="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a:solidFill>
                  <a:schemeClr val="tx1"/>
                </a:solidFill>
              </a:endParaRPr>
            </a:p>
          </p:txBody>
        </p:sp>
        <p:sp>
          <p:nvSpPr>
            <p:cNvPr id="179" name="Freeform 178"/>
            <p:cNvSpPr/>
            <p:nvPr/>
          </p:nvSpPr>
          <p:spPr>
            <a:xfrm>
              <a:off x="1492918" y="2178485"/>
              <a:ext cx="157484" cy="152710"/>
            </a:xfrm>
            <a:custGeom>
              <a:avLst/>
              <a:gdLst>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598424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1358 w 4062047"/>
                <a:gd name="connsiteY5" fmla="*/ 1576817 h 3938955"/>
                <a:gd name="connsiteX6" fmla="*/ 2420651 w 4062047"/>
                <a:gd name="connsiteY6" fmla="*/ 1739087 h 3938955"/>
                <a:gd name="connsiteX7" fmla="*/ 3241046 w 4062047"/>
                <a:gd name="connsiteY7" fmla="*/ 1879207 h 3938955"/>
                <a:gd name="connsiteX8" fmla="*/ 3223454 w 4062047"/>
                <a:gd name="connsiteY8" fmla="*/ 1598424 h 3938955"/>
                <a:gd name="connsiteX9" fmla="*/ 3121358 w 4062047"/>
                <a:gd name="connsiteY9" fmla="*/ 1576817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3739 w 4062047"/>
                <a:gd name="connsiteY5" fmla="*/ 1610155 h 3938955"/>
                <a:gd name="connsiteX6" fmla="*/ 2420651 w 4062047"/>
                <a:gd name="connsiteY6" fmla="*/ 1739087 h 3938955"/>
                <a:gd name="connsiteX7" fmla="*/ 3241046 w 4062047"/>
                <a:gd name="connsiteY7" fmla="*/ 1879207 h 3938955"/>
                <a:gd name="connsiteX8" fmla="*/ 3223454 w 4062047"/>
                <a:gd name="connsiteY8" fmla="*/ 1598424 h 3938955"/>
                <a:gd name="connsiteX9" fmla="*/ 3123739 w 4062047"/>
                <a:gd name="connsiteY9" fmla="*/ 1610155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4214 w 4062047"/>
                <a:gd name="connsiteY5" fmla="*/ 1610155 h 3938955"/>
                <a:gd name="connsiteX6" fmla="*/ 2420651 w 4062047"/>
                <a:gd name="connsiteY6" fmla="*/ 1739087 h 3938955"/>
                <a:gd name="connsiteX7" fmla="*/ 3241046 w 4062047"/>
                <a:gd name="connsiteY7" fmla="*/ 1879207 h 3938955"/>
                <a:gd name="connsiteX8" fmla="*/ 3223454 w 4062047"/>
                <a:gd name="connsiteY8" fmla="*/ 1598424 h 3938955"/>
                <a:gd name="connsiteX9" fmla="*/ 3114214 w 4062047"/>
                <a:gd name="connsiteY9" fmla="*/ 1610155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4214 w 4062047"/>
                <a:gd name="connsiteY5" fmla="*/ 1610155 h 3938955"/>
                <a:gd name="connsiteX6" fmla="*/ 2420651 w 4062047"/>
                <a:gd name="connsiteY6" fmla="*/ 1739087 h 3938955"/>
                <a:gd name="connsiteX7" fmla="*/ 3241046 w 4062047"/>
                <a:gd name="connsiteY7" fmla="*/ 1879207 h 3938955"/>
                <a:gd name="connsiteX8" fmla="*/ 3206785 w 4062047"/>
                <a:gd name="connsiteY8" fmla="*/ 1600806 h 3938955"/>
                <a:gd name="connsiteX9" fmla="*/ 3114214 w 4062047"/>
                <a:gd name="connsiteY9" fmla="*/ 1610155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0806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206785 w 4062047"/>
                <a:gd name="connsiteY5" fmla="*/ 1603188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2950677 w 4062047"/>
                <a:gd name="connsiteY9" fmla="*/ 857698 h 3938955"/>
                <a:gd name="connsiteX10" fmla="*/ 2870505 w 4062047"/>
                <a:gd name="connsiteY10" fmla="*/ 878864 h 3938955"/>
                <a:gd name="connsiteX11" fmla="*/ 2227569 w 4062047"/>
                <a:gd name="connsiteY11" fmla="*/ 1381308 h 3938955"/>
                <a:gd name="connsiteX12" fmla="*/ 3013380 w 4062047"/>
                <a:gd name="connsiteY12" fmla="*/ 1093177 h 3938955"/>
                <a:gd name="connsiteX13" fmla="*/ 2950677 w 4062047"/>
                <a:gd name="connsiteY13" fmla="*/ 857698 h 3938955"/>
                <a:gd name="connsiteX14" fmla="*/ 850835 w 4062047"/>
                <a:gd name="connsiteY14" fmla="*/ 587237 h 3938955"/>
                <a:gd name="connsiteX15" fmla="*/ 691663 w 4062047"/>
                <a:gd name="connsiteY15" fmla="*/ 759803 h 3938955"/>
                <a:gd name="connsiteX16" fmla="*/ 1286976 w 4062047"/>
                <a:gd name="connsiteY16" fmla="*/ 2250466 h 3938955"/>
                <a:gd name="connsiteX17" fmla="*/ 1072663 w 4062047"/>
                <a:gd name="connsiteY17" fmla="*/ 2593366 h 3938955"/>
                <a:gd name="connsiteX18" fmla="*/ 744051 w 4062047"/>
                <a:gd name="connsiteY18" fmla="*/ 2731478 h 3938955"/>
                <a:gd name="connsiteX19" fmla="*/ 1191726 w 4062047"/>
                <a:gd name="connsiteY19" fmla="*/ 2836253 h 3938955"/>
                <a:gd name="connsiteX20" fmla="*/ 1696551 w 4062047"/>
                <a:gd name="connsiteY20" fmla="*/ 2036153 h 3938955"/>
                <a:gd name="connsiteX21" fmla="*/ 2201376 w 4062047"/>
                <a:gd name="connsiteY21" fmla="*/ 769328 h 3938955"/>
                <a:gd name="connsiteX22" fmla="*/ 1929913 w 4062047"/>
                <a:gd name="connsiteY22" fmla="*/ 683603 h 3938955"/>
                <a:gd name="connsiteX23" fmla="*/ 1458426 w 4062047"/>
                <a:gd name="connsiteY23" fmla="*/ 1855178 h 3938955"/>
                <a:gd name="connsiteX24" fmla="*/ 972651 w 4062047"/>
                <a:gd name="connsiteY24" fmla="*/ 650266 h 3938955"/>
                <a:gd name="connsiteX25" fmla="*/ 850835 w 4062047"/>
                <a:gd name="connsiteY25" fmla="*/ 587237 h 3938955"/>
                <a:gd name="connsiteX26" fmla="*/ 540732 w 4062047"/>
                <a:gd name="connsiteY26" fmla="*/ 0 h 3938955"/>
                <a:gd name="connsiteX27" fmla="*/ 3521315 w 4062047"/>
                <a:gd name="connsiteY27" fmla="*/ 0 h 3938955"/>
                <a:gd name="connsiteX28" fmla="*/ 4062047 w 4062047"/>
                <a:gd name="connsiteY28" fmla="*/ 540731 h 3938955"/>
                <a:gd name="connsiteX29" fmla="*/ 4062047 w 4062047"/>
                <a:gd name="connsiteY29" fmla="*/ 2914645 h 3938955"/>
                <a:gd name="connsiteX30" fmla="*/ 3521315 w 4062047"/>
                <a:gd name="connsiteY30" fmla="*/ 3455377 h 3938955"/>
                <a:gd name="connsiteX31" fmla="*/ 1802912 w 4062047"/>
                <a:gd name="connsiteY31" fmla="*/ 3455377 h 3938955"/>
                <a:gd name="connsiteX32" fmla="*/ 1075041 w 4062047"/>
                <a:gd name="connsiteY32" fmla="*/ 3938955 h 3938955"/>
                <a:gd name="connsiteX33" fmla="*/ 1075041 w 4062047"/>
                <a:gd name="connsiteY33" fmla="*/ 3455377 h 3938955"/>
                <a:gd name="connsiteX34" fmla="*/ 540732 w 4062047"/>
                <a:gd name="connsiteY34" fmla="*/ 3455377 h 3938955"/>
                <a:gd name="connsiteX35" fmla="*/ 0 w 4062047"/>
                <a:gd name="connsiteY35" fmla="*/ 2914645 h 3938955"/>
                <a:gd name="connsiteX36" fmla="*/ 0 w 4062047"/>
                <a:gd name="connsiteY36" fmla="*/ 540731 h 3938955"/>
                <a:gd name="connsiteX37" fmla="*/ 540732 w 4062047"/>
                <a:gd name="connsiteY37"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206785 w 4062047"/>
                <a:gd name="connsiteY5" fmla="*/ 1603188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2950677 w 4062047"/>
                <a:gd name="connsiteY9" fmla="*/ 857698 h 3938955"/>
                <a:gd name="connsiteX10" fmla="*/ 2870505 w 4062047"/>
                <a:gd name="connsiteY10" fmla="*/ 878864 h 3938955"/>
                <a:gd name="connsiteX11" fmla="*/ 2227569 w 4062047"/>
                <a:gd name="connsiteY11" fmla="*/ 1381308 h 3938955"/>
                <a:gd name="connsiteX12" fmla="*/ 3013380 w 4062047"/>
                <a:gd name="connsiteY12" fmla="*/ 1093177 h 3938955"/>
                <a:gd name="connsiteX13" fmla="*/ 2950677 w 4062047"/>
                <a:gd name="connsiteY13" fmla="*/ 857698 h 3938955"/>
                <a:gd name="connsiteX14" fmla="*/ 850835 w 4062047"/>
                <a:gd name="connsiteY14" fmla="*/ 587237 h 3938955"/>
                <a:gd name="connsiteX15" fmla="*/ 691663 w 4062047"/>
                <a:gd name="connsiteY15" fmla="*/ 759803 h 3938955"/>
                <a:gd name="connsiteX16" fmla="*/ 1286976 w 4062047"/>
                <a:gd name="connsiteY16" fmla="*/ 2250466 h 3938955"/>
                <a:gd name="connsiteX17" fmla="*/ 1072663 w 4062047"/>
                <a:gd name="connsiteY17" fmla="*/ 2593366 h 3938955"/>
                <a:gd name="connsiteX18" fmla="*/ 744051 w 4062047"/>
                <a:gd name="connsiteY18" fmla="*/ 2731478 h 3938955"/>
                <a:gd name="connsiteX19" fmla="*/ 1191726 w 4062047"/>
                <a:gd name="connsiteY19" fmla="*/ 2836253 h 3938955"/>
                <a:gd name="connsiteX20" fmla="*/ 1696551 w 4062047"/>
                <a:gd name="connsiteY20" fmla="*/ 2036153 h 3938955"/>
                <a:gd name="connsiteX21" fmla="*/ 2201376 w 4062047"/>
                <a:gd name="connsiteY21" fmla="*/ 769328 h 3938955"/>
                <a:gd name="connsiteX22" fmla="*/ 1929913 w 4062047"/>
                <a:gd name="connsiteY22" fmla="*/ 683603 h 3938955"/>
                <a:gd name="connsiteX23" fmla="*/ 1458426 w 4062047"/>
                <a:gd name="connsiteY23" fmla="*/ 1855178 h 3938955"/>
                <a:gd name="connsiteX24" fmla="*/ 972651 w 4062047"/>
                <a:gd name="connsiteY24" fmla="*/ 650266 h 3938955"/>
                <a:gd name="connsiteX25" fmla="*/ 850835 w 4062047"/>
                <a:gd name="connsiteY25" fmla="*/ 587237 h 3938955"/>
                <a:gd name="connsiteX26" fmla="*/ 540732 w 4062047"/>
                <a:gd name="connsiteY26" fmla="*/ 0 h 3938955"/>
                <a:gd name="connsiteX27" fmla="*/ 3521315 w 4062047"/>
                <a:gd name="connsiteY27" fmla="*/ 0 h 3938955"/>
                <a:gd name="connsiteX28" fmla="*/ 4062047 w 4062047"/>
                <a:gd name="connsiteY28" fmla="*/ 540731 h 3938955"/>
                <a:gd name="connsiteX29" fmla="*/ 4062047 w 4062047"/>
                <a:gd name="connsiteY29" fmla="*/ 2914645 h 3938955"/>
                <a:gd name="connsiteX30" fmla="*/ 3521315 w 4062047"/>
                <a:gd name="connsiteY30" fmla="*/ 3455377 h 3938955"/>
                <a:gd name="connsiteX31" fmla="*/ 1802912 w 4062047"/>
                <a:gd name="connsiteY31" fmla="*/ 3455377 h 3938955"/>
                <a:gd name="connsiteX32" fmla="*/ 1075041 w 4062047"/>
                <a:gd name="connsiteY32" fmla="*/ 3938955 h 3938955"/>
                <a:gd name="connsiteX33" fmla="*/ 1075041 w 4062047"/>
                <a:gd name="connsiteY33" fmla="*/ 3455377 h 3938955"/>
                <a:gd name="connsiteX34" fmla="*/ 540732 w 4062047"/>
                <a:gd name="connsiteY34" fmla="*/ 3455377 h 3938955"/>
                <a:gd name="connsiteX35" fmla="*/ 0 w 4062047"/>
                <a:gd name="connsiteY35" fmla="*/ 2914645 h 3938955"/>
                <a:gd name="connsiteX36" fmla="*/ 0 w 4062047"/>
                <a:gd name="connsiteY36" fmla="*/ 540731 h 3938955"/>
                <a:gd name="connsiteX37" fmla="*/ 540732 w 4062047"/>
                <a:gd name="connsiteY37"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206785 w 4062047"/>
                <a:gd name="connsiteY5" fmla="*/ 1603188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2950677 w 4062047"/>
                <a:gd name="connsiteY9" fmla="*/ 857698 h 3938955"/>
                <a:gd name="connsiteX10" fmla="*/ 2870505 w 4062047"/>
                <a:gd name="connsiteY10" fmla="*/ 878864 h 3938955"/>
                <a:gd name="connsiteX11" fmla="*/ 2227569 w 4062047"/>
                <a:gd name="connsiteY11" fmla="*/ 1381308 h 3938955"/>
                <a:gd name="connsiteX12" fmla="*/ 3013380 w 4062047"/>
                <a:gd name="connsiteY12" fmla="*/ 1093177 h 3938955"/>
                <a:gd name="connsiteX13" fmla="*/ 2950677 w 4062047"/>
                <a:gd name="connsiteY13" fmla="*/ 857698 h 3938955"/>
                <a:gd name="connsiteX14" fmla="*/ 850835 w 4062047"/>
                <a:gd name="connsiteY14" fmla="*/ 587237 h 3938955"/>
                <a:gd name="connsiteX15" fmla="*/ 691663 w 4062047"/>
                <a:gd name="connsiteY15" fmla="*/ 759803 h 3938955"/>
                <a:gd name="connsiteX16" fmla="*/ 1286976 w 4062047"/>
                <a:gd name="connsiteY16" fmla="*/ 2250466 h 3938955"/>
                <a:gd name="connsiteX17" fmla="*/ 1072663 w 4062047"/>
                <a:gd name="connsiteY17" fmla="*/ 2593366 h 3938955"/>
                <a:gd name="connsiteX18" fmla="*/ 744051 w 4062047"/>
                <a:gd name="connsiteY18" fmla="*/ 2731478 h 3938955"/>
                <a:gd name="connsiteX19" fmla="*/ 1191726 w 4062047"/>
                <a:gd name="connsiteY19" fmla="*/ 2836253 h 3938955"/>
                <a:gd name="connsiteX20" fmla="*/ 1696551 w 4062047"/>
                <a:gd name="connsiteY20" fmla="*/ 2036153 h 3938955"/>
                <a:gd name="connsiteX21" fmla="*/ 2201376 w 4062047"/>
                <a:gd name="connsiteY21" fmla="*/ 769328 h 3938955"/>
                <a:gd name="connsiteX22" fmla="*/ 1929913 w 4062047"/>
                <a:gd name="connsiteY22" fmla="*/ 683603 h 3938955"/>
                <a:gd name="connsiteX23" fmla="*/ 1458426 w 4062047"/>
                <a:gd name="connsiteY23" fmla="*/ 1855178 h 3938955"/>
                <a:gd name="connsiteX24" fmla="*/ 972651 w 4062047"/>
                <a:gd name="connsiteY24" fmla="*/ 650266 h 3938955"/>
                <a:gd name="connsiteX25" fmla="*/ 850835 w 4062047"/>
                <a:gd name="connsiteY25" fmla="*/ 587237 h 3938955"/>
                <a:gd name="connsiteX26" fmla="*/ 540732 w 4062047"/>
                <a:gd name="connsiteY26" fmla="*/ 0 h 3938955"/>
                <a:gd name="connsiteX27" fmla="*/ 3521315 w 4062047"/>
                <a:gd name="connsiteY27" fmla="*/ 0 h 3938955"/>
                <a:gd name="connsiteX28" fmla="*/ 4062047 w 4062047"/>
                <a:gd name="connsiteY28" fmla="*/ 540731 h 3938955"/>
                <a:gd name="connsiteX29" fmla="*/ 4062047 w 4062047"/>
                <a:gd name="connsiteY29" fmla="*/ 2914645 h 3938955"/>
                <a:gd name="connsiteX30" fmla="*/ 3521315 w 4062047"/>
                <a:gd name="connsiteY30" fmla="*/ 3455377 h 3938955"/>
                <a:gd name="connsiteX31" fmla="*/ 1802912 w 4062047"/>
                <a:gd name="connsiteY31" fmla="*/ 3455377 h 3938955"/>
                <a:gd name="connsiteX32" fmla="*/ 1075041 w 4062047"/>
                <a:gd name="connsiteY32" fmla="*/ 3938955 h 3938955"/>
                <a:gd name="connsiteX33" fmla="*/ 1075041 w 4062047"/>
                <a:gd name="connsiteY33" fmla="*/ 3455377 h 3938955"/>
                <a:gd name="connsiteX34" fmla="*/ 540732 w 4062047"/>
                <a:gd name="connsiteY34" fmla="*/ 3455377 h 3938955"/>
                <a:gd name="connsiteX35" fmla="*/ 0 w 4062047"/>
                <a:gd name="connsiteY35" fmla="*/ 2914645 h 3938955"/>
                <a:gd name="connsiteX36" fmla="*/ 0 w 4062047"/>
                <a:gd name="connsiteY36" fmla="*/ 540731 h 3938955"/>
                <a:gd name="connsiteX37" fmla="*/ 540732 w 4062047"/>
                <a:gd name="connsiteY37" fmla="*/ 0 h 393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62047" h="3938955">
                  <a:moveTo>
                    <a:pt x="2292410" y="2109292"/>
                  </a:moveTo>
                  <a:cubicBezTo>
                    <a:pt x="2268687" y="2107678"/>
                    <a:pt x="2249265" y="2109514"/>
                    <a:pt x="2235381" y="2115515"/>
                  </a:cubicBezTo>
                  <a:cubicBezTo>
                    <a:pt x="2217974" y="2189262"/>
                    <a:pt x="2613445" y="2474616"/>
                    <a:pt x="2889776" y="2637325"/>
                  </a:cubicBezTo>
                  <a:cubicBezTo>
                    <a:pt x="2978370" y="2687082"/>
                    <a:pt x="3175001" y="2558447"/>
                    <a:pt x="2998691" y="2403914"/>
                  </a:cubicBezTo>
                  <a:cubicBezTo>
                    <a:pt x="2835268" y="2300874"/>
                    <a:pt x="2458468" y="2120587"/>
                    <a:pt x="2292410" y="2109292"/>
                  </a:cubicBezTo>
                  <a:close/>
                  <a:moveTo>
                    <a:pt x="3206785" y="1603188"/>
                  </a:moveTo>
                  <a:cubicBezTo>
                    <a:pt x="3072434" y="1591741"/>
                    <a:pt x="2414941" y="1693084"/>
                    <a:pt x="2420651" y="1739087"/>
                  </a:cubicBezTo>
                  <a:cubicBezTo>
                    <a:pt x="2441093" y="1812050"/>
                    <a:pt x="2920489" y="1870481"/>
                    <a:pt x="3241046" y="1879207"/>
                  </a:cubicBezTo>
                  <a:cubicBezTo>
                    <a:pt x="3377656" y="1864033"/>
                    <a:pt x="3431985" y="1611977"/>
                    <a:pt x="3206785" y="1603188"/>
                  </a:cubicBezTo>
                  <a:close/>
                  <a:moveTo>
                    <a:pt x="2950677" y="857698"/>
                  </a:moveTo>
                  <a:cubicBezTo>
                    <a:pt x="2927159" y="860050"/>
                    <a:pt x="2900469" y="866759"/>
                    <a:pt x="2870505" y="878864"/>
                  </a:cubicBezTo>
                  <a:cubicBezTo>
                    <a:pt x="2672862" y="977289"/>
                    <a:pt x="2275194" y="1268596"/>
                    <a:pt x="2227569" y="1381308"/>
                  </a:cubicBezTo>
                  <a:cubicBezTo>
                    <a:pt x="2281544" y="1434489"/>
                    <a:pt x="2730806" y="1244784"/>
                    <a:pt x="3013380" y="1093177"/>
                  </a:cubicBezTo>
                  <a:cubicBezTo>
                    <a:pt x="3117363" y="1016878"/>
                    <a:pt x="3055771" y="876954"/>
                    <a:pt x="2950677" y="857698"/>
                  </a:cubicBezTo>
                  <a:close/>
                  <a:moveTo>
                    <a:pt x="850835" y="587237"/>
                  </a:moveTo>
                  <a:cubicBezTo>
                    <a:pt x="745540" y="573769"/>
                    <a:pt x="690473" y="689557"/>
                    <a:pt x="691663" y="759803"/>
                  </a:cubicBezTo>
                  <a:lnTo>
                    <a:pt x="1286976" y="2250466"/>
                  </a:lnTo>
                  <a:cubicBezTo>
                    <a:pt x="1258401" y="2445728"/>
                    <a:pt x="1167913" y="2564791"/>
                    <a:pt x="1072663" y="2593366"/>
                  </a:cubicBezTo>
                  <a:cubicBezTo>
                    <a:pt x="963126" y="2639403"/>
                    <a:pt x="767864" y="2542565"/>
                    <a:pt x="744051" y="2731478"/>
                  </a:cubicBezTo>
                  <a:cubicBezTo>
                    <a:pt x="759926" y="2890228"/>
                    <a:pt x="947251" y="2896578"/>
                    <a:pt x="1191726" y="2836253"/>
                  </a:cubicBezTo>
                  <a:cubicBezTo>
                    <a:pt x="1426676" y="2750528"/>
                    <a:pt x="1466364" y="2636228"/>
                    <a:pt x="1696551" y="2036153"/>
                  </a:cubicBezTo>
                  <a:lnTo>
                    <a:pt x="2201376" y="769328"/>
                  </a:lnTo>
                  <a:cubicBezTo>
                    <a:pt x="2215663" y="650265"/>
                    <a:pt x="2048976" y="521678"/>
                    <a:pt x="1929913" y="683603"/>
                  </a:cubicBezTo>
                  <a:lnTo>
                    <a:pt x="1458426" y="1855178"/>
                  </a:lnTo>
                  <a:lnTo>
                    <a:pt x="972651" y="650266"/>
                  </a:lnTo>
                  <a:cubicBezTo>
                    <a:pt x="926614" y="610579"/>
                    <a:pt x="885934" y="591727"/>
                    <a:pt x="850835" y="587237"/>
                  </a:cubicBezTo>
                  <a:close/>
                  <a:moveTo>
                    <a:pt x="540732" y="0"/>
                  </a:moveTo>
                  <a:lnTo>
                    <a:pt x="3521315" y="0"/>
                  </a:lnTo>
                  <a:cubicBezTo>
                    <a:pt x="3819953" y="0"/>
                    <a:pt x="4062047" y="242093"/>
                    <a:pt x="4062047" y="540731"/>
                  </a:cubicBezTo>
                  <a:lnTo>
                    <a:pt x="4062047" y="2914645"/>
                  </a:lnTo>
                  <a:cubicBezTo>
                    <a:pt x="4062047" y="3213283"/>
                    <a:pt x="3819953" y="3455377"/>
                    <a:pt x="3521315" y="3455377"/>
                  </a:cubicBezTo>
                  <a:lnTo>
                    <a:pt x="1802912" y="3455377"/>
                  </a:lnTo>
                  <a:lnTo>
                    <a:pt x="1075041" y="3938955"/>
                  </a:lnTo>
                  <a:lnTo>
                    <a:pt x="1075041" y="3455377"/>
                  </a:lnTo>
                  <a:lnTo>
                    <a:pt x="540732" y="3455377"/>
                  </a:lnTo>
                  <a:cubicBezTo>
                    <a:pt x="242094" y="3455377"/>
                    <a:pt x="0" y="3213283"/>
                    <a:pt x="0" y="2914645"/>
                  </a:cubicBezTo>
                  <a:lnTo>
                    <a:pt x="0" y="540731"/>
                  </a:lnTo>
                  <a:cubicBezTo>
                    <a:pt x="0" y="242093"/>
                    <a:pt x="242094" y="0"/>
                    <a:pt x="540732" y="0"/>
                  </a:cubicBez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dirty="0">
                <a:solidFill>
                  <a:schemeClr val="tx1"/>
                </a:solidFill>
                <a:latin typeface="Segoe UI" pitchFamily="34" charset="0"/>
                <a:ea typeface="Segoe UI" pitchFamily="34" charset="0"/>
                <a:cs typeface="Segoe UI" pitchFamily="34" charset="0"/>
              </a:endParaRPr>
            </a:p>
          </p:txBody>
        </p:sp>
        <p:sp>
          <p:nvSpPr>
            <p:cNvPr id="180" name="Freeform 179"/>
            <p:cNvSpPr>
              <a:spLocks/>
            </p:cNvSpPr>
            <p:nvPr/>
          </p:nvSpPr>
          <p:spPr bwMode="auto">
            <a:xfrm>
              <a:off x="1673997" y="2433337"/>
              <a:ext cx="141378" cy="137129"/>
            </a:xfrm>
            <a:custGeom>
              <a:avLst/>
              <a:gdLst/>
              <a:ahLst/>
              <a:cxnLst/>
              <a:rect l="l" t="t" r="r" b="b"/>
              <a:pathLst>
                <a:path w="792162" h="768350">
                  <a:moveTo>
                    <a:pt x="428082" y="239713"/>
                  </a:moveTo>
                  <a:lnTo>
                    <a:pt x="415438" y="240512"/>
                  </a:lnTo>
                  <a:lnTo>
                    <a:pt x="403583" y="242907"/>
                  </a:lnTo>
                  <a:lnTo>
                    <a:pt x="391728" y="248496"/>
                  </a:lnTo>
                  <a:lnTo>
                    <a:pt x="380664" y="254884"/>
                  </a:lnTo>
                  <a:lnTo>
                    <a:pt x="369599" y="264466"/>
                  </a:lnTo>
                  <a:lnTo>
                    <a:pt x="360116" y="274846"/>
                  </a:lnTo>
                  <a:lnTo>
                    <a:pt x="349842" y="288420"/>
                  </a:lnTo>
                  <a:lnTo>
                    <a:pt x="340358" y="303591"/>
                  </a:lnTo>
                  <a:lnTo>
                    <a:pt x="331664" y="319561"/>
                  </a:lnTo>
                  <a:lnTo>
                    <a:pt x="324552" y="334732"/>
                  </a:lnTo>
                  <a:lnTo>
                    <a:pt x="318229" y="350701"/>
                  </a:lnTo>
                  <a:lnTo>
                    <a:pt x="312697" y="366671"/>
                  </a:lnTo>
                  <a:lnTo>
                    <a:pt x="308745" y="381842"/>
                  </a:lnTo>
                  <a:lnTo>
                    <a:pt x="306374" y="397013"/>
                  </a:lnTo>
                  <a:lnTo>
                    <a:pt x="304004" y="412184"/>
                  </a:lnTo>
                  <a:lnTo>
                    <a:pt x="303213" y="427355"/>
                  </a:lnTo>
                  <a:lnTo>
                    <a:pt x="304004" y="444922"/>
                  </a:lnTo>
                  <a:lnTo>
                    <a:pt x="307955" y="459294"/>
                  </a:lnTo>
                  <a:lnTo>
                    <a:pt x="312697" y="472868"/>
                  </a:lnTo>
                  <a:lnTo>
                    <a:pt x="319810" y="484845"/>
                  </a:lnTo>
                  <a:lnTo>
                    <a:pt x="324552" y="490435"/>
                  </a:lnTo>
                  <a:lnTo>
                    <a:pt x="328503" y="495226"/>
                  </a:lnTo>
                  <a:lnTo>
                    <a:pt x="334035" y="499218"/>
                  </a:lnTo>
                  <a:lnTo>
                    <a:pt x="339568" y="502412"/>
                  </a:lnTo>
                  <a:lnTo>
                    <a:pt x="345100" y="505606"/>
                  </a:lnTo>
                  <a:lnTo>
                    <a:pt x="351422" y="506404"/>
                  </a:lnTo>
                  <a:lnTo>
                    <a:pt x="358535" y="508001"/>
                  </a:lnTo>
                  <a:lnTo>
                    <a:pt x="366438" y="508001"/>
                  </a:lnTo>
                  <a:lnTo>
                    <a:pt x="379083" y="507203"/>
                  </a:lnTo>
                  <a:lnTo>
                    <a:pt x="390938" y="502412"/>
                  </a:lnTo>
                  <a:lnTo>
                    <a:pt x="402793" y="496024"/>
                  </a:lnTo>
                  <a:lnTo>
                    <a:pt x="413857" y="488039"/>
                  </a:lnTo>
                  <a:lnTo>
                    <a:pt x="424131" y="476062"/>
                  </a:lnTo>
                  <a:lnTo>
                    <a:pt x="434405" y="462488"/>
                  </a:lnTo>
                  <a:lnTo>
                    <a:pt x="443889" y="445720"/>
                  </a:lnTo>
                  <a:lnTo>
                    <a:pt x="451792" y="427355"/>
                  </a:lnTo>
                  <a:lnTo>
                    <a:pt x="459695" y="407393"/>
                  </a:lnTo>
                  <a:lnTo>
                    <a:pt x="466017" y="389028"/>
                  </a:lnTo>
                  <a:lnTo>
                    <a:pt x="472340" y="372260"/>
                  </a:lnTo>
                  <a:lnTo>
                    <a:pt x="477082" y="355492"/>
                  </a:lnTo>
                  <a:lnTo>
                    <a:pt x="481033" y="340321"/>
                  </a:lnTo>
                  <a:lnTo>
                    <a:pt x="483404" y="325949"/>
                  </a:lnTo>
                  <a:lnTo>
                    <a:pt x="484195" y="313173"/>
                  </a:lnTo>
                  <a:lnTo>
                    <a:pt x="485775" y="301196"/>
                  </a:lnTo>
                  <a:lnTo>
                    <a:pt x="484195" y="288420"/>
                  </a:lnTo>
                  <a:lnTo>
                    <a:pt x="481824" y="277242"/>
                  </a:lnTo>
                  <a:lnTo>
                    <a:pt x="476292" y="266063"/>
                  </a:lnTo>
                  <a:lnTo>
                    <a:pt x="469969" y="256481"/>
                  </a:lnTo>
                  <a:lnTo>
                    <a:pt x="466017" y="253287"/>
                  </a:lnTo>
                  <a:lnTo>
                    <a:pt x="462066" y="249295"/>
                  </a:lnTo>
                  <a:lnTo>
                    <a:pt x="457324" y="246900"/>
                  </a:lnTo>
                  <a:lnTo>
                    <a:pt x="451792" y="243706"/>
                  </a:lnTo>
                  <a:lnTo>
                    <a:pt x="446260" y="242109"/>
                  </a:lnTo>
                  <a:lnTo>
                    <a:pt x="440727" y="240512"/>
                  </a:lnTo>
                  <a:lnTo>
                    <a:pt x="434405" y="239713"/>
                  </a:lnTo>
                  <a:close/>
                  <a:moveTo>
                    <a:pt x="427466" y="0"/>
                  </a:moveTo>
                  <a:lnTo>
                    <a:pt x="446535" y="0"/>
                  </a:lnTo>
                  <a:lnTo>
                    <a:pt x="464809" y="1588"/>
                  </a:lnTo>
                  <a:lnTo>
                    <a:pt x="483084" y="3175"/>
                  </a:lnTo>
                  <a:lnTo>
                    <a:pt x="501359" y="5556"/>
                  </a:lnTo>
                  <a:lnTo>
                    <a:pt x="518839" y="8731"/>
                  </a:lnTo>
                  <a:lnTo>
                    <a:pt x="536319" y="11906"/>
                  </a:lnTo>
                  <a:lnTo>
                    <a:pt x="553004" y="15875"/>
                  </a:lnTo>
                  <a:lnTo>
                    <a:pt x="569689" y="20638"/>
                  </a:lnTo>
                  <a:lnTo>
                    <a:pt x="584786" y="26194"/>
                  </a:lnTo>
                  <a:lnTo>
                    <a:pt x="600677" y="32544"/>
                  </a:lnTo>
                  <a:lnTo>
                    <a:pt x="614979" y="38894"/>
                  </a:lnTo>
                  <a:lnTo>
                    <a:pt x="630075" y="46038"/>
                  </a:lnTo>
                  <a:lnTo>
                    <a:pt x="644377" y="53975"/>
                  </a:lnTo>
                  <a:lnTo>
                    <a:pt x="657884" y="62706"/>
                  </a:lnTo>
                  <a:lnTo>
                    <a:pt x="672186" y="71438"/>
                  </a:lnTo>
                  <a:lnTo>
                    <a:pt x="684899" y="81756"/>
                  </a:lnTo>
                  <a:lnTo>
                    <a:pt x="709529" y="103981"/>
                  </a:lnTo>
                  <a:lnTo>
                    <a:pt x="730982" y="127794"/>
                  </a:lnTo>
                  <a:lnTo>
                    <a:pt x="750051" y="153988"/>
                  </a:lnTo>
                  <a:lnTo>
                    <a:pt x="765148" y="181769"/>
                  </a:lnTo>
                  <a:lnTo>
                    <a:pt x="777066" y="211138"/>
                  </a:lnTo>
                  <a:lnTo>
                    <a:pt x="785011" y="242094"/>
                  </a:lnTo>
                  <a:lnTo>
                    <a:pt x="789779" y="273844"/>
                  </a:lnTo>
                  <a:lnTo>
                    <a:pt x="792162" y="308769"/>
                  </a:lnTo>
                  <a:lnTo>
                    <a:pt x="790573" y="336550"/>
                  </a:lnTo>
                  <a:lnTo>
                    <a:pt x="787395" y="362744"/>
                  </a:lnTo>
                  <a:lnTo>
                    <a:pt x="781833" y="387350"/>
                  </a:lnTo>
                  <a:lnTo>
                    <a:pt x="774682" y="411956"/>
                  </a:lnTo>
                  <a:lnTo>
                    <a:pt x="765148" y="435769"/>
                  </a:lnTo>
                  <a:lnTo>
                    <a:pt x="753229" y="457994"/>
                  </a:lnTo>
                  <a:lnTo>
                    <a:pt x="739722" y="480219"/>
                  </a:lnTo>
                  <a:lnTo>
                    <a:pt x="723037" y="500063"/>
                  </a:lnTo>
                  <a:lnTo>
                    <a:pt x="715091" y="510381"/>
                  </a:lnTo>
                  <a:lnTo>
                    <a:pt x="705557" y="518319"/>
                  </a:lnTo>
                  <a:lnTo>
                    <a:pt x="697611" y="527844"/>
                  </a:lnTo>
                  <a:lnTo>
                    <a:pt x="688077" y="534988"/>
                  </a:lnTo>
                  <a:lnTo>
                    <a:pt x="679337" y="542131"/>
                  </a:lnTo>
                  <a:lnTo>
                    <a:pt x="669802" y="548481"/>
                  </a:lnTo>
                  <a:lnTo>
                    <a:pt x="661062" y="554038"/>
                  </a:lnTo>
                  <a:lnTo>
                    <a:pt x="650733" y="559594"/>
                  </a:lnTo>
                  <a:lnTo>
                    <a:pt x="640404" y="564356"/>
                  </a:lnTo>
                  <a:lnTo>
                    <a:pt x="631664" y="568325"/>
                  </a:lnTo>
                  <a:lnTo>
                    <a:pt x="621335" y="572294"/>
                  </a:lnTo>
                  <a:lnTo>
                    <a:pt x="611800" y="574675"/>
                  </a:lnTo>
                  <a:lnTo>
                    <a:pt x="600677" y="577056"/>
                  </a:lnTo>
                  <a:lnTo>
                    <a:pt x="590348" y="578644"/>
                  </a:lnTo>
                  <a:lnTo>
                    <a:pt x="579224" y="579438"/>
                  </a:lnTo>
                  <a:lnTo>
                    <a:pt x="568100" y="579438"/>
                  </a:lnTo>
                  <a:lnTo>
                    <a:pt x="557771" y="579438"/>
                  </a:lnTo>
                  <a:lnTo>
                    <a:pt x="547442" y="577850"/>
                  </a:lnTo>
                  <a:lnTo>
                    <a:pt x="537113" y="576263"/>
                  </a:lnTo>
                  <a:lnTo>
                    <a:pt x="528373" y="573088"/>
                  </a:lnTo>
                  <a:lnTo>
                    <a:pt x="519633" y="569913"/>
                  </a:lnTo>
                  <a:lnTo>
                    <a:pt x="512482" y="565150"/>
                  </a:lnTo>
                  <a:lnTo>
                    <a:pt x="505331" y="560388"/>
                  </a:lnTo>
                  <a:lnTo>
                    <a:pt x="498975" y="554038"/>
                  </a:lnTo>
                  <a:lnTo>
                    <a:pt x="488646" y="541338"/>
                  </a:lnTo>
                  <a:lnTo>
                    <a:pt x="481495" y="527844"/>
                  </a:lnTo>
                  <a:lnTo>
                    <a:pt x="476728" y="514350"/>
                  </a:lnTo>
                  <a:lnTo>
                    <a:pt x="475139" y="501650"/>
                  </a:lnTo>
                  <a:lnTo>
                    <a:pt x="475139" y="498475"/>
                  </a:lnTo>
                  <a:lnTo>
                    <a:pt x="475139" y="494506"/>
                  </a:lnTo>
                  <a:lnTo>
                    <a:pt x="475139" y="489744"/>
                  </a:lnTo>
                  <a:lnTo>
                    <a:pt x="475933" y="484188"/>
                  </a:lnTo>
                  <a:lnTo>
                    <a:pt x="471166" y="493713"/>
                  </a:lnTo>
                  <a:lnTo>
                    <a:pt x="465604" y="501650"/>
                  </a:lnTo>
                  <a:lnTo>
                    <a:pt x="461631" y="508794"/>
                  </a:lnTo>
                  <a:lnTo>
                    <a:pt x="456069" y="516731"/>
                  </a:lnTo>
                  <a:lnTo>
                    <a:pt x="450508" y="523875"/>
                  </a:lnTo>
                  <a:lnTo>
                    <a:pt x="444946" y="530225"/>
                  </a:lnTo>
                  <a:lnTo>
                    <a:pt x="439384" y="535781"/>
                  </a:lnTo>
                  <a:lnTo>
                    <a:pt x="433822" y="541338"/>
                  </a:lnTo>
                  <a:lnTo>
                    <a:pt x="422699" y="550069"/>
                  </a:lnTo>
                  <a:lnTo>
                    <a:pt x="411575" y="558006"/>
                  </a:lnTo>
                  <a:lnTo>
                    <a:pt x="399657" y="564356"/>
                  </a:lnTo>
                  <a:lnTo>
                    <a:pt x="387739" y="569913"/>
                  </a:lnTo>
                  <a:lnTo>
                    <a:pt x="375026" y="573088"/>
                  </a:lnTo>
                  <a:lnTo>
                    <a:pt x="362313" y="577056"/>
                  </a:lnTo>
                  <a:lnTo>
                    <a:pt x="348806" y="577850"/>
                  </a:lnTo>
                  <a:lnTo>
                    <a:pt x="333709" y="578644"/>
                  </a:lnTo>
                  <a:lnTo>
                    <a:pt x="319408" y="577850"/>
                  </a:lnTo>
                  <a:lnTo>
                    <a:pt x="305900" y="576263"/>
                  </a:lnTo>
                  <a:lnTo>
                    <a:pt x="291598" y="573088"/>
                  </a:lnTo>
                  <a:lnTo>
                    <a:pt x="278886" y="568325"/>
                  </a:lnTo>
                  <a:lnTo>
                    <a:pt x="266968" y="561975"/>
                  </a:lnTo>
                  <a:lnTo>
                    <a:pt x="255844" y="554831"/>
                  </a:lnTo>
                  <a:lnTo>
                    <a:pt x="245515" y="546894"/>
                  </a:lnTo>
                  <a:lnTo>
                    <a:pt x="235186" y="536575"/>
                  </a:lnTo>
                  <a:lnTo>
                    <a:pt x="225651" y="525463"/>
                  </a:lnTo>
                  <a:lnTo>
                    <a:pt x="217706" y="512763"/>
                  </a:lnTo>
                  <a:lnTo>
                    <a:pt x="210555" y="500063"/>
                  </a:lnTo>
                  <a:lnTo>
                    <a:pt x="204993" y="484981"/>
                  </a:lnTo>
                  <a:lnTo>
                    <a:pt x="200226" y="469900"/>
                  </a:lnTo>
                  <a:lnTo>
                    <a:pt x="197842" y="453231"/>
                  </a:lnTo>
                  <a:lnTo>
                    <a:pt x="195458" y="434975"/>
                  </a:lnTo>
                  <a:lnTo>
                    <a:pt x="194664" y="416719"/>
                  </a:lnTo>
                  <a:lnTo>
                    <a:pt x="195458" y="394494"/>
                  </a:lnTo>
                  <a:lnTo>
                    <a:pt x="198637" y="373856"/>
                  </a:lnTo>
                  <a:lnTo>
                    <a:pt x="203404" y="351631"/>
                  </a:lnTo>
                  <a:lnTo>
                    <a:pt x="210555" y="330994"/>
                  </a:lnTo>
                  <a:lnTo>
                    <a:pt x="218500" y="310356"/>
                  </a:lnTo>
                  <a:lnTo>
                    <a:pt x="228829" y="289719"/>
                  </a:lnTo>
                  <a:lnTo>
                    <a:pt x="241542" y="270669"/>
                  </a:lnTo>
                  <a:lnTo>
                    <a:pt x="255049" y="250031"/>
                  </a:lnTo>
                  <a:lnTo>
                    <a:pt x="262995" y="241300"/>
                  </a:lnTo>
                  <a:lnTo>
                    <a:pt x="270940" y="231775"/>
                  </a:lnTo>
                  <a:lnTo>
                    <a:pt x="278886" y="223838"/>
                  </a:lnTo>
                  <a:lnTo>
                    <a:pt x="287626" y="216694"/>
                  </a:lnTo>
                  <a:lnTo>
                    <a:pt x="295571" y="209550"/>
                  </a:lnTo>
                  <a:lnTo>
                    <a:pt x="305106" y="203200"/>
                  </a:lnTo>
                  <a:lnTo>
                    <a:pt x="313846" y="197644"/>
                  </a:lnTo>
                  <a:lnTo>
                    <a:pt x="323380" y="192881"/>
                  </a:lnTo>
                  <a:lnTo>
                    <a:pt x="332120" y="188119"/>
                  </a:lnTo>
                  <a:lnTo>
                    <a:pt x="342449" y="184150"/>
                  </a:lnTo>
                  <a:lnTo>
                    <a:pt x="351984" y="180975"/>
                  </a:lnTo>
                  <a:lnTo>
                    <a:pt x="362313" y="177800"/>
                  </a:lnTo>
                  <a:lnTo>
                    <a:pt x="372642" y="176213"/>
                  </a:lnTo>
                  <a:lnTo>
                    <a:pt x="382177" y="174625"/>
                  </a:lnTo>
                  <a:lnTo>
                    <a:pt x="393300" y="173038"/>
                  </a:lnTo>
                  <a:lnTo>
                    <a:pt x="404424" y="173038"/>
                  </a:lnTo>
                  <a:lnTo>
                    <a:pt x="417137" y="173038"/>
                  </a:lnTo>
                  <a:lnTo>
                    <a:pt x="428260" y="175419"/>
                  </a:lnTo>
                  <a:lnTo>
                    <a:pt x="439384" y="177006"/>
                  </a:lnTo>
                  <a:lnTo>
                    <a:pt x="450508" y="180975"/>
                  </a:lnTo>
                  <a:lnTo>
                    <a:pt x="459248" y="184150"/>
                  </a:lnTo>
                  <a:lnTo>
                    <a:pt x="468782" y="188913"/>
                  </a:lnTo>
                  <a:lnTo>
                    <a:pt x="476728" y="195263"/>
                  </a:lnTo>
                  <a:lnTo>
                    <a:pt x="483879" y="201613"/>
                  </a:lnTo>
                  <a:lnTo>
                    <a:pt x="489440" y="207169"/>
                  </a:lnTo>
                  <a:lnTo>
                    <a:pt x="494208" y="212725"/>
                  </a:lnTo>
                  <a:lnTo>
                    <a:pt x="498975" y="219075"/>
                  </a:lnTo>
                  <a:lnTo>
                    <a:pt x="502153" y="225425"/>
                  </a:lnTo>
                  <a:lnTo>
                    <a:pt x="505331" y="231775"/>
                  </a:lnTo>
                  <a:lnTo>
                    <a:pt x="509304" y="238125"/>
                  </a:lnTo>
                  <a:lnTo>
                    <a:pt x="511688" y="244475"/>
                  </a:lnTo>
                  <a:lnTo>
                    <a:pt x="513277" y="252413"/>
                  </a:lnTo>
                  <a:lnTo>
                    <a:pt x="530757" y="189706"/>
                  </a:lnTo>
                  <a:lnTo>
                    <a:pt x="624513" y="189706"/>
                  </a:lnTo>
                  <a:lnTo>
                    <a:pt x="560949" y="403225"/>
                  </a:lnTo>
                  <a:lnTo>
                    <a:pt x="557771" y="415131"/>
                  </a:lnTo>
                  <a:lnTo>
                    <a:pt x="554593" y="426244"/>
                  </a:lnTo>
                  <a:lnTo>
                    <a:pt x="552209" y="434181"/>
                  </a:lnTo>
                  <a:lnTo>
                    <a:pt x="549826" y="441325"/>
                  </a:lnTo>
                  <a:lnTo>
                    <a:pt x="549031" y="447675"/>
                  </a:lnTo>
                  <a:lnTo>
                    <a:pt x="548237" y="453231"/>
                  </a:lnTo>
                  <a:lnTo>
                    <a:pt x="547442" y="458788"/>
                  </a:lnTo>
                  <a:lnTo>
                    <a:pt x="547442" y="463550"/>
                  </a:lnTo>
                  <a:lnTo>
                    <a:pt x="548237" y="470694"/>
                  </a:lnTo>
                  <a:lnTo>
                    <a:pt x="549826" y="477838"/>
                  </a:lnTo>
                  <a:lnTo>
                    <a:pt x="553004" y="484188"/>
                  </a:lnTo>
                  <a:lnTo>
                    <a:pt x="557771" y="492125"/>
                  </a:lnTo>
                  <a:lnTo>
                    <a:pt x="560155" y="494506"/>
                  </a:lnTo>
                  <a:lnTo>
                    <a:pt x="562539" y="496888"/>
                  </a:lnTo>
                  <a:lnTo>
                    <a:pt x="566511" y="499269"/>
                  </a:lnTo>
                  <a:lnTo>
                    <a:pt x="570484" y="500856"/>
                  </a:lnTo>
                  <a:lnTo>
                    <a:pt x="573662" y="502444"/>
                  </a:lnTo>
                  <a:lnTo>
                    <a:pt x="578429" y="504031"/>
                  </a:lnTo>
                  <a:lnTo>
                    <a:pt x="583197" y="504825"/>
                  </a:lnTo>
                  <a:lnTo>
                    <a:pt x="588759" y="504825"/>
                  </a:lnTo>
                  <a:lnTo>
                    <a:pt x="599882" y="504031"/>
                  </a:lnTo>
                  <a:lnTo>
                    <a:pt x="609417" y="500856"/>
                  </a:lnTo>
                  <a:lnTo>
                    <a:pt x="620540" y="496888"/>
                  </a:lnTo>
                  <a:lnTo>
                    <a:pt x="630869" y="490538"/>
                  </a:lnTo>
                  <a:lnTo>
                    <a:pt x="641993" y="482600"/>
                  </a:lnTo>
                  <a:lnTo>
                    <a:pt x="651528" y="473869"/>
                  </a:lnTo>
                  <a:lnTo>
                    <a:pt x="662651" y="461963"/>
                  </a:lnTo>
                  <a:lnTo>
                    <a:pt x="672980" y="448469"/>
                  </a:lnTo>
                  <a:lnTo>
                    <a:pt x="682515" y="434181"/>
                  </a:lnTo>
                  <a:lnTo>
                    <a:pt x="691255" y="419100"/>
                  </a:lnTo>
                  <a:lnTo>
                    <a:pt x="698406" y="402431"/>
                  </a:lnTo>
                  <a:lnTo>
                    <a:pt x="704762" y="384969"/>
                  </a:lnTo>
                  <a:lnTo>
                    <a:pt x="709529" y="366713"/>
                  </a:lnTo>
                  <a:lnTo>
                    <a:pt x="712708" y="346075"/>
                  </a:lnTo>
                  <a:lnTo>
                    <a:pt x="715091" y="324644"/>
                  </a:lnTo>
                  <a:lnTo>
                    <a:pt x="715886" y="302419"/>
                  </a:lnTo>
                  <a:lnTo>
                    <a:pt x="714297" y="270669"/>
                  </a:lnTo>
                  <a:lnTo>
                    <a:pt x="708735" y="240506"/>
                  </a:lnTo>
                  <a:lnTo>
                    <a:pt x="699200" y="211931"/>
                  </a:lnTo>
                  <a:lnTo>
                    <a:pt x="686488" y="185738"/>
                  </a:lnTo>
                  <a:lnTo>
                    <a:pt x="670597" y="163513"/>
                  </a:lnTo>
                  <a:lnTo>
                    <a:pt x="650733" y="142081"/>
                  </a:lnTo>
                  <a:lnTo>
                    <a:pt x="626897" y="123825"/>
                  </a:lnTo>
                  <a:lnTo>
                    <a:pt x="599882" y="108744"/>
                  </a:lnTo>
                  <a:lnTo>
                    <a:pt x="590348" y="103981"/>
                  </a:lnTo>
                  <a:lnTo>
                    <a:pt x="581608" y="99219"/>
                  </a:lnTo>
                  <a:lnTo>
                    <a:pt x="572073" y="95250"/>
                  </a:lnTo>
                  <a:lnTo>
                    <a:pt x="561744" y="92075"/>
                  </a:lnTo>
                  <a:lnTo>
                    <a:pt x="552209" y="88900"/>
                  </a:lnTo>
                  <a:lnTo>
                    <a:pt x="542675" y="85725"/>
                  </a:lnTo>
                  <a:lnTo>
                    <a:pt x="532346" y="82550"/>
                  </a:lnTo>
                  <a:lnTo>
                    <a:pt x="522811" y="80169"/>
                  </a:lnTo>
                  <a:lnTo>
                    <a:pt x="512482" y="77788"/>
                  </a:lnTo>
                  <a:lnTo>
                    <a:pt x="501359" y="76200"/>
                  </a:lnTo>
                  <a:lnTo>
                    <a:pt x="491824" y="74613"/>
                  </a:lnTo>
                  <a:lnTo>
                    <a:pt x="480700" y="73819"/>
                  </a:lnTo>
                  <a:lnTo>
                    <a:pt x="469577" y="71438"/>
                  </a:lnTo>
                  <a:lnTo>
                    <a:pt x="458453" y="71438"/>
                  </a:lnTo>
                  <a:lnTo>
                    <a:pt x="446535" y="70644"/>
                  </a:lnTo>
                  <a:lnTo>
                    <a:pt x="435411" y="70644"/>
                  </a:lnTo>
                  <a:lnTo>
                    <a:pt x="415548" y="70644"/>
                  </a:lnTo>
                  <a:lnTo>
                    <a:pt x="395684" y="73025"/>
                  </a:lnTo>
                  <a:lnTo>
                    <a:pt x="375026" y="74613"/>
                  </a:lnTo>
                  <a:lnTo>
                    <a:pt x="356751" y="76994"/>
                  </a:lnTo>
                  <a:lnTo>
                    <a:pt x="337682" y="80963"/>
                  </a:lnTo>
                  <a:lnTo>
                    <a:pt x="320202" y="85725"/>
                  </a:lnTo>
                  <a:lnTo>
                    <a:pt x="301928" y="91281"/>
                  </a:lnTo>
                  <a:lnTo>
                    <a:pt x="285242" y="96838"/>
                  </a:lnTo>
                  <a:lnTo>
                    <a:pt x="269351" y="103981"/>
                  </a:lnTo>
                  <a:lnTo>
                    <a:pt x="252666" y="111125"/>
                  </a:lnTo>
                  <a:lnTo>
                    <a:pt x="236775" y="119063"/>
                  </a:lnTo>
                  <a:lnTo>
                    <a:pt x="222473" y="128588"/>
                  </a:lnTo>
                  <a:lnTo>
                    <a:pt x="207377" y="138906"/>
                  </a:lnTo>
                  <a:lnTo>
                    <a:pt x="193869" y="149225"/>
                  </a:lnTo>
                  <a:lnTo>
                    <a:pt x="180362" y="161131"/>
                  </a:lnTo>
                  <a:lnTo>
                    <a:pt x="167649" y="173038"/>
                  </a:lnTo>
                  <a:lnTo>
                    <a:pt x="146197" y="196850"/>
                  </a:lnTo>
                  <a:lnTo>
                    <a:pt x="127922" y="221456"/>
                  </a:lnTo>
                  <a:lnTo>
                    <a:pt x="112826" y="247650"/>
                  </a:lnTo>
                  <a:lnTo>
                    <a:pt x="99318" y="274638"/>
                  </a:lnTo>
                  <a:lnTo>
                    <a:pt x="89784" y="303213"/>
                  </a:lnTo>
                  <a:lnTo>
                    <a:pt x="82633" y="332581"/>
                  </a:lnTo>
                  <a:lnTo>
                    <a:pt x="78660" y="362744"/>
                  </a:lnTo>
                  <a:lnTo>
                    <a:pt x="77071" y="394494"/>
                  </a:lnTo>
                  <a:lnTo>
                    <a:pt x="78660" y="429419"/>
                  </a:lnTo>
                  <a:lnTo>
                    <a:pt x="83428" y="463550"/>
                  </a:lnTo>
                  <a:lnTo>
                    <a:pt x="91373" y="494506"/>
                  </a:lnTo>
                  <a:lnTo>
                    <a:pt x="103291" y="523875"/>
                  </a:lnTo>
                  <a:lnTo>
                    <a:pt x="119182" y="550863"/>
                  </a:lnTo>
                  <a:lnTo>
                    <a:pt x="137457" y="577056"/>
                  </a:lnTo>
                  <a:lnTo>
                    <a:pt x="158909" y="600869"/>
                  </a:lnTo>
                  <a:lnTo>
                    <a:pt x="183540" y="622300"/>
                  </a:lnTo>
                  <a:lnTo>
                    <a:pt x="195458" y="631825"/>
                  </a:lnTo>
                  <a:lnTo>
                    <a:pt x="208966" y="639763"/>
                  </a:lnTo>
                  <a:lnTo>
                    <a:pt x="220884" y="648494"/>
                  </a:lnTo>
                  <a:lnTo>
                    <a:pt x="234391" y="654844"/>
                  </a:lnTo>
                  <a:lnTo>
                    <a:pt x="247104" y="661988"/>
                  </a:lnTo>
                  <a:lnTo>
                    <a:pt x="260611" y="667544"/>
                  </a:lnTo>
                  <a:lnTo>
                    <a:pt x="274913" y="673100"/>
                  </a:lnTo>
                  <a:lnTo>
                    <a:pt x="289215" y="678656"/>
                  </a:lnTo>
                  <a:lnTo>
                    <a:pt x="303517" y="681831"/>
                  </a:lnTo>
                  <a:lnTo>
                    <a:pt x="318613" y="686594"/>
                  </a:lnTo>
                  <a:lnTo>
                    <a:pt x="333709" y="689769"/>
                  </a:lnTo>
                  <a:lnTo>
                    <a:pt x="349600" y="692150"/>
                  </a:lnTo>
                  <a:lnTo>
                    <a:pt x="365491" y="693738"/>
                  </a:lnTo>
                  <a:lnTo>
                    <a:pt x="381382" y="696119"/>
                  </a:lnTo>
                  <a:lnTo>
                    <a:pt x="398068" y="696913"/>
                  </a:lnTo>
                  <a:lnTo>
                    <a:pt x="414753" y="696913"/>
                  </a:lnTo>
                  <a:lnTo>
                    <a:pt x="426671" y="696913"/>
                  </a:lnTo>
                  <a:lnTo>
                    <a:pt x="437795" y="696119"/>
                  </a:lnTo>
                  <a:lnTo>
                    <a:pt x="449713" y="696119"/>
                  </a:lnTo>
                  <a:lnTo>
                    <a:pt x="460042" y="694531"/>
                  </a:lnTo>
                  <a:lnTo>
                    <a:pt x="471960" y="692944"/>
                  </a:lnTo>
                  <a:lnTo>
                    <a:pt x="483084" y="692150"/>
                  </a:lnTo>
                  <a:lnTo>
                    <a:pt x="494208" y="690563"/>
                  </a:lnTo>
                  <a:lnTo>
                    <a:pt x="505331" y="687388"/>
                  </a:lnTo>
                  <a:lnTo>
                    <a:pt x="516455" y="685800"/>
                  </a:lnTo>
                  <a:lnTo>
                    <a:pt x="527579" y="683419"/>
                  </a:lnTo>
                  <a:lnTo>
                    <a:pt x="537113" y="680244"/>
                  </a:lnTo>
                  <a:lnTo>
                    <a:pt x="548237" y="676275"/>
                  </a:lnTo>
                  <a:lnTo>
                    <a:pt x="558566" y="673894"/>
                  </a:lnTo>
                  <a:lnTo>
                    <a:pt x="569689" y="669925"/>
                  </a:lnTo>
                  <a:lnTo>
                    <a:pt x="579224" y="666750"/>
                  </a:lnTo>
                  <a:lnTo>
                    <a:pt x="589553" y="661988"/>
                  </a:lnTo>
                  <a:lnTo>
                    <a:pt x="600677" y="657225"/>
                  </a:lnTo>
                  <a:lnTo>
                    <a:pt x="611800" y="651669"/>
                  </a:lnTo>
                  <a:lnTo>
                    <a:pt x="622129" y="646113"/>
                  </a:lnTo>
                  <a:lnTo>
                    <a:pt x="634048" y="639763"/>
                  </a:lnTo>
                  <a:lnTo>
                    <a:pt x="645171" y="633413"/>
                  </a:lnTo>
                  <a:lnTo>
                    <a:pt x="657089" y="626269"/>
                  </a:lnTo>
                  <a:lnTo>
                    <a:pt x="669008" y="619125"/>
                  </a:lnTo>
                  <a:lnTo>
                    <a:pt x="680926" y="610394"/>
                  </a:lnTo>
                  <a:lnTo>
                    <a:pt x="692844" y="602456"/>
                  </a:lnTo>
                  <a:lnTo>
                    <a:pt x="728599" y="657225"/>
                  </a:lnTo>
                  <a:lnTo>
                    <a:pt x="719859" y="663575"/>
                  </a:lnTo>
                  <a:lnTo>
                    <a:pt x="711119" y="669925"/>
                  </a:lnTo>
                  <a:lnTo>
                    <a:pt x="702379" y="676275"/>
                  </a:lnTo>
                  <a:lnTo>
                    <a:pt x="692844" y="683419"/>
                  </a:lnTo>
                  <a:lnTo>
                    <a:pt x="684104" y="688181"/>
                  </a:lnTo>
                  <a:lnTo>
                    <a:pt x="674569" y="693738"/>
                  </a:lnTo>
                  <a:lnTo>
                    <a:pt x="665829" y="699294"/>
                  </a:lnTo>
                  <a:lnTo>
                    <a:pt x="656295" y="704850"/>
                  </a:lnTo>
                  <a:lnTo>
                    <a:pt x="645966" y="709613"/>
                  </a:lnTo>
                  <a:lnTo>
                    <a:pt x="637226" y="715169"/>
                  </a:lnTo>
                  <a:lnTo>
                    <a:pt x="626897" y="719931"/>
                  </a:lnTo>
                  <a:lnTo>
                    <a:pt x="618157" y="723900"/>
                  </a:lnTo>
                  <a:lnTo>
                    <a:pt x="607828" y="727869"/>
                  </a:lnTo>
                  <a:lnTo>
                    <a:pt x="597499" y="732631"/>
                  </a:lnTo>
                  <a:lnTo>
                    <a:pt x="587964" y="735806"/>
                  </a:lnTo>
                  <a:lnTo>
                    <a:pt x="577635" y="739775"/>
                  </a:lnTo>
                  <a:lnTo>
                    <a:pt x="567306" y="743744"/>
                  </a:lnTo>
                  <a:lnTo>
                    <a:pt x="557771" y="746125"/>
                  </a:lnTo>
                  <a:lnTo>
                    <a:pt x="547442" y="749300"/>
                  </a:lnTo>
                  <a:lnTo>
                    <a:pt x="536319" y="751681"/>
                  </a:lnTo>
                  <a:lnTo>
                    <a:pt x="525989" y="754063"/>
                  </a:lnTo>
                  <a:lnTo>
                    <a:pt x="515660" y="757238"/>
                  </a:lnTo>
                  <a:lnTo>
                    <a:pt x="505331" y="758825"/>
                  </a:lnTo>
                  <a:lnTo>
                    <a:pt x="494208" y="761206"/>
                  </a:lnTo>
                  <a:lnTo>
                    <a:pt x="483879" y="762794"/>
                  </a:lnTo>
                  <a:lnTo>
                    <a:pt x="473549" y="763588"/>
                  </a:lnTo>
                  <a:lnTo>
                    <a:pt x="462426" y="765175"/>
                  </a:lnTo>
                  <a:lnTo>
                    <a:pt x="452097" y="765969"/>
                  </a:lnTo>
                  <a:lnTo>
                    <a:pt x="440973" y="767556"/>
                  </a:lnTo>
                  <a:lnTo>
                    <a:pt x="429849" y="767556"/>
                  </a:lnTo>
                  <a:lnTo>
                    <a:pt x="419520" y="768350"/>
                  </a:lnTo>
                  <a:lnTo>
                    <a:pt x="408397" y="768350"/>
                  </a:lnTo>
                  <a:lnTo>
                    <a:pt x="383766" y="767556"/>
                  </a:lnTo>
                  <a:lnTo>
                    <a:pt x="359135" y="765969"/>
                  </a:lnTo>
                  <a:lnTo>
                    <a:pt x="335299" y="763588"/>
                  </a:lnTo>
                  <a:lnTo>
                    <a:pt x="312257" y="759619"/>
                  </a:lnTo>
                  <a:lnTo>
                    <a:pt x="290009" y="755650"/>
                  </a:lnTo>
                  <a:lnTo>
                    <a:pt x="267762" y="750094"/>
                  </a:lnTo>
                  <a:lnTo>
                    <a:pt x="247898" y="743744"/>
                  </a:lnTo>
                  <a:lnTo>
                    <a:pt x="228035" y="735806"/>
                  </a:lnTo>
                  <a:lnTo>
                    <a:pt x="208966" y="727869"/>
                  </a:lnTo>
                  <a:lnTo>
                    <a:pt x="189102" y="717550"/>
                  </a:lnTo>
                  <a:lnTo>
                    <a:pt x="171622" y="708025"/>
                  </a:lnTo>
                  <a:lnTo>
                    <a:pt x="154937" y="696913"/>
                  </a:lnTo>
                  <a:lnTo>
                    <a:pt x="138251" y="684213"/>
                  </a:lnTo>
                  <a:lnTo>
                    <a:pt x="121566" y="669925"/>
                  </a:lnTo>
                  <a:lnTo>
                    <a:pt x="107264" y="656431"/>
                  </a:lnTo>
                  <a:lnTo>
                    <a:pt x="92168" y="640556"/>
                  </a:lnTo>
                  <a:lnTo>
                    <a:pt x="70715" y="614363"/>
                  </a:lnTo>
                  <a:lnTo>
                    <a:pt x="52440" y="585788"/>
                  </a:lnTo>
                  <a:lnTo>
                    <a:pt x="36549" y="556419"/>
                  </a:lnTo>
                  <a:lnTo>
                    <a:pt x="23042" y="526256"/>
                  </a:lnTo>
                  <a:lnTo>
                    <a:pt x="12713" y="494506"/>
                  </a:lnTo>
                  <a:lnTo>
                    <a:pt x="5562" y="461963"/>
                  </a:lnTo>
                  <a:lnTo>
                    <a:pt x="1589" y="427831"/>
                  </a:lnTo>
                  <a:lnTo>
                    <a:pt x="0" y="392113"/>
                  </a:lnTo>
                  <a:lnTo>
                    <a:pt x="1589" y="352425"/>
                  </a:lnTo>
                  <a:lnTo>
                    <a:pt x="7151" y="314325"/>
                  </a:lnTo>
                  <a:lnTo>
                    <a:pt x="16686" y="278606"/>
                  </a:lnTo>
                  <a:lnTo>
                    <a:pt x="29398" y="242888"/>
                  </a:lnTo>
                  <a:lnTo>
                    <a:pt x="44495" y="209550"/>
                  </a:lnTo>
                  <a:lnTo>
                    <a:pt x="65153" y="177800"/>
                  </a:lnTo>
                  <a:lnTo>
                    <a:pt x="87400" y="147638"/>
                  </a:lnTo>
                  <a:lnTo>
                    <a:pt x="115209" y="119063"/>
                  </a:lnTo>
                  <a:lnTo>
                    <a:pt x="131100" y="104775"/>
                  </a:lnTo>
                  <a:lnTo>
                    <a:pt x="146991" y="91281"/>
                  </a:lnTo>
                  <a:lnTo>
                    <a:pt x="163677" y="79375"/>
                  </a:lnTo>
                  <a:lnTo>
                    <a:pt x="180362" y="67469"/>
                  </a:lnTo>
                  <a:lnTo>
                    <a:pt x="198637" y="56356"/>
                  </a:lnTo>
                  <a:lnTo>
                    <a:pt x="216911" y="46831"/>
                  </a:lnTo>
                  <a:lnTo>
                    <a:pt x="235186" y="38100"/>
                  </a:lnTo>
                  <a:lnTo>
                    <a:pt x="254255" y="29369"/>
                  </a:lnTo>
                  <a:lnTo>
                    <a:pt x="274913" y="23019"/>
                  </a:lnTo>
                  <a:lnTo>
                    <a:pt x="294777" y="16669"/>
                  </a:lnTo>
                  <a:lnTo>
                    <a:pt x="315435" y="11906"/>
                  </a:lnTo>
                  <a:lnTo>
                    <a:pt x="336888" y="7938"/>
                  </a:lnTo>
                  <a:lnTo>
                    <a:pt x="359135" y="4763"/>
                  </a:lnTo>
                  <a:lnTo>
                    <a:pt x="380588" y="2381"/>
                  </a:lnTo>
                  <a:lnTo>
                    <a:pt x="403629" y="1588"/>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grpSp>
          <p:nvGrpSpPr>
            <p:cNvPr id="181" name="Group 180"/>
            <p:cNvGrpSpPr/>
            <p:nvPr/>
          </p:nvGrpSpPr>
          <p:grpSpPr>
            <a:xfrm>
              <a:off x="1224341" y="2393865"/>
              <a:ext cx="181084" cy="156444"/>
              <a:chOff x="896533" y="785004"/>
              <a:chExt cx="684622" cy="591473"/>
            </a:xfrm>
            <a:solidFill>
              <a:schemeClr val="bg1">
                <a:lumMod val="50000"/>
              </a:schemeClr>
            </a:solidFill>
          </p:grpSpPr>
          <p:sp>
            <p:nvSpPr>
              <p:cNvPr id="182" name="Oval 181"/>
              <p:cNvSpPr>
                <a:spLocks noChangeArrowheads="1"/>
              </p:cNvSpPr>
              <p:nvPr/>
            </p:nvSpPr>
            <p:spPr bwMode="auto">
              <a:xfrm>
                <a:off x="1135915" y="785004"/>
                <a:ext cx="218444" cy="218810"/>
              </a:xfrm>
              <a:prstGeom prst="ellipse">
                <a:avLst/>
              </a:prstGeom>
              <a:grp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pPr>
                <a:endParaRPr lang="en-US" sz="2200" dirty="0">
                  <a:latin typeface="Segoe"/>
                </a:endParaRPr>
              </a:p>
            </p:txBody>
          </p:sp>
          <p:sp>
            <p:nvSpPr>
              <p:cNvPr id="183" name="Freeform 182"/>
              <p:cNvSpPr>
                <a:spLocks/>
              </p:cNvSpPr>
              <p:nvPr/>
            </p:nvSpPr>
            <p:spPr bwMode="auto">
              <a:xfrm>
                <a:off x="1046649" y="1029576"/>
                <a:ext cx="390806" cy="346901"/>
              </a:xfrm>
              <a:custGeom>
                <a:avLst/>
                <a:gdLst>
                  <a:gd name="T0" fmla="*/ 420 w 456"/>
                  <a:gd name="T1" fmla="*/ 125 h 405"/>
                  <a:gd name="T2" fmla="*/ 311 w 456"/>
                  <a:gd name="T3" fmla="*/ 0 h 405"/>
                  <a:gd name="T4" fmla="*/ 233 w 456"/>
                  <a:gd name="T5" fmla="*/ 97 h 405"/>
                  <a:gd name="T6" fmla="*/ 223 w 456"/>
                  <a:gd name="T7" fmla="*/ 97 h 405"/>
                  <a:gd name="T8" fmla="*/ 145 w 456"/>
                  <a:gd name="T9" fmla="*/ 0 h 405"/>
                  <a:gd name="T10" fmla="*/ 37 w 456"/>
                  <a:gd name="T11" fmla="*/ 125 h 405"/>
                  <a:gd name="T12" fmla="*/ 30 w 456"/>
                  <a:gd name="T13" fmla="*/ 307 h 405"/>
                  <a:gd name="T14" fmla="*/ 220 w 456"/>
                  <a:gd name="T15" fmla="*/ 405 h 405"/>
                  <a:gd name="T16" fmla="*/ 236 w 456"/>
                  <a:gd name="T17" fmla="*/ 405 h 405"/>
                  <a:gd name="T18" fmla="*/ 427 w 456"/>
                  <a:gd name="T19" fmla="*/ 307 h 405"/>
                  <a:gd name="T20" fmla="*/ 420 w 456"/>
                  <a:gd name="T21" fmla="*/ 125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6" h="405">
                    <a:moveTo>
                      <a:pt x="420" y="125"/>
                    </a:moveTo>
                    <a:cubicBezTo>
                      <a:pt x="369" y="38"/>
                      <a:pt x="327" y="0"/>
                      <a:pt x="311" y="0"/>
                    </a:cubicBezTo>
                    <a:cubicBezTo>
                      <a:pt x="296" y="0"/>
                      <a:pt x="247" y="97"/>
                      <a:pt x="233" y="97"/>
                    </a:cubicBezTo>
                    <a:cubicBezTo>
                      <a:pt x="223" y="97"/>
                      <a:pt x="223" y="97"/>
                      <a:pt x="223" y="97"/>
                    </a:cubicBezTo>
                    <a:cubicBezTo>
                      <a:pt x="210" y="97"/>
                      <a:pt x="161" y="0"/>
                      <a:pt x="145" y="0"/>
                    </a:cubicBezTo>
                    <a:cubicBezTo>
                      <a:pt x="130" y="0"/>
                      <a:pt x="88" y="38"/>
                      <a:pt x="37" y="125"/>
                    </a:cubicBezTo>
                    <a:cubicBezTo>
                      <a:pt x="13" y="165"/>
                      <a:pt x="0" y="251"/>
                      <a:pt x="30" y="307"/>
                    </a:cubicBezTo>
                    <a:cubicBezTo>
                      <a:pt x="64" y="372"/>
                      <a:pt x="149" y="405"/>
                      <a:pt x="220" y="405"/>
                    </a:cubicBezTo>
                    <a:cubicBezTo>
                      <a:pt x="236" y="405"/>
                      <a:pt x="236" y="405"/>
                      <a:pt x="236" y="405"/>
                    </a:cubicBezTo>
                    <a:cubicBezTo>
                      <a:pt x="308" y="405"/>
                      <a:pt x="393" y="372"/>
                      <a:pt x="427" y="307"/>
                    </a:cubicBezTo>
                    <a:cubicBezTo>
                      <a:pt x="456" y="251"/>
                      <a:pt x="444" y="165"/>
                      <a:pt x="420" y="125"/>
                    </a:cubicBezTo>
                    <a:close/>
                  </a:path>
                </a:pathLst>
              </a:custGeom>
              <a:grp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pPr>
                <a:endParaRPr lang="en-US" sz="2200" dirty="0">
                  <a:latin typeface="Segoe"/>
                </a:endParaRPr>
              </a:p>
            </p:txBody>
          </p:sp>
          <p:grpSp>
            <p:nvGrpSpPr>
              <p:cNvPr id="184" name="Group 183"/>
              <p:cNvGrpSpPr/>
              <p:nvPr/>
            </p:nvGrpSpPr>
            <p:grpSpPr>
              <a:xfrm>
                <a:off x="896533" y="873212"/>
                <a:ext cx="201231" cy="369680"/>
                <a:chOff x="851065" y="755975"/>
                <a:chExt cx="287391" cy="527971"/>
              </a:xfrm>
              <a:grpFill/>
            </p:grpSpPr>
            <p:sp>
              <p:nvSpPr>
                <p:cNvPr id="188" name="Oval 187"/>
                <p:cNvSpPr>
                  <a:spLocks noChangeArrowheads="1"/>
                </p:cNvSpPr>
                <p:nvPr/>
              </p:nvSpPr>
              <p:spPr bwMode="auto">
                <a:xfrm>
                  <a:off x="930896" y="755975"/>
                  <a:ext cx="194494" cy="195584"/>
                </a:xfrm>
                <a:prstGeom prst="ellipse">
                  <a:avLst/>
                </a:prstGeom>
                <a:grp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pPr>
                  <a:endParaRPr lang="en-US" sz="2200" dirty="0">
                    <a:latin typeface="Segoe"/>
                  </a:endParaRPr>
                </a:p>
              </p:txBody>
            </p:sp>
            <p:sp>
              <p:nvSpPr>
                <p:cNvPr id="189" name="Freeform 188"/>
                <p:cNvSpPr>
                  <a:spLocks/>
                </p:cNvSpPr>
                <p:nvPr/>
              </p:nvSpPr>
              <p:spPr bwMode="auto">
                <a:xfrm>
                  <a:off x="851065" y="973697"/>
                  <a:ext cx="287391" cy="310249"/>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grp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pPr>
                  <a:endParaRPr lang="en-US" sz="2200" dirty="0">
                    <a:latin typeface="Segoe"/>
                  </a:endParaRPr>
                </a:p>
              </p:txBody>
            </p:sp>
          </p:grpSp>
          <p:grpSp>
            <p:nvGrpSpPr>
              <p:cNvPr id="185" name="Group 184"/>
              <p:cNvGrpSpPr/>
              <p:nvPr/>
            </p:nvGrpSpPr>
            <p:grpSpPr>
              <a:xfrm flipH="1">
                <a:off x="1379924" y="873212"/>
                <a:ext cx="201231" cy="369680"/>
                <a:chOff x="851065" y="755975"/>
                <a:chExt cx="287391" cy="527971"/>
              </a:xfrm>
              <a:grpFill/>
            </p:grpSpPr>
            <p:sp>
              <p:nvSpPr>
                <p:cNvPr id="186" name="Oval 185"/>
                <p:cNvSpPr>
                  <a:spLocks noChangeArrowheads="1"/>
                </p:cNvSpPr>
                <p:nvPr/>
              </p:nvSpPr>
              <p:spPr bwMode="auto">
                <a:xfrm>
                  <a:off x="930896" y="755975"/>
                  <a:ext cx="194494" cy="195584"/>
                </a:xfrm>
                <a:prstGeom prst="ellipse">
                  <a:avLst/>
                </a:prstGeom>
                <a:grp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pPr>
                  <a:endParaRPr lang="en-US" sz="2200" dirty="0">
                    <a:latin typeface="Segoe"/>
                  </a:endParaRPr>
                </a:p>
              </p:txBody>
            </p:sp>
            <p:sp>
              <p:nvSpPr>
                <p:cNvPr id="187" name="Freeform 186"/>
                <p:cNvSpPr>
                  <a:spLocks/>
                </p:cNvSpPr>
                <p:nvPr/>
              </p:nvSpPr>
              <p:spPr bwMode="auto">
                <a:xfrm>
                  <a:off x="851065" y="973697"/>
                  <a:ext cx="287391" cy="310249"/>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grp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pPr>
                  <a:endParaRPr lang="en-US" sz="2200" dirty="0">
                    <a:latin typeface="Segoe"/>
                  </a:endParaRPr>
                </a:p>
              </p:txBody>
            </p:sp>
          </p:grpSp>
        </p:grpSp>
      </p:grpSp>
      <p:grpSp>
        <p:nvGrpSpPr>
          <p:cNvPr id="190" name="Group 189"/>
          <p:cNvGrpSpPr/>
          <p:nvPr/>
        </p:nvGrpSpPr>
        <p:grpSpPr>
          <a:xfrm flipH="1">
            <a:off x="2195324" y="2318081"/>
            <a:ext cx="345523" cy="327898"/>
            <a:chOff x="5326857" y="2779521"/>
            <a:chExt cx="2283619" cy="2167129"/>
          </a:xfrm>
          <a:solidFill>
            <a:schemeClr val="bg1">
              <a:lumMod val="50000"/>
            </a:schemeClr>
          </a:solidFill>
        </p:grpSpPr>
        <p:sp>
          <p:nvSpPr>
            <p:cNvPr id="191" name="Freeform 190"/>
            <p:cNvSpPr/>
            <p:nvPr/>
          </p:nvSpPr>
          <p:spPr>
            <a:xfrm>
              <a:off x="5326857" y="3228975"/>
              <a:ext cx="1147085" cy="1083469"/>
            </a:xfrm>
            <a:custGeom>
              <a:avLst/>
              <a:gdLst>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990798 h 1083469"/>
                <a:gd name="connsiteX6" fmla="*/ 186985 w 1147085"/>
                <a:gd name="connsiteY6" fmla="*/ 1011445 h 1083469"/>
                <a:gd name="connsiteX7" fmla="*/ 977729 w 1147085"/>
                <a:gd name="connsiteY7" fmla="*/ 857154 h 1083469"/>
                <a:gd name="connsiteX8" fmla="*/ 977729 w 1147085"/>
                <a:gd name="connsiteY8" fmla="*/ 916854 h 1083469"/>
                <a:gd name="connsiteX9" fmla="*/ 123825 w 1147085"/>
                <a:gd name="connsiteY9" fmla="*/ 1083469 h 1083469"/>
                <a:gd name="connsiteX10" fmla="*/ 0 w 1147085"/>
                <a:gd name="connsiteY10" fmla="*/ 114300 h 1083469"/>
                <a:gd name="connsiteX11" fmla="*/ 1090612 w 1147085"/>
                <a:gd name="connsiteY11" fmla="*/ 0 h 1083469"/>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1011445 h 1083469"/>
                <a:gd name="connsiteX6" fmla="*/ 977729 w 1147085"/>
                <a:gd name="connsiteY6" fmla="*/ 857154 h 1083469"/>
                <a:gd name="connsiteX7" fmla="*/ 977729 w 1147085"/>
                <a:gd name="connsiteY7" fmla="*/ 916854 h 1083469"/>
                <a:gd name="connsiteX8" fmla="*/ 123825 w 1147085"/>
                <a:gd name="connsiteY8" fmla="*/ 1083469 h 1083469"/>
                <a:gd name="connsiteX9" fmla="*/ 0 w 1147085"/>
                <a:gd name="connsiteY9" fmla="*/ 114300 h 1083469"/>
                <a:gd name="connsiteX10" fmla="*/ 1090612 w 1147085"/>
                <a:gd name="connsiteY10" fmla="*/ 0 h 108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085" h="1083469">
                  <a:moveTo>
                    <a:pt x="1090612" y="0"/>
                  </a:moveTo>
                  <a:lnTo>
                    <a:pt x="1147085" y="460567"/>
                  </a:lnTo>
                  <a:cubicBezTo>
                    <a:pt x="1121629" y="471368"/>
                    <a:pt x="1098257" y="486098"/>
                    <a:pt x="1078295" y="504743"/>
                  </a:cubicBezTo>
                  <a:lnTo>
                    <a:pt x="1025237" y="72025"/>
                  </a:lnTo>
                  <a:lnTo>
                    <a:pt x="79622" y="171129"/>
                  </a:lnTo>
                  <a:lnTo>
                    <a:pt x="186985" y="1011445"/>
                  </a:lnTo>
                  <a:lnTo>
                    <a:pt x="977729" y="857154"/>
                  </a:lnTo>
                  <a:lnTo>
                    <a:pt x="977729" y="916854"/>
                  </a:lnTo>
                  <a:lnTo>
                    <a:pt x="123825" y="1083469"/>
                  </a:lnTo>
                  <a:lnTo>
                    <a:pt x="0" y="114300"/>
                  </a:lnTo>
                  <a:lnTo>
                    <a:pt x="1090612"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solidFill>
                  <a:schemeClr val="tx1"/>
                </a:solidFill>
              </a:endParaRPr>
            </a:p>
          </p:txBody>
        </p:sp>
        <p:sp>
          <p:nvSpPr>
            <p:cNvPr id="192" name="Oval 23"/>
            <p:cNvSpPr/>
            <p:nvPr/>
          </p:nvSpPr>
          <p:spPr bwMode="auto">
            <a:xfrm>
              <a:off x="5472973" y="4217016"/>
              <a:ext cx="831613" cy="515322"/>
            </a:xfrm>
            <a:custGeom>
              <a:avLst/>
              <a:gdLst/>
              <a:ahLst/>
              <a:cxnLst/>
              <a:rect l="l" t="t" r="r" b="b"/>
              <a:pathLst>
                <a:path w="831613" h="515322">
                  <a:moveTo>
                    <a:pt x="656506" y="0"/>
                  </a:moveTo>
                  <a:cubicBezTo>
                    <a:pt x="722980" y="12459"/>
                    <a:pt x="782484" y="33487"/>
                    <a:pt x="831613" y="60220"/>
                  </a:cubicBezTo>
                  <a:lnTo>
                    <a:pt x="831613" y="156807"/>
                  </a:lnTo>
                  <a:lnTo>
                    <a:pt x="790343" y="156807"/>
                  </a:lnTo>
                  <a:cubicBezTo>
                    <a:pt x="689578" y="156807"/>
                    <a:pt x="607892" y="247187"/>
                    <a:pt x="607892" y="358678"/>
                  </a:cubicBezTo>
                  <a:cubicBezTo>
                    <a:pt x="607892" y="412735"/>
                    <a:pt x="627095" y="461830"/>
                    <a:pt x="658968" y="497546"/>
                  </a:cubicBezTo>
                  <a:cubicBezTo>
                    <a:pt x="605816" y="509342"/>
                    <a:pt x="548050" y="515322"/>
                    <a:pt x="487726" y="515322"/>
                  </a:cubicBezTo>
                  <a:cubicBezTo>
                    <a:pt x="218362" y="515322"/>
                    <a:pt x="0" y="396081"/>
                    <a:pt x="0" y="248990"/>
                  </a:cubicBezTo>
                  <a:cubicBezTo>
                    <a:pt x="0" y="198934"/>
                    <a:pt x="25288" y="152104"/>
                    <a:pt x="70263" y="11319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solidFill>
                  <a:schemeClr val="tx1"/>
                </a:solidFill>
              </a:endParaRPr>
            </a:p>
          </p:txBody>
        </p:sp>
        <p:sp>
          <p:nvSpPr>
            <p:cNvPr id="193" name="Rounded Rectangle 13"/>
            <p:cNvSpPr/>
            <p:nvPr/>
          </p:nvSpPr>
          <p:spPr bwMode="auto">
            <a:xfrm>
              <a:off x="6127748" y="3705225"/>
              <a:ext cx="1375518" cy="1241425"/>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solidFill>
                  <a:schemeClr val="tx1"/>
                </a:solidFill>
              </a:endParaRPr>
            </a:p>
          </p:txBody>
        </p:sp>
        <p:sp>
          <p:nvSpPr>
            <p:cNvPr id="194" name="Oval 193"/>
            <p:cNvSpPr/>
            <p:nvPr/>
          </p:nvSpPr>
          <p:spPr bwMode="auto">
            <a:xfrm>
              <a:off x="6524624" y="2779521"/>
              <a:ext cx="835025" cy="83502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solidFill>
                  <a:schemeClr val="tx1"/>
                </a:solidFill>
              </a:endParaRPr>
            </a:p>
          </p:txBody>
        </p:sp>
        <p:sp>
          <p:nvSpPr>
            <p:cNvPr id="195" name="Rounded Rectangle 14"/>
            <p:cNvSpPr/>
            <p:nvPr/>
          </p:nvSpPr>
          <p:spPr bwMode="auto">
            <a:xfrm>
              <a:off x="6740522" y="3829050"/>
              <a:ext cx="869954" cy="874713"/>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solidFill>
                  <a:schemeClr val="tx1"/>
                </a:solidFill>
              </a:endParaRPr>
            </a:p>
          </p:txBody>
        </p:sp>
      </p:grpSp>
      <p:sp>
        <p:nvSpPr>
          <p:cNvPr id="196" name="Freeform 195"/>
          <p:cNvSpPr/>
          <p:nvPr/>
        </p:nvSpPr>
        <p:spPr>
          <a:xfrm>
            <a:off x="3975087" y="3632887"/>
            <a:ext cx="711440" cy="41719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7F7F7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a:solidFill>
                <a:schemeClr val="tx1"/>
              </a:solidFill>
            </a:endParaRPr>
          </a:p>
        </p:txBody>
      </p:sp>
      <p:sp>
        <p:nvSpPr>
          <p:cNvPr id="197" name="Freeform 196"/>
          <p:cNvSpPr/>
          <p:nvPr/>
        </p:nvSpPr>
        <p:spPr bwMode="auto">
          <a:xfrm>
            <a:off x="3605390" y="2212675"/>
            <a:ext cx="325241" cy="243960"/>
          </a:xfrm>
          <a:custGeom>
            <a:avLst/>
            <a:gdLst/>
            <a:ahLst/>
            <a:cxnLst/>
            <a:rect l="l" t="t" r="r" b="b"/>
            <a:pathLst>
              <a:path w="1012332" h="759341">
                <a:moveTo>
                  <a:pt x="697992" y="338803"/>
                </a:moveTo>
                <a:cubicBezTo>
                  <a:pt x="661462" y="338803"/>
                  <a:pt x="631848" y="368417"/>
                  <a:pt x="631848" y="404947"/>
                </a:cubicBezTo>
                <a:cubicBezTo>
                  <a:pt x="631848" y="441477"/>
                  <a:pt x="661462" y="471091"/>
                  <a:pt x="697992" y="471091"/>
                </a:cubicBezTo>
                <a:cubicBezTo>
                  <a:pt x="734522" y="471091"/>
                  <a:pt x="764136" y="441477"/>
                  <a:pt x="764136" y="404947"/>
                </a:cubicBezTo>
                <a:cubicBezTo>
                  <a:pt x="764136" y="368417"/>
                  <a:pt x="734522" y="338803"/>
                  <a:pt x="697992" y="338803"/>
                </a:cubicBezTo>
                <a:close/>
                <a:moveTo>
                  <a:pt x="256251" y="300944"/>
                </a:moveTo>
                <a:lnTo>
                  <a:pt x="256251" y="358981"/>
                </a:lnTo>
                <a:lnTo>
                  <a:pt x="198214" y="358981"/>
                </a:lnTo>
                <a:lnTo>
                  <a:pt x="198214" y="424380"/>
                </a:lnTo>
                <a:lnTo>
                  <a:pt x="256251" y="424380"/>
                </a:lnTo>
                <a:lnTo>
                  <a:pt x="256251" y="482417"/>
                </a:lnTo>
                <a:lnTo>
                  <a:pt x="321650" y="482417"/>
                </a:lnTo>
                <a:lnTo>
                  <a:pt x="321650" y="424380"/>
                </a:lnTo>
                <a:lnTo>
                  <a:pt x="379687" y="424380"/>
                </a:lnTo>
                <a:lnTo>
                  <a:pt x="379687" y="358981"/>
                </a:lnTo>
                <a:lnTo>
                  <a:pt x="321650" y="358981"/>
                </a:lnTo>
                <a:lnTo>
                  <a:pt x="321650" y="300944"/>
                </a:lnTo>
                <a:close/>
                <a:moveTo>
                  <a:pt x="777659" y="239656"/>
                </a:moveTo>
                <a:cubicBezTo>
                  <a:pt x="760077" y="239656"/>
                  <a:pt x="745824" y="253909"/>
                  <a:pt x="745824" y="271491"/>
                </a:cubicBezTo>
                <a:cubicBezTo>
                  <a:pt x="745824" y="289073"/>
                  <a:pt x="760077" y="303326"/>
                  <a:pt x="777659" y="303326"/>
                </a:cubicBezTo>
                <a:cubicBezTo>
                  <a:pt x="795241" y="303326"/>
                  <a:pt x="809494" y="289073"/>
                  <a:pt x="809494" y="271491"/>
                </a:cubicBezTo>
                <a:cubicBezTo>
                  <a:pt x="809494" y="253909"/>
                  <a:pt x="795241" y="239656"/>
                  <a:pt x="777659" y="239656"/>
                </a:cubicBezTo>
                <a:close/>
                <a:moveTo>
                  <a:pt x="840567" y="176829"/>
                </a:moveTo>
                <a:cubicBezTo>
                  <a:pt x="822985" y="176829"/>
                  <a:pt x="808732" y="191082"/>
                  <a:pt x="808732" y="208664"/>
                </a:cubicBezTo>
                <a:cubicBezTo>
                  <a:pt x="808732" y="226246"/>
                  <a:pt x="822985" y="240499"/>
                  <a:pt x="840567" y="240499"/>
                </a:cubicBezTo>
                <a:cubicBezTo>
                  <a:pt x="858149" y="240499"/>
                  <a:pt x="872402" y="226246"/>
                  <a:pt x="872402" y="208664"/>
                </a:cubicBezTo>
                <a:cubicBezTo>
                  <a:pt x="872402" y="191082"/>
                  <a:pt x="858149" y="176829"/>
                  <a:pt x="840567" y="176829"/>
                </a:cubicBezTo>
                <a:close/>
                <a:moveTo>
                  <a:pt x="714751" y="176829"/>
                </a:moveTo>
                <a:cubicBezTo>
                  <a:pt x="697169" y="176829"/>
                  <a:pt x="682916" y="191082"/>
                  <a:pt x="682916" y="208664"/>
                </a:cubicBezTo>
                <a:cubicBezTo>
                  <a:pt x="682916" y="226246"/>
                  <a:pt x="697169" y="240499"/>
                  <a:pt x="714751" y="240499"/>
                </a:cubicBezTo>
                <a:cubicBezTo>
                  <a:pt x="732333" y="240499"/>
                  <a:pt x="746586" y="226246"/>
                  <a:pt x="746586" y="208664"/>
                </a:cubicBezTo>
                <a:cubicBezTo>
                  <a:pt x="746586" y="191082"/>
                  <a:pt x="732333" y="176829"/>
                  <a:pt x="714751" y="176829"/>
                </a:cubicBezTo>
                <a:close/>
                <a:moveTo>
                  <a:pt x="205068" y="124095"/>
                </a:moveTo>
                <a:cubicBezTo>
                  <a:pt x="168538" y="124095"/>
                  <a:pt x="138924" y="153709"/>
                  <a:pt x="138924" y="190239"/>
                </a:cubicBezTo>
                <a:cubicBezTo>
                  <a:pt x="138924" y="226769"/>
                  <a:pt x="168538" y="256383"/>
                  <a:pt x="205068" y="256383"/>
                </a:cubicBezTo>
                <a:cubicBezTo>
                  <a:pt x="241598" y="256383"/>
                  <a:pt x="271212" y="226769"/>
                  <a:pt x="271212" y="190239"/>
                </a:cubicBezTo>
                <a:cubicBezTo>
                  <a:pt x="271212" y="153709"/>
                  <a:pt x="241598" y="124095"/>
                  <a:pt x="205068" y="124095"/>
                </a:cubicBezTo>
                <a:close/>
                <a:moveTo>
                  <a:pt x="777659" y="110337"/>
                </a:moveTo>
                <a:cubicBezTo>
                  <a:pt x="760077" y="110337"/>
                  <a:pt x="745824" y="124590"/>
                  <a:pt x="745824" y="142172"/>
                </a:cubicBezTo>
                <a:cubicBezTo>
                  <a:pt x="745824" y="159754"/>
                  <a:pt x="760077" y="174007"/>
                  <a:pt x="777659" y="174007"/>
                </a:cubicBezTo>
                <a:cubicBezTo>
                  <a:pt x="795241" y="174007"/>
                  <a:pt x="809494" y="159754"/>
                  <a:pt x="809494" y="142172"/>
                </a:cubicBezTo>
                <a:cubicBezTo>
                  <a:pt x="809494" y="124590"/>
                  <a:pt x="795241" y="110337"/>
                  <a:pt x="777659" y="110337"/>
                </a:cubicBezTo>
                <a:close/>
                <a:moveTo>
                  <a:pt x="778004" y="52"/>
                </a:moveTo>
                <a:cubicBezTo>
                  <a:pt x="788596" y="-271"/>
                  <a:pt x="801866" y="895"/>
                  <a:pt x="819229" y="4367"/>
                </a:cubicBezTo>
                <a:cubicBezTo>
                  <a:pt x="1048226" y="110729"/>
                  <a:pt x="1072434" y="769541"/>
                  <a:pt x="897809" y="759222"/>
                </a:cubicBezTo>
                <a:cubicBezTo>
                  <a:pt x="718422" y="410766"/>
                  <a:pt x="340598" y="352424"/>
                  <a:pt x="119142" y="754460"/>
                </a:cubicBezTo>
                <a:cubicBezTo>
                  <a:pt x="-99932" y="701677"/>
                  <a:pt x="11588" y="-13889"/>
                  <a:pt x="223916" y="6748"/>
                </a:cubicBezTo>
                <a:cubicBezTo>
                  <a:pt x="273526" y="1193"/>
                  <a:pt x="281861" y="14290"/>
                  <a:pt x="316786" y="21036"/>
                </a:cubicBezTo>
                <a:cubicBezTo>
                  <a:pt x="381080" y="56358"/>
                  <a:pt x="640239" y="66678"/>
                  <a:pt x="716835" y="21038"/>
                </a:cubicBezTo>
                <a:cubicBezTo>
                  <a:pt x="738563" y="15383"/>
                  <a:pt x="746229" y="1020"/>
                  <a:pt x="778004" y="52"/>
                </a:cubicBezTo>
                <a:close/>
              </a:path>
            </a:pathLst>
          </a:custGeom>
          <a:solidFill>
            <a:schemeClr val="bg1">
              <a:lumMod val="50000"/>
            </a:schemeClr>
          </a:solidFill>
          <a:ln>
            <a:noFill/>
          </a:ln>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200" dirty="0"/>
          </a:p>
        </p:txBody>
      </p:sp>
      <p:grpSp>
        <p:nvGrpSpPr>
          <p:cNvPr id="215" name="Group 214"/>
          <p:cNvGrpSpPr/>
          <p:nvPr/>
        </p:nvGrpSpPr>
        <p:grpSpPr>
          <a:xfrm>
            <a:off x="4657396" y="2035554"/>
            <a:ext cx="592784" cy="452874"/>
            <a:chOff x="1040198" y="1848816"/>
            <a:chExt cx="1062924" cy="812051"/>
          </a:xfrm>
        </p:grpSpPr>
        <p:sp>
          <p:nvSpPr>
            <p:cNvPr id="216" name="Rounded Rectangle 60"/>
            <p:cNvSpPr>
              <a:spLocks noChangeArrowheads="1"/>
            </p:cNvSpPr>
            <p:nvPr/>
          </p:nvSpPr>
          <p:spPr bwMode="auto">
            <a:xfrm>
              <a:off x="1040198" y="1848816"/>
              <a:ext cx="1062924" cy="812051"/>
            </a:xfrm>
            <a:prstGeom prst="ellipse">
              <a:avLst/>
            </a:prstGeom>
            <a:solidFill>
              <a:schemeClr val="bg1">
                <a:lumMod val="85000"/>
                <a:alpha val="50000"/>
              </a:schemeClr>
            </a:solidFill>
            <a:ln w="3175">
              <a:noFill/>
              <a:prstDash val="lgDashDot"/>
            </a:ln>
          </p:spPr>
          <p:style>
            <a:lnRef idx="2">
              <a:schemeClr val="accent1">
                <a:shade val="50000"/>
              </a:schemeClr>
            </a:lnRef>
            <a:fillRef idx="1">
              <a:schemeClr val="accent1"/>
            </a:fillRef>
            <a:effectRef idx="0">
              <a:schemeClr val="accent1"/>
            </a:effectRef>
            <a:fontRef idx="minor">
              <a:schemeClr val="lt1"/>
            </a:fontRef>
          </p:style>
          <p:txBody>
            <a:bodyPr lIns="137160" anchor="ctr"/>
            <a:lstStyle/>
            <a:p>
              <a:pPr marL="88900" indent="-88900" defTabSz="914241" fontAlgn="t"/>
              <a:endParaRPr lang="en-US" sz="1100" dirty="0">
                <a:solidFill>
                  <a:schemeClr val="tx1"/>
                </a:solidFill>
              </a:endParaRPr>
            </a:p>
          </p:txBody>
        </p:sp>
        <p:pic>
          <p:nvPicPr>
            <p:cNvPr id="217" name="Picture 216"/>
            <p:cNvPicPr>
              <a:picLocks noChangeAspect="1"/>
            </p:cNvPicPr>
            <p:nvPr/>
          </p:nvPicPr>
          <p:blipFill>
            <a:blip r:embed="rId15" cstate="screen">
              <a:duotone>
                <a:prstClr val="black"/>
                <a:schemeClr val="accent5">
                  <a:tint val="45000"/>
                  <a:satMod val="400000"/>
                </a:schemeClr>
              </a:duotone>
              <a:lum bright="-20000" contrast="-20000"/>
              <a:extLst>
                <a:ext uri="{28A0092B-C50C-407E-A947-70E740481C1C}">
                  <a14:useLocalDpi xmlns:a14="http://schemas.microsoft.com/office/drawing/2010/main"/>
                </a:ext>
              </a:extLst>
            </a:blip>
            <a:stretch>
              <a:fillRect/>
            </a:stretch>
          </p:blipFill>
          <p:spPr bwMode="auto">
            <a:xfrm>
              <a:off x="1772534" y="2255216"/>
              <a:ext cx="296579" cy="264713"/>
            </a:xfrm>
            <a:prstGeom prst="rect">
              <a:avLst/>
            </a:prstGeom>
          </p:spPr>
        </p:pic>
        <p:sp>
          <p:nvSpPr>
            <p:cNvPr id="218" name="Freeform 14"/>
            <p:cNvSpPr>
              <a:spLocks noEditPoints="1"/>
            </p:cNvSpPr>
            <p:nvPr/>
          </p:nvSpPr>
          <p:spPr bwMode="black">
            <a:xfrm>
              <a:off x="1709529" y="1961213"/>
              <a:ext cx="147641" cy="157162"/>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chemeClr val="bg1">
                <a:lumMod val="50000"/>
              </a:schemeClr>
            </a:solidFill>
            <a:ln w="10795" cap="flat" cmpd="sng" algn="ctr">
              <a:noFill/>
              <a:prstDash val="solid"/>
              <a:headEnd type="none" w="med" len="med"/>
              <a:tailEnd type="none" w="med" len="med"/>
            </a:ln>
            <a:effectLst/>
          </p:spPr>
          <p:txBody>
            <a:bodyPr lIns="109707" tIns="54854" rIns="109707" bIns="54854" anchor="ctr"/>
            <a:lstStyle/>
            <a:p>
              <a:pPr defTabSz="987406">
                <a:defRPr/>
              </a:pPr>
              <a:endParaRPr lang="en-US" sz="2399" dirty="0">
                <a:latin typeface="Segoe Light" pitchFamily="34" charset="0"/>
              </a:endParaRPr>
            </a:p>
          </p:txBody>
        </p:sp>
        <p:pic>
          <p:nvPicPr>
            <p:cNvPr id="219" name="Picture 218"/>
            <p:cNvPicPr>
              <a:picLocks noChangeAspect="1"/>
            </p:cNvPicPr>
            <p:nvPr/>
          </p:nvPicPr>
          <p:blipFill>
            <a:blip r:embed="rId16" cstate="screen">
              <a:duotone>
                <a:prstClr val="black"/>
                <a:schemeClr val="accent5">
                  <a:tint val="45000"/>
                  <a:satMod val="400000"/>
                </a:schemeClr>
              </a:duotone>
              <a:extLst>
                <a:ext uri="{BEBA8EAE-BF5A-486C-A8C5-ECC9F3942E4B}">
                  <a14:imgProps xmlns:a14="http://schemas.microsoft.com/office/drawing/2010/main">
                    <a14:imgLayer r:embed="rId17">
                      <a14:imgEffect>
                        <a14:brightnessContrast bright="-20000" contrast="-20000"/>
                      </a14:imgEffect>
                    </a14:imgLayer>
                  </a14:imgProps>
                </a:ext>
                <a:ext uri="{28A0092B-C50C-407E-A947-70E740481C1C}">
                  <a14:useLocalDpi xmlns:a14="http://schemas.microsoft.com/office/drawing/2010/main"/>
                </a:ext>
              </a:extLst>
            </a:blip>
            <a:stretch>
              <a:fillRect/>
            </a:stretch>
          </p:blipFill>
          <p:spPr bwMode="auto">
            <a:xfrm>
              <a:off x="1886082" y="2101123"/>
              <a:ext cx="124258" cy="142717"/>
            </a:xfrm>
            <a:prstGeom prst="rect">
              <a:avLst/>
            </a:prstGeom>
          </p:spPr>
        </p:pic>
        <p:sp>
          <p:nvSpPr>
            <p:cNvPr id="220" name="Freeform 13"/>
            <p:cNvSpPr>
              <a:spLocks noEditPoints="1"/>
            </p:cNvSpPr>
            <p:nvPr/>
          </p:nvSpPr>
          <p:spPr bwMode="black">
            <a:xfrm>
              <a:off x="1092015" y="2186267"/>
              <a:ext cx="215905" cy="184149"/>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lumMod val="50000"/>
              </a:schemeClr>
            </a:solidFill>
            <a:ln w="10795" cap="flat" cmpd="sng" algn="ctr">
              <a:noFill/>
              <a:prstDash val="solid"/>
              <a:headEnd type="none" w="med" len="med"/>
              <a:tailEnd type="none" w="med" len="med"/>
            </a:ln>
            <a:effectLst/>
          </p:spPr>
          <p:txBody>
            <a:bodyPr lIns="82302" tIns="41151" rIns="82302" bIns="41151" anchor="ctr"/>
            <a:lstStyle/>
            <a:p>
              <a:pPr defTabSz="740740">
                <a:defRPr/>
              </a:pPr>
              <a:endParaRPr lang="en-US" dirty="0">
                <a:latin typeface="Segoe Light" pitchFamily="34" charset="0"/>
              </a:endParaRPr>
            </a:p>
          </p:txBody>
        </p:sp>
        <p:sp>
          <p:nvSpPr>
            <p:cNvPr id="221" name="Freeform 220"/>
            <p:cNvSpPr>
              <a:spLocks/>
            </p:cNvSpPr>
            <p:nvPr/>
          </p:nvSpPr>
          <p:spPr bwMode="black">
            <a:xfrm>
              <a:off x="1248260" y="2005656"/>
              <a:ext cx="157165" cy="157162"/>
            </a:xfrm>
            <a:custGeom>
              <a:avLst/>
              <a:gdLst>
                <a:gd name="connsiteX0" fmla="*/ 276253 w 393142"/>
                <a:gd name="connsiteY0" fmla="*/ 48406 h 393039"/>
                <a:gd name="connsiteX1" fmla="*/ 213366 w 393142"/>
                <a:gd name="connsiteY1" fmla="*/ 111283 h 393039"/>
                <a:gd name="connsiteX2" fmla="*/ 213366 w 393142"/>
                <a:gd name="connsiteY2" fmla="*/ 143229 h 393039"/>
                <a:gd name="connsiteX3" fmla="*/ 168230 w 393142"/>
                <a:gd name="connsiteY3" fmla="*/ 143229 h 393039"/>
                <a:gd name="connsiteX4" fmla="*/ 168230 w 393142"/>
                <a:gd name="connsiteY4" fmla="*/ 196725 h 393039"/>
                <a:gd name="connsiteX5" fmla="*/ 213366 w 393142"/>
                <a:gd name="connsiteY5" fmla="*/ 196725 h 393039"/>
                <a:gd name="connsiteX6" fmla="*/ 213366 w 393142"/>
                <a:gd name="connsiteY6" fmla="*/ 361270 h 393039"/>
                <a:gd name="connsiteX7" fmla="*/ 283606 w 393142"/>
                <a:gd name="connsiteY7" fmla="*/ 361270 h 393039"/>
                <a:gd name="connsiteX8" fmla="*/ 283606 w 393142"/>
                <a:gd name="connsiteY8" fmla="*/ 196725 h 393039"/>
                <a:gd name="connsiteX9" fmla="*/ 333560 w 393142"/>
                <a:gd name="connsiteY9" fmla="*/ 196725 h 393039"/>
                <a:gd name="connsiteX10" fmla="*/ 333560 w 393142"/>
                <a:gd name="connsiteY10" fmla="*/ 143229 h 393039"/>
                <a:gd name="connsiteX11" fmla="*/ 283606 w 393142"/>
                <a:gd name="connsiteY11" fmla="*/ 143229 h 393039"/>
                <a:gd name="connsiteX12" fmla="*/ 283606 w 393142"/>
                <a:gd name="connsiteY12" fmla="*/ 125481 h 393039"/>
                <a:gd name="connsiteX13" fmla="*/ 307189 w 393142"/>
                <a:gd name="connsiteY13" fmla="*/ 101902 h 393039"/>
                <a:gd name="connsiteX14" fmla="*/ 333560 w 393142"/>
                <a:gd name="connsiteY14" fmla="*/ 101902 h 393039"/>
                <a:gd name="connsiteX15" fmla="*/ 333560 w 393142"/>
                <a:gd name="connsiteY15" fmla="*/ 48406 h 393039"/>
                <a:gd name="connsiteX16" fmla="*/ 276253 w 393142"/>
                <a:gd name="connsiteY16" fmla="*/ 48406 h 393039"/>
                <a:gd name="connsiteX17" fmla="*/ 70512 w 393142"/>
                <a:gd name="connsiteY17" fmla="*/ 0 h 393039"/>
                <a:gd name="connsiteX18" fmla="*/ 322630 w 393142"/>
                <a:gd name="connsiteY18" fmla="*/ 0 h 393039"/>
                <a:gd name="connsiteX19" fmla="*/ 393142 w 393142"/>
                <a:gd name="connsiteY19" fmla="*/ 70494 h 393039"/>
                <a:gd name="connsiteX20" fmla="*/ 393142 w 393142"/>
                <a:gd name="connsiteY20" fmla="*/ 322546 h 393039"/>
                <a:gd name="connsiteX21" fmla="*/ 322630 w 393142"/>
                <a:gd name="connsiteY21" fmla="*/ 393039 h 393039"/>
                <a:gd name="connsiteX22" fmla="*/ 70512 w 393142"/>
                <a:gd name="connsiteY22" fmla="*/ 393039 h 393039"/>
                <a:gd name="connsiteX23" fmla="*/ 0 w 393142"/>
                <a:gd name="connsiteY23" fmla="*/ 322546 h 393039"/>
                <a:gd name="connsiteX24" fmla="*/ 0 w 393142"/>
                <a:gd name="connsiteY24" fmla="*/ 70494 h 393039"/>
                <a:gd name="connsiteX25" fmla="*/ 70512 w 393142"/>
                <a:gd name="connsiteY25" fmla="*/ 0 h 393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93142" h="393039">
                  <a:moveTo>
                    <a:pt x="276253" y="48406"/>
                  </a:moveTo>
                  <a:cubicBezTo>
                    <a:pt x="241513" y="48406"/>
                    <a:pt x="213366" y="76549"/>
                    <a:pt x="213366" y="111283"/>
                  </a:cubicBezTo>
                  <a:cubicBezTo>
                    <a:pt x="213366" y="143229"/>
                    <a:pt x="213366" y="143229"/>
                    <a:pt x="213366" y="143229"/>
                  </a:cubicBezTo>
                  <a:cubicBezTo>
                    <a:pt x="168230" y="143229"/>
                    <a:pt x="168230" y="143229"/>
                    <a:pt x="168230" y="143229"/>
                  </a:cubicBezTo>
                  <a:cubicBezTo>
                    <a:pt x="168230" y="196725"/>
                    <a:pt x="168230" y="196725"/>
                    <a:pt x="168230" y="196725"/>
                  </a:cubicBezTo>
                  <a:cubicBezTo>
                    <a:pt x="213366" y="196725"/>
                    <a:pt x="213366" y="196725"/>
                    <a:pt x="213366" y="196725"/>
                  </a:cubicBezTo>
                  <a:cubicBezTo>
                    <a:pt x="213366" y="361270"/>
                    <a:pt x="213366" y="361270"/>
                    <a:pt x="213366" y="361270"/>
                  </a:cubicBezTo>
                  <a:cubicBezTo>
                    <a:pt x="283606" y="361270"/>
                    <a:pt x="283606" y="361270"/>
                    <a:pt x="283606" y="361270"/>
                  </a:cubicBezTo>
                  <a:cubicBezTo>
                    <a:pt x="283606" y="196725"/>
                    <a:pt x="283606" y="196725"/>
                    <a:pt x="283606" y="196725"/>
                  </a:cubicBezTo>
                  <a:cubicBezTo>
                    <a:pt x="333560" y="196725"/>
                    <a:pt x="333560" y="196725"/>
                    <a:pt x="333560" y="196725"/>
                  </a:cubicBezTo>
                  <a:cubicBezTo>
                    <a:pt x="333560" y="143229"/>
                    <a:pt x="333560" y="143229"/>
                    <a:pt x="333560" y="143229"/>
                  </a:cubicBezTo>
                  <a:cubicBezTo>
                    <a:pt x="283606" y="143229"/>
                    <a:pt x="283606" y="143229"/>
                    <a:pt x="283606" y="143229"/>
                  </a:cubicBezTo>
                  <a:cubicBezTo>
                    <a:pt x="283606" y="125481"/>
                    <a:pt x="283606" y="125481"/>
                    <a:pt x="283606" y="125481"/>
                  </a:cubicBezTo>
                  <a:cubicBezTo>
                    <a:pt x="283606" y="112297"/>
                    <a:pt x="294003" y="101902"/>
                    <a:pt x="307189" y="101902"/>
                  </a:cubicBezTo>
                  <a:cubicBezTo>
                    <a:pt x="333560" y="101902"/>
                    <a:pt x="333560" y="101902"/>
                    <a:pt x="333560" y="101902"/>
                  </a:cubicBezTo>
                  <a:cubicBezTo>
                    <a:pt x="333560" y="48406"/>
                    <a:pt x="333560" y="48406"/>
                    <a:pt x="333560" y="48406"/>
                  </a:cubicBezTo>
                  <a:cubicBezTo>
                    <a:pt x="276253" y="48406"/>
                    <a:pt x="276253" y="48406"/>
                    <a:pt x="276253" y="48406"/>
                  </a:cubicBezTo>
                  <a:close/>
                  <a:moveTo>
                    <a:pt x="70512" y="0"/>
                  </a:moveTo>
                  <a:cubicBezTo>
                    <a:pt x="70512" y="0"/>
                    <a:pt x="70512" y="0"/>
                    <a:pt x="322630" y="0"/>
                  </a:cubicBezTo>
                  <a:cubicBezTo>
                    <a:pt x="361437" y="0"/>
                    <a:pt x="393142" y="31697"/>
                    <a:pt x="393142" y="70494"/>
                  </a:cubicBezTo>
                  <a:cubicBezTo>
                    <a:pt x="393142" y="70494"/>
                    <a:pt x="393142" y="70494"/>
                    <a:pt x="393142" y="322546"/>
                  </a:cubicBezTo>
                  <a:cubicBezTo>
                    <a:pt x="393142" y="361342"/>
                    <a:pt x="361437" y="393039"/>
                    <a:pt x="322630" y="393039"/>
                  </a:cubicBezTo>
                  <a:cubicBezTo>
                    <a:pt x="322630" y="393039"/>
                    <a:pt x="322630" y="393039"/>
                    <a:pt x="70512" y="393039"/>
                  </a:cubicBezTo>
                  <a:cubicBezTo>
                    <a:pt x="31705" y="393039"/>
                    <a:pt x="0" y="361342"/>
                    <a:pt x="0" y="322546"/>
                  </a:cubicBezTo>
                  <a:cubicBezTo>
                    <a:pt x="0" y="322546"/>
                    <a:pt x="0" y="322546"/>
                    <a:pt x="0" y="70494"/>
                  </a:cubicBezTo>
                  <a:cubicBezTo>
                    <a:pt x="0" y="31697"/>
                    <a:pt x="31705" y="0"/>
                    <a:pt x="70512" y="0"/>
                  </a:cubicBezTo>
                  <a:close/>
                </a:path>
              </a:pathLst>
            </a:custGeom>
            <a:solidFill>
              <a:schemeClr val="bg1">
                <a:lumMod val="50000"/>
              </a:schemeClr>
            </a:solidFill>
            <a:ln w="10795" cap="flat" cmpd="sng" algn="ctr">
              <a:noFill/>
              <a:prstDash val="solid"/>
              <a:headEnd type="none" w="med" len="med"/>
              <a:tailEnd type="none" w="med" len="med"/>
            </a:ln>
            <a:effectLst/>
            <a:extLst/>
          </p:spPr>
          <p:txBody>
            <a:bodyPr lIns="91436" tIns="45718" rIns="91436" bIns="45718" anchor="ctr"/>
            <a:lstStyle/>
            <a:p>
              <a:pPr defTabSz="740740">
                <a:defRPr/>
              </a:pPr>
              <a:endParaRPr lang="en-US" dirty="0">
                <a:latin typeface="Segoe Light" pitchFamily="34" charset="0"/>
              </a:endParaRPr>
            </a:p>
          </p:txBody>
        </p:sp>
        <p:sp>
          <p:nvSpPr>
            <p:cNvPr id="222" name="Freeform 221"/>
            <p:cNvSpPr>
              <a:spLocks/>
            </p:cNvSpPr>
            <p:nvPr/>
          </p:nvSpPr>
          <p:spPr bwMode="black">
            <a:xfrm>
              <a:off x="1470108" y="2446109"/>
              <a:ext cx="153991" cy="153986"/>
            </a:xfrm>
            <a:custGeom>
              <a:avLst/>
              <a:gdLst/>
              <a:ahLst/>
              <a:cxnLst/>
              <a:rect l="l" t="t" r="r" b="b"/>
              <a:pathLst>
                <a:path w="393142" h="393039">
                  <a:moveTo>
                    <a:pt x="81679" y="184317"/>
                  </a:moveTo>
                  <a:lnTo>
                    <a:pt x="81679" y="344009"/>
                  </a:lnTo>
                  <a:lnTo>
                    <a:pt x="138295" y="344009"/>
                  </a:lnTo>
                  <a:lnTo>
                    <a:pt x="138295" y="184317"/>
                  </a:lnTo>
                  <a:close/>
                  <a:moveTo>
                    <a:pt x="285263" y="180875"/>
                  </a:moveTo>
                  <a:cubicBezTo>
                    <a:pt x="271861" y="180875"/>
                    <a:pt x="260692" y="183399"/>
                    <a:pt x="251758" y="188447"/>
                  </a:cubicBezTo>
                  <a:cubicBezTo>
                    <a:pt x="246259" y="191544"/>
                    <a:pt x="240245" y="196879"/>
                    <a:pt x="233717" y="204450"/>
                  </a:cubicBezTo>
                  <a:lnTo>
                    <a:pt x="233717" y="184317"/>
                  </a:lnTo>
                  <a:lnTo>
                    <a:pt x="177101" y="184317"/>
                  </a:lnTo>
                  <a:lnTo>
                    <a:pt x="177101" y="344009"/>
                  </a:lnTo>
                  <a:lnTo>
                    <a:pt x="233717" y="344009"/>
                  </a:lnTo>
                  <a:lnTo>
                    <a:pt x="233717" y="258484"/>
                  </a:lnTo>
                  <a:cubicBezTo>
                    <a:pt x="233717" y="247299"/>
                    <a:pt x="236339" y="239081"/>
                    <a:pt x="241584" y="233831"/>
                  </a:cubicBezTo>
                  <a:cubicBezTo>
                    <a:pt x="247399" y="228010"/>
                    <a:pt x="254582" y="225100"/>
                    <a:pt x="263132" y="225100"/>
                  </a:cubicBezTo>
                  <a:cubicBezTo>
                    <a:pt x="272480" y="225100"/>
                    <a:pt x="279491" y="228480"/>
                    <a:pt x="284166" y="235240"/>
                  </a:cubicBezTo>
                  <a:cubicBezTo>
                    <a:pt x="287359" y="239821"/>
                    <a:pt x="288955" y="249157"/>
                    <a:pt x="288955" y="263246"/>
                  </a:cubicBezTo>
                  <a:lnTo>
                    <a:pt x="288955" y="344009"/>
                  </a:lnTo>
                  <a:lnTo>
                    <a:pt x="345570" y="344009"/>
                  </a:lnTo>
                  <a:lnTo>
                    <a:pt x="345570" y="242308"/>
                  </a:lnTo>
                  <a:cubicBezTo>
                    <a:pt x="345570" y="221200"/>
                    <a:pt x="339443" y="205368"/>
                    <a:pt x="327187" y="194814"/>
                  </a:cubicBezTo>
                  <a:cubicBezTo>
                    <a:pt x="316419" y="185521"/>
                    <a:pt x="302445" y="180875"/>
                    <a:pt x="285263" y="180875"/>
                  </a:cubicBezTo>
                  <a:close/>
                  <a:moveTo>
                    <a:pt x="109987" y="91392"/>
                  </a:moveTo>
                  <a:cubicBezTo>
                    <a:pt x="101177" y="91392"/>
                    <a:pt x="93711" y="94452"/>
                    <a:pt x="87591" y="100573"/>
                  </a:cubicBezTo>
                  <a:cubicBezTo>
                    <a:pt x="81470" y="106693"/>
                    <a:pt x="78410" y="114159"/>
                    <a:pt x="78410" y="122969"/>
                  </a:cubicBezTo>
                  <a:cubicBezTo>
                    <a:pt x="78410" y="131779"/>
                    <a:pt x="81470" y="139274"/>
                    <a:pt x="87591" y="145451"/>
                  </a:cubicBezTo>
                  <a:cubicBezTo>
                    <a:pt x="93711" y="151629"/>
                    <a:pt x="101177" y="154718"/>
                    <a:pt x="109987" y="154718"/>
                  </a:cubicBezTo>
                  <a:cubicBezTo>
                    <a:pt x="118912" y="154718"/>
                    <a:pt x="126435" y="151658"/>
                    <a:pt x="132555" y="145537"/>
                  </a:cubicBezTo>
                  <a:cubicBezTo>
                    <a:pt x="138676" y="139417"/>
                    <a:pt x="141736" y="131894"/>
                    <a:pt x="141736" y="122969"/>
                  </a:cubicBezTo>
                  <a:cubicBezTo>
                    <a:pt x="141736" y="114159"/>
                    <a:pt x="138647" y="106693"/>
                    <a:pt x="132469" y="100573"/>
                  </a:cubicBezTo>
                  <a:cubicBezTo>
                    <a:pt x="126291" y="94452"/>
                    <a:pt x="118797" y="91392"/>
                    <a:pt x="109987" y="91392"/>
                  </a:cubicBezTo>
                  <a:close/>
                  <a:moveTo>
                    <a:pt x="70512" y="0"/>
                  </a:moveTo>
                  <a:cubicBezTo>
                    <a:pt x="70512" y="0"/>
                    <a:pt x="70512" y="0"/>
                    <a:pt x="322630" y="0"/>
                  </a:cubicBezTo>
                  <a:cubicBezTo>
                    <a:pt x="361437" y="0"/>
                    <a:pt x="393142" y="31697"/>
                    <a:pt x="393142" y="70494"/>
                  </a:cubicBezTo>
                  <a:cubicBezTo>
                    <a:pt x="393142" y="70494"/>
                    <a:pt x="393142" y="70494"/>
                    <a:pt x="393142" y="322546"/>
                  </a:cubicBezTo>
                  <a:cubicBezTo>
                    <a:pt x="393142" y="361342"/>
                    <a:pt x="361437" y="393039"/>
                    <a:pt x="322630" y="393039"/>
                  </a:cubicBezTo>
                  <a:cubicBezTo>
                    <a:pt x="322630" y="393039"/>
                    <a:pt x="322630" y="393039"/>
                    <a:pt x="70512" y="393039"/>
                  </a:cubicBezTo>
                  <a:cubicBezTo>
                    <a:pt x="31705" y="393039"/>
                    <a:pt x="0" y="361342"/>
                    <a:pt x="0" y="322546"/>
                  </a:cubicBezTo>
                  <a:cubicBezTo>
                    <a:pt x="0" y="322546"/>
                    <a:pt x="0" y="322546"/>
                    <a:pt x="0" y="70494"/>
                  </a:cubicBezTo>
                  <a:cubicBezTo>
                    <a:pt x="0" y="31697"/>
                    <a:pt x="31705" y="0"/>
                    <a:pt x="70512" y="0"/>
                  </a:cubicBezTo>
                  <a:close/>
                </a:path>
              </a:pathLst>
            </a:custGeom>
            <a:solidFill>
              <a:schemeClr val="bg1">
                <a:lumMod val="50000"/>
              </a:schemeClr>
            </a:solidFill>
            <a:ln w="10795" cap="flat" cmpd="sng" algn="ctr">
              <a:noFill/>
              <a:prstDash val="solid"/>
              <a:headEnd type="none" w="med" len="med"/>
              <a:tailEnd type="none" w="med" len="med"/>
            </a:ln>
            <a:effectLst/>
            <a:extLst/>
          </p:spPr>
          <p:txBody>
            <a:bodyPr lIns="91436" tIns="45718" rIns="91436" bIns="45718" anchor="ctr"/>
            <a:lstStyle/>
            <a:p>
              <a:pPr defTabSz="740740">
                <a:defRPr/>
              </a:pPr>
              <a:endParaRPr lang="en-US" dirty="0">
                <a:latin typeface="Segoe Light" pitchFamily="34" charset="0"/>
              </a:endParaRPr>
            </a:p>
          </p:txBody>
        </p:sp>
        <p:sp>
          <p:nvSpPr>
            <p:cNvPr id="223" name="Trapezoid 86"/>
            <p:cNvSpPr/>
            <p:nvPr/>
          </p:nvSpPr>
          <p:spPr>
            <a:xfrm rot="16200000">
              <a:off x="1487527" y="1895084"/>
              <a:ext cx="169510" cy="177140"/>
            </a:xfrm>
            <a:custGeom>
              <a:avLst/>
              <a:gdLst/>
              <a:ahLst/>
              <a:cxnLst/>
              <a:rect l="l" t="t" r="r" b="b"/>
              <a:pathLst>
                <a:path w="2026419" h="2117634">
                  <a:moveTo>
                    <a:pt x="683394" y="1357221"/>
                  </a:moveTo>
                  <a:cubicBezTo>
                    <a:pt x="683394" y="1472952"/>
                    <a:pt x="589575" y="1566771"/>
                    <a:pt x="473844" y="1566771"/>
                  </a:cubicBezTo>
                  <a:cubicBezTo>
                    <a:pt x="358113" y="1566771"/>
                    <a:pt x="264294" y="1472952"/>
                    <a:pt x="264294" y="1357221"/>
                  </a:cubicBezTo>
                  <a:cubicBezTo>
                    <a:pt x="264294" y="1241490"/>
                    <a:pt x="358113" y="1147671"/>
                    <a:pt x="473844" y="1147671"/>
                  </a:cubicBezTo>
                  <a:cubicBezTo>
                    <a:pt x="589575" y="1147671"/>
                    <a:pt x="683394" y="1241490"/>
                    <a:pt x="683394" y="1357221"/>
                  </a:cubicBezTo>
                  <a:close/>
                  <a:moveTo>
                    <a:pt x="794521" y="1772403"/>
                  </a:moveTo>
                  <a:cubicBezTo>
                    <a:pt x="775533" y="1803019"/>
                    <a:pt x="763564" y="1838106"/>
                    <a:pt x="760480" y="1875663"/>
                  </a:cubicBezTo>
                  <a:cubicBezTo>
                    <a:pt x="654054" y="1822066"/>
                    <a:pt x="568072" y="1734443"/>
                    <a:pt x="516913" y="1626725"/>
                  </a:cubicBezTo>
                  <a:cubicBezTo>
                    <a:pt x="554560" y="1621730"/>
                    <a:pt x="589522" y="1608175"/>
                    <a:pt x="619969" y="1588089"/>
                  </a:cubicBezTo>
                  <a:cubicBezTo>
                    <a:pt x="656986" y="1666600"/>
                    <a:pt x="718716" y="1730458"/>
                    <a:pt x="794521" y="1772403"/>
                  </a:cubicBezTo>
                  <a:close/>
                  <a:moveTo>
                    <a:pt x="1240606" y="1908084"/>
                  </a:moveTo>
                  <a:cubicBezTo>
                    <a:pt x="1240606" y="2023815"/>
                    <a:pt x="1146787" y="2117634"/>
                    <a:pt x="1031056" y="2117634"/>
                  </a:cubicBezTo>
                  <a:cubicBezTo>
                    <a:pt x="915325" y="2117634"/>
                    <a:pt x="821506" y="2023815"/>
                    <a:pt x="821506" y="1908084"/>
                  </a:cubicBezTo>
                  <a:cubicBezTo>
                    <a:pt x="821506" y="1792353"/>
                    <a:pt x="915325" y="1698534"/>
                    <a:pt x="1031056" y="1698534"/>
                  </a:cubicBezTo>
                  <a:cubicBezTo>
                    <a:pt x="1146787" y="1698534"/>
                    <a:pt x="1240606" y="1792353"/>
                    <a:pt x="1240606" y="1908084"/>
                  </a:cubicBezTo>
                  <a:close/>
                  <a:moveTo>
                    <a:pt x="1373359" y="613050"/>
                  </a:moveTo>
                  <a:cubicBezTo>
                    <a:pt x="1373781" y="592439"/>
                    <a:pt x="1371525" y="580084"/>
                    <a:pt x="1366588" y="548121"/>
                  </a:cubicBezTo>
                  <a:cubicBezTo>
                    <a:pt x="1346003" y="461219"/>
                    <a:pt x="1278868" y="410011"/>
                    <a:pt x="1201868" y="402221"/>
                  </a:cubicBezTo>
                  <a:cubicBezTo>
                    <a:pt x="931351" y="360536"/>
                    <a:pt x="985455" y="670197"/>
                    <a:pt x="854062" y="652331"/>
                  </a:cubicBezTo>
                  <a:cubicBezTo>
                    <a:pt x="735550" y="625534"/>
                    <a:pt x="783213" y="491547"/>
                    <a:pt x="823146" y="420087"/>
                  </a:cubicBezTo>
                  <a:lnTo>
                    <a:pt x="695617" y="393290"/>
                  </a:lnTo>
                  <a:cubicBezTo>
                    <a:pt x="669255" y="453845"/>
                    <a:pt x="655521" y="504886"/>
                    <a:pt x="653658" y="548121"/>
                  </a:cubicBezTo>
                  <a:cubicBezTo>
                    <a:pt x="652750" y="592572"/>
                    <a:pt x="651843" y="592994"/>
                    <a:pt x="658078" y="637445"/>
                  </a:cubicBezTo>
                  <a:cubicBezTo>
                    <a:pt x="684114" y="745767"/>
                    <a:pt x="788926" y="772909"/>
                    <a:pt x="827010" y="783341"/>
                  </a:cubicBezTo>
                  <a:cubicBezTo>
                    <a:pt x="1076916" y="832967"/>
                    <a:pt x="1075626" y="531247"/>
                    <a:pt x="1182546" y="530254"/>
                  </a:cubicBezTo>
                  <a:cubicBezTo>
                    <a:pt x="1299767" y="545140"/>
                    <a:pt x="1246955" y="694015"/>
                    <a:pt x="1209598" y="735701"/>
                  </a:cubicBezTo>
                  <a:lnTo>
                    <a:pt x="1340990" y="762499"/>
                  </a:lnTo>
                  <a:cubicBezTo>
                    <a:pt x="1359764" y="717009"/>
                    <a:pt x="1370090" y="675238"/>
                    <a:pt x="1372044" y="637445"/>
                  </a:cubicBezTo>
                  <a:cubicBezTo>
                    <a:pt x="1372780" y="627708"/>
                    <a:pt x="1373218" y="619921"/>
                    <a:pt x="1373359" y="613050"/>
                  </a:cubicBezTo>
                  <a:close/>
                  <a:moveTo>
                    <a:pt x="1512939" y="1619251"/>
                  </a:moveTo>
                  <a:cubicBezTo>
                    <a:pt x="1467757" y="1718695"/>
                    <a:pt x="1392941" y="1801540"/>
                    <a:pt x="1299780" y="1857295"/>
                  </a:cubicBezTo>
                  <a:cubicBezTo>
                    <a:pt x="1293356" y="1820868"/>
                    <a:pt x="1279346" y="1787051"/>
                    <a:pt x="1259468" y="1757439"/>
                  </a:cubicBezTo>
                  <a:cubicBezTo>
                    <a:pt x="1328714" y="1711331"/>
                    <a:pt x="1384214" y="1646253"/>
                    <a:pt x="1415932" y="1568433"/>
                  </a:cubicBezTo>
                  <a:cubicBezTo>
                    <a:pt x="1443458" y="1592539"/>
                    <a:pt x="1476496" y="1610117"/>
                    <a:pt x="1512939" y="1619251"/>
                  </a:cubicBezTo>
                  <a:close/>
                  <a:moveTo>
                    <a:pt x="1797819" y="1357221"/>
                  </a:moveTo>
                  <a:cubicBezTo>
                    <a:pt x="1797819" y="1472952"/>
                    <a:pt x="1704000" y="1566771"/>
                    <a:pt x="1588269" y="1566771"/>
                  </a:cubicBezTo>
                  <a:cubicBezTo>
                    <a:pt x="1472538" y="1566771"/>
                    <a:pt x="1378719" y="1472952"/>
                    <a:pt x="1378719" y="1357221"/>
                  </a:cubicBezTo>
                  <a:cubicBezTo>
                    <a:pt x="1378719" y="1241490"/>
                    <a:pt x="1472538" y="1147671"/>
                    <a:pt x="1588269" y="1147671"/>
                  </a:cubicBezTo>
                  <a:cubicBezTo>
                    <a:pt x="1704000" y="1147671"/>
                    <a:pt x="1797819" y="1241490"/>
                    <a:pt x="1797819" y="1357221"/>
                  </a:cubicBezTo>
                  <a:close/>
                  <a:moveTo>
                    <a:pt x="2026419" y="1204820"/>
                  </a:moveTo>
                  <a:lnTo>
                    <a:pt x="1815729" y="1204820"/>
                  </a:lnTo>
                  <a:cubicBezTo>
                    <a:pt x="1766640" y="1131561"/>
                    <a:pt x="1683081" y="1083377"/>
                    <a:pt x="1588269" y="1083377"/>
                  </a:cubicBezTo>
                  <a:cubicBezTo>
                    <a:pt x="1493456" y="1083377"/>
                    <a:pt x="1409898" y="1131561"/>
                    <a:pt x="1360808" y="1204820"/>
                  </a:cubicBezTo>
                  <a:lnTo>
                    <a:pt x="701304" y="1204820"/>
                  </a:lnTo>
                  <a:cubicBezTo>
                    <a:pt x="652215" y="1131561"/>
                    <a:pt x="568656" y="1083377"/>
                    <a:pt x="473844" y="1083377"/>
                  </a:cubicBezTo>
                  <a:cubicBezTo>
                    <a:pt x="379031" y="1083377"/>
                    <a:pt x="295473" y="1131561"/>
                    <a:pt x="246383" y="1204820"/>
                  </a:cubicBezTo>
                  <a:lnTo>
                    <a:pt x="0" y="1204820"/>
                  </a:lnTo>
                  <a:lnTo>
                    <a:pt x="199603" y="0"/>
                  </a:lnTo>
                  <a:lnTo>
                    <a:pt x="1826816" y="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a:solidFill>
                  <a:schemeClr val="tx1"/>
                </a:solidFill>
              </a:endParaRPr>
            </a:p>
          </p:txBody>
        </p:sp>
        <p:sp>
          <p:nvSpPr>
            <p:cNvPr id="224" name="Freeform 223"/>
            <p:cNvSpPr/>
            <p:nvPr/>
          </p:nvSpPr>
          <p:spPr>
            <a:xfrm>
              <a:off x="1492918" y="2178485"/>
              <a:ext cx="157484" cy="152710"/>
            </a:xfrm>
            <a:custGeom>
              <a:avLst/>
              <a:gdLst>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598424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1358 w 4062047"/>
                <a:gd name="connsiteY5" fmla="*/ 1576817 h 3938955"/>
                <a:gd name="connsiteX6" fmla="*/ 2420651 w 4062047"/>
                <a:gd name="connsiteY6" fmla="*/ 1739087 h 3938955"/>
                <a:gd name="connsiteX7" fmla="*/ 3241046 w 4062047"/>
                <a:gd name="connsiteY7" fmla="*/ 1879207 h 3938955"/>
                <a:gd name="connsiteX8" fmla="*/ 3223454 w 4062047"/>
                <a:gd name="connsiteY8" fmla="*/ 1598424 h 3938955"/>
                <a:gd name="connsiteX9" fmla="*/ 3121358 w 4062047"/>
                <a:gd name="connsiteY9" fmla="*/ 1576817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3739 w 4062047"/>
                <a:gd name="connsiteY5" fmla="*/ 1610155 h 3938955"/>
                <a:gd name="connsiteX6" fmla="*/ 2420651 w 4062047"/>
                <a:gd name="connsiteY6" fmla="*/ 1739087 h 3938955"/>
                <a:gd name="connsiteX7" fmla="*/ 3241046 w 4062047"/>
                <a:gd name="connsiteY7" fmla="*/ 1879207 h 3938955"/>
                <a:gd name="connsiteX8" fmla="*/ 3223454 w 4062047"/>
                <a:gd name="connsiteY8" fmla="*/ 1598424 h 3938955"/>
                <a:gd name="connsiteX9" fmla="*/ 3123739 w 4062047"/>
                <a:gd name="connsiteY9" fmla="*/ 1610155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4214 w 4062047"/>
                <a:gd name="connsiteY5" fmla="*/ 1610155 h 3938955"/>
                <a:gd name="connsiteX6" fmla="*/ 2420651 w 4062047"/>
                <a:gd name="connsiteY6" fmla="*/ 1739087 h 3938955"/>
                <a:gd name="connsiteX7" fmla="*/ 3241046 w 4062047"/>
                <a:gd name="connsiteY7" fmla="*/ 1879207 h 3938955"/>
                <a:gd name="connsiteX8" fmla="*/ 3223454 w 4062047"/>
                <a:gd name="connsiteY8" fmla="*/ 1598424 h 3938955"/>
                <a:gd name="connsiteX9" fmla="*/ 3114214 w 4062047"/>
                <a:gd name="connsiteY9" fmla="*/ 1610155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4214 w 4062047"/>
                <a:gd name="connsiteY5" fmla="*/ 1610155 h 3938955"/>
                <a:gd name="connsiteX6" fmla="*/ 2420651 w 4062047"/>
                <a:gd name="connsiteY6" fmla="*/ 1739087 h 3938955"/>
                <a:gd name="connsiteX7" fmla="*/ 3241046 w 4062047"/>
                <a:gd name="connsiteY7" fmla="*/ 1879207 h 3938955"/>
                <a:gd name="connsiteX8" fmla="*/ 3206785 w 4062047"/>
                <a:gd name="connsiteY8" fmla="*/ 1600806 h 3938955"/>
                <a:gd name="connsiteX9" fmla="*/ 3114214 w 4062047"/>
                <a:gd name="connsiteY9" fmla="*/ 1610155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0806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206785 w 4062047"/>
                <a:gd name="connsiteY5" fmla="*/ 1603188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2950677 w 4062047"/>
                <a:gd name="connsiteY9" fmla="*/ 857698 h 3938955"/>
                <a:gd name="connsiteX10" fmla="*/ 2870505 w 4062047"/>
                <a:gd name="connsiteY10" fmla="*/ 878864 h 3938955"/>
                <a:gd name="connsiteX11" fmla="*/ 2227569 w 4062047"/>
                <a:gd name="connsiteY11" fmla="*/ 1381308 h 3938955"/>
                <a:gd name="connsiteX12" fmla="*/ 3013380 w 4062047"/>
                <a:gd name="connsiteY12" fmla="*/ 1093177 h 3938955"/>
                <a:gd name="connsiteX13" fmla="*/ 2950677 w 4062047"/>
                <a:gd name="connsiteY13" fmla="*/ 857698 h 3938955"/>
                <a:gd name="connsiteX14" fmla="*/ 850835 w 4062047"/>
                <a:gd name="connsiteY14" fmla="*/ 587237 h 3938955"/>
                <a:gd name="connsiteX15" fmla="*/ 691663 w 4062047"/>
                <a:gd name="connsiteY15" fmla="*/ 759803 h 3938955"/>
                <a:gd name="connsiteX16" fmla="*/ 1286976 w 4062047"/>
                <a:gd name="connsiteY16" fmla="*/ 2250466 h 3938955"/>
                <a:gd name="connsiteX17" fmla="*/ 1072663 w 4062047"/>
                <a:gd name="connsiteY17" fmla="*/ 2593366 h 3938955"/>
                <a:gd name="connsiteX18" fmla="*/ 744051 w 4062047"/>
                <a:gd name="connsiteY18" fmla="*/ 2731478 h 3938955"/>
                <a:gd name="connsiteX19" fmla="*/ 1191726 w 4062047"/>
                <a:gd name="connsiteY19" fmla="*/ 2836253 h 3938955"/>
                <a:gd name="connsiteX20" fmla="*/ 1696551 w 4062047"/>
                <a:gd name="connsiteY20" fmla="*/ 2036153 h 3938955"/>
                <a:gd name="connsiteX21" fmla="*/ 2201376 w 4062047"/>
                <a:gd name="connsiteY21" fmla="*/ 769328 h 3938955"/>
                <a:gd name="connsiteX22" fmla="*/ 1929913 w 4062047"/>
                <a:gd name="connsiteY22" fmla="*/ 683603 h 3938955"/>
                <a:gd name="connsiteX23" fmla="*/ 1458426 w 4062047"/>
                <a:gd name="connsiteY23" fmla="*/ 1855178 h 3938955"/>
                <a:gd name="connsiteX24" fmla="*/ 972651 w 4062047"/>
                <a:gd name="connsiteY24" fmla="*/ 650266 h 3938955"/>
                <a:gd name="connsiteX25" fmla="*/ 850835 w 4062047"/>
                <a:gd name="connsiteY25" fmla="*/ 587237 h 3938955"/>
                <a:gd name="connsiteX26" fmla="*/ 540732 w 4062047"/>
                <a:gd name="connsiteY26" fmla="*/ 0 h 3938955"/>
                <a:gd name="connsiteX27" fmla="*/ 3521315 w 4062047"/>
                <a:gd name="connsiteY27" fmla="*/ 0 h 3938955"/>
                <a:gd name="connsiteX28" fmla="*/ 4062047 w 4062047"/>
                <a:gd name="connsiteY28" fmla="*/ 540731 h 3938955"/>
                <a:gd name="connsiteX29" fmla="*/ 4062047 w 4062047"/>
                <a:gd name="connsiteY29" fmla="*/ 2914645 h 3938955"/>
                <a:gd name="connsiteX30" fmla="*/ 3521315 w 4062047"/>
                <a:gd name="connsiteY30" fmla="*/ 3455377 h 3938955"/>
                <a:gd name="connsiteX31" fmla="*/ 1802912 w 4062047"/>
                <a:gd name="connsiteY31" fmla="*/ 3455377 h 3938955"/>
                <a:gd name="connsiteX32" fmla="*/ 1075041 w 4062047"/>
                <a:gd name="connsiteY32" fmla="*/ 3938955 h 3938955"/>
                <a:gd name="connsiteX33" fmla="*/ 1075041 w 4062047"/>
                <a:gd name="connsiteY33" fmla="*/ 3455377 h 3938955"/>
                <a:gd name="connsiteX34" fmla="*/ 540732 w 4062047"/>
                <a:gd name="connsiteY34" fmla="*/ 3455377 h 3938955"/>
                <a:gd name="connsiteX35" fmla="*/ 0 w 4062047"/>
                <a:gd name="connsiteY35" fmla="*/ 2914645 h 3938955"/>
                <a:gd name="connsiteX36" fmla="*/ 0 w 4062047"/>
                <a:gd name="connsiteY36" fmla="*/ 540731 h 3938955"/>
                <a:gd name="connsiteX37" fmla="*/ 540732 w 4062047"/>
                <a:gd name="connsiteY37"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206785 w 4062047"/>
                <a:gd name="connsiteY5" fmla="*/ 1603188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2950677 w 4062047"/>
                <a:gd name="connsiteY9" fmla="*/ 857698 h 3938955"/>
                <a:gd name="connsiteX10" fmla="*/ 2870505 w 4062047"/>
                <a:gd name="connsiteY10" fmla="*/ 878864 h 3938955"/>
                <a:gd name="connsiteX11" fmla="*/ 2227569 w 4062047"/>
                <a:gd name="connsiteY11" fmla="*/ 1381308 h 3938955"/>
                <a:gd name="connsiteX12" fmla="*/ 3013380 w 4062047"/>
                <a:gd name="connsiteY12" fmla="*/ 1093177 h 3938955"/>
                <a:gd name="connsiteX13" fmla="*/ 2950677 w 4062047"/>
                <a:gd name="connsiteY13" fmla="*/ 857698 h 3938955"/>
                <a:gd name="connsiteX14" fmla="*/ 850835 w 4062047"/>
                <a:gd name="connsiteY14" fmla="*/ 587237 h 3938955"/>
                <a:gd name="connsiteX15" fmla="*/ 691663 w 4062047"/>
                <a:gd name="connsiteY15" fmla="*/ 759803 h 3938955"/>
                <a:gd name="connsiteX16" fmla="*/ 1286976 w 4062047"/>
                <a:gd name="connsiteY16" fmla="*/ 2250466 h 3938955"/>
                <a:gd name="connsiteX17" fmla="*/ 1072663 w 4062047"/>
                <a:gd name="connsiteY17" fmla="*/ 2593366 h 3938955"/>
                <a:gd name="connsiteX18" fmla="*/ 744051 w 4062047"/>
                <a:gd name="connsiteY18" fmla="*/ 2731478 h 3938955"/>
                <a:gd name="connsiteX19" fmla="*/ 1191726 w 4062047"/>
                <a:gd name="connsiteY19" fmla="*/ 2836253 h 3938955"/>
                <a:gd name="connsiteX20" fmla="*/ 1696551 w 4062047"/>
                <a:gd name="connsiteY20" fmla="*/ 2036153 h 3938955"/>
                <a:gd name="connsiteX21" fmla="*/ 2201376 w 4062047"/>
                <a:gd name="connsiteY21" fmla="*/ 769328 h 3938955"/>
                <a:gd name="connsiteX22" fmla="*/ 1929913 w 4062047"/>
                <a:gd name="connsiteY22" fmla="*/ 683603 h 3938955"/>
                <a:gd name="connsiteX23" fmla="*/ 1458426 w 4062047"/>
                <a:gd name="connsiteY23" fmla="*/ 1855178 h 3938955"/>
                <a:gd name="connsiteX24" fmla="*/ 972651 w 4062047"/>
                <a:gd name="connsiteY24" fmla="*/ 650266 h 3938955"/>
                <a:gd name="connsiteX25" fmla="*/ 850835 w 4062047"/>
                <a:gd name="connsiteY25" fmla="*/ 587237 h 3938955"/>
                <a:gd name="connsiteX26" fmla="*/ 540732 w 4062047"/>
                <a:gd name="connsiteY26" fmla="*/ 0 h 3938955"/>
                <a:gd name="connsiteX27" fmla="*/ 3521315 w 4062047"/>
                <a:gd name="connsiteY27" fmla="*/ 0 h 3938955"/>
                <a:gd name="connsiteX28" fmla="*/ 4062047 w 4062047"/>
                <a:gd name="connsiteY28" fmla="*/ 540731 h 3938955"/>
                <a:gd name="connsiteX29" fmla="*/ 4062047 w 4062047"/>
                <a:gd name="connsiteY29" fmla="*/ 2914645 h 3938955"/>
                <a:gd name="connsiteX30" fmla="*/ 3521315 w 4062047"/>
                <a:gd name="connsiteY30" fmla="*/ 3455377 h 3938955"/>
                <a:gd name="connsiteX31" fmla="*/ 1802912 w 4062047"/>
                <a:gd name="connsiteY31" fmla="*/ 3455377 h 3938955"/>
                <a:gd name="connsiteX32" fmla="*/ 1075041 w 4062047"/>
                <a:gd name="connsiteY32" fmla="*/ 3938955 h 3938955"/>
                <a:gd name="connsiteX33" fmla="*/ 1075041 w 4062047"/>
                <a:gd name="connsiteY33" fmla="*/ 3455377 h 3938955"/>
                <a:gd name="connsiteX34" fmla="*/ 540732 w 4062047"/>
                <a:gd name="connsiteY34" fmla="*/ 3455377 h 3938955"/>
                <a:gd name="connsiteX35" fmla="*/ 0 w 4062047"/>
                <a:gd name="connsiteY35" fmla="*/ 2914645 h 3938955"/>
                <a:gd name="connsiteX36" fmla="*/ 0 w 4062047"/>
                <a:gd name="connsiteY36" fmla="*/ 540731 h 3938955"/>
                <a:gd name="connsiteX37" fmla="*/ 540732 w 4062047"/>
                <a:gd name="connsiteY37"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206785 w 4062047"/>
                <a:gd name="connsiteY5" fmla="*/ 1603188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2950677 w 4062047"/>
                <a:gd name="connsiteY9" fmla="*/ 857698 h 3938955"/>
                <a:gd name="connsiteX10" fmla="*/ 2870505 w 4062047"/>
                <a:gd name="connsiteY10" fmla="*/ 878864 h 3938955"/>
                <a:gd name="connsiteX11" fmla="*/ 2227569 w 4062047"/>
                <a:gd name="connsiteY11" fmla="*/ 1381308 h 3938955"/>
                <a:gd name="connsiteX12" fmla="*/ 3013380 w 4062047"/>
                <a:gd name="connsiteY12" fmla="*/ 1093177 h 3938955"/>
                <a:gd name="connsiteX13" fmla="*/ 2950677 w 4062047"/>
                <a:gd name="connsiteY13" fmla="*/ 857698 h 3938955"/>
                <a:gd name="connsiteX14" fmla="*/ 850835 w 4062047"/>
                <a:gd name="connsiteY14" fmla="*/ 587237 h 3938955"/>
                <a:gd name="connsiteX15" fmla="*/ 691663 w 4062047"/>
                <a:gd name="connsiteY15" fmla="*/ 759803 h 3938955"/>
                <a:gd name="connsiteX16" fmla="*/ 1286976 w 4062047"/>
                <a:gd name="connsiteY16" fmla="*/ 2250466 h 3938955"/>
                <a:gd name="connsiteX17" fmla="*/ 1072663 w 4062047"/>
                <a:gd name="connsiteY17" fmla="*/ 2593366 h 3938955"/>
                <a:gd name="connsiteX18" fmla="*/ 744051 w 4062047"/>
                <a:gd name="connsiteY18" fmla="*/ 2731478 h 3938955"/>
                <a:gd name="connsiteX19" fmla="*/ 1191726 w 4062047"/>
                <a:gd name="connsiteY19" fmla="*/ 2836253 h 3938955"/>
                <a:gd name="connsiteX20" fmla="*/ 1696551 w 4062047"/>
                <a:gd name="connsiteY20" fmla="*/ 2036153 h 3938955"/>
                <a:gd name="connsiteX21" fmla="*/ 2201376 w 4062047"/>
                <a:gd name="connsiteY21" fmla="*/ 769328 h 3938955"/>
                <a:gd name="connsiteX22" fmla="*/ 1929913 w 4062047"/>
                <a:gd name="connsiteY22" fmla="*/ 683603 h 3938955"/>
                <a:gd name="connsiteX23" fmla="*/ 1458426 w 4062047"/>
                <a:gd name="connsiteY23" fmla="*/ 1855178 h 3938955"/>
                <a:gd name="connsiteX24" fmla="*/ 972651 w 4062047"/>
                <a:gd name="connsiteY24" fmla="*/ 650266 h 3938955"/>
                <a:gd name="connsiteX25" fmla="*/ 850835 w 4062047"/>
                <a:gd name="connsiteY25" fmla="*/ 587237 h 3938955"/>
                <a:gd name="connsiteX26" fmla="*/ 540732 w 4062047"/>
                <a:gd name="connsiteY26" fmla="*/ 0 h 3938955"/>
                <a:gd name="connsiteX27" fmla="*/ 3521315 w 4062047"/>
                <a:gd name="connsiteY27" fmla="*/ 0 h 3938955"/>
                <a:gd name="connsiteX28" fmla="*/ 4062047 w 4062047"/>
                <a:gd name="connsiteY28" fmla="*/ 540731 h 3938955"/>
                <a:gd name="connsiteX29" fmla="*/ 4062047 w 4062047"/>
                <a:gd name="connsiteY29" fmla="*/ 2914645 h 3938955"/>
                <a:gd name="connsiteX30" fmla="*/ 3521315 w 4062047"/>
                <a:gd name="connsiteY30" fmla="*/ 3455377 h 3938955"/>
                <a:gd name="connsiteX31" fmla="*/ 1802912 w 4062047"/>
                <a:gd name="connsiteY31" fmla="*/ 3455377 h 3938955"/>
                <a:gd name="connsiteX32" fmla="*/ 1075041 w 4062047"/>
                <a:gd name="connsiteY32" fmla="*/ 3938955 h 3938955"/>
                <a:gd name="connsiteX33" fmla="*/ 1075041 w 4062047"/>
                <a:gd name="connsiteY33" fmla="*/ 3455377 h 3938955"/>
                <a:gd name="connsiteX34" fmla="*/ 540732 w 4062047"/>
                <a:gd name="connsiteY34" fmla="*/ 3455377 h 3938955"/>
                <a:gd name="connsiteX35" fmla="*/ 0 w 4062047"/>
                <a:gd name="connsiteY35" fmla="*/ 2914645 h 3938955"/>
                <a:gd name="connsiteX36" fmla="*/ 0 w 4062047"/>
                <a:gd name="connsiteY36" fmla="*/ 540731 h 3938955"/>
                <a:gd name="connsiteX37" fmla="*/ 540732 w 4062047"/>
                <a:gd name="connsiteY37" fmla="*/ 0 h 393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62047" h="3938955">
                  <a:moveTo>
                    <a:pt x="2292410" y="2109292"/>
                  </a:moveTo>
                  <a:cubicBezTo>
                    <a:pt x="2268687" y="2107678"/>
                    <a:pt x="2249265" y="2109514"/>
                    <a:pt x="2235381" y="2115515"/>
                  </a:cubicBezTo>
                  <a:cubicBezTo>
                    <a:pt x="2217974" y="2189262"/>
                    <a:pt x="2613445" y="2474616"/>
                    <a:pt x="2889776" y="2637325"/>
                  </a:cubicBezTo>
                  <a:cubicBezTo>
                    <a:pt x="2978370" y="2687082"/>
                    <a:pt x="3175001" y="2558447"/>
                    <a:pt x="2998691" y="2403914"/>
                  </a:cubicBezTo>
                  <a:cubicBezTo>
                    <a:pt x="2835268" y="2300874"/>
                    <a:pt x="2458468" y="2120587"/>
                    <a:pt x="2292410" y="2109292"/>
                  </a:cubicBezTo>
                  <a:close/>
                  <a:moveTo>
                    <a:pt x="3206785" y="1603188"/>
                  </a:moveTo>
                  <a:cubicBezTo>
                    <a:pt x="3072434" y="1591741"/>
                    <a:pt x="2414941" y="1693084"/>
                    <a:pt x="2420651" y="1739087"/>
                  </a:cubicBezTo>
                  <a:cubicBezTo>
                    <a:pt x="2441093" y="1812050"/>
                    <a:pt x="2920489" y="1870481"/>
                    <a:pt x="3241046" y="1879207"/>
                  </a:cubicBezTo>
                  <a:cubicBezTo>
                    <a:pt x="3377656" y="1864033"/>
                    <a:pt x="3431985" y="1611977"/>
                    <a:pt x="3206785" y="1603188"/>
                  </a:cubicBezTo>
                  <a:close/>
                  <a:moveTo>
                    <a:pt x="2950677" y="857698"/>
                  </a:moveTo>
                  <a:cubicBezTo>
                    <a:pt x="2927159" y="860050"/>
                    <a:pt x="2900469" y="866759"/>
                    <a:pt x="2870505" y="878864"/>
                  </a:cubicBezTo>
                  <a:cubicBezTo>
                    <a:pt x="2672862" y="977289"/>
                    <a:pt x="2275194" y="1268596"/>
                    <a:pt x="2227569" y="1381308"/>
                  </a:cubicBezTo>
                  <a:cubicBezTo>
                    <a:pt x="2281544" y="1434489"/>
                    <a:pt x="2730806" y="1244784"/>
                    <a:pt x="3013380" y="1093177"/>
                  </a:cubicBezTo>
                  <a:cubicBezTo>
                    <a:pt x="3117363" y="1016878"/>
                    <a:pt x="3055771" y="876954"/>
                    <a:pt x="2950677" y="857698"/>
                  </a:cubicBezTo>
                  <a:close/>
                  <a:moveTo>
                    <a:pt x="850835" y="587237"/>
                  </a:moveTo>
                  <a:cubicBezTo>
                    <a:pt x="745540" y="573769"/>
                    <a:pt x="690473" y="689557"/>
                    <a:pt x="691663" y="759803"/>
                  </a:cubicBezTo>
                  <a:lnTo>
                    <a:pt x="1286976" y="2250466"/>
                  </a:lnTo>
                  <a:cubicBezTo>
                    <a:pt x="1258401" y="2445728"/>
                    <a:pt x="1167913" y="2564791"/>
                    <a:pt x="1072663" y="2593366"/>
                  </a:cubicBezTo>
                  <a:cubicBezTo>
                    <a:pt x="963126" y="2639403"/>
                    <a:pt x="767864" y="2542565"/>
                    <a:pt x="744051" y="2731478"/>
                  </a:cubicBezTo>
                  <a:cubicBezTo>
                    <a:pt x="759926" y="2890228"/>
                    <a:pt x="947251" y="2896578"/>
                    <a:pt x="1191726" y="2836253"/>
                  </a:cubicBezTo>
                  <a:cubicBezTo>
                    <a:pt x="1426676" y="2750528"/>
                    <a:pt x="1466364" y="2636228"/>
                    <a:pt x="1696551" y="2036153"/>
                  </a:cubicBezTo>
                  <a:lnTo>
                    <a:pt x="2201376" y="769328"/>
                  </a:lnTo>
                  <a:cubicBezTo>
                    <a:pt x="2215663" y="650265"/>
                    <a:pt x="2048976" y="521678"/>
                    <a:pt x="1929913" y="683603"/>
                  </a:cubicBezTo>
                  <a:lnTo>
                    <a:pt x="1458426" y="1855178"/>
                  </a:lnTo>
                  <a:lnTo>
                    <a:pt x="972651" y="650266"/>
                  </a:lnTo>
                  <a:cubicBezTo>
                    <a:pt x="926614" y="610579"/>
                    <a:pt x="885934" y="591727"/>
                    <a:pt x="850835" y="587237"/>
                  </a:cubicBezTo>
                  <a:close/>
                  <a:moveTo>
                    <a:pt x="540732" y="0"/>
                  </a:moveTo>
                  <a:lnTo>
                    <a:pt x="3521315" y="0"/>
                  </a:lnTo>
                  <a:cubicBezTo>
                    <a:pt x="3819953" y="0"/>
                    <a:pt x="4062047" y="242093"/>
                    <a:pt x="4062047" y="540731"/>
                  </a:cubicBezTo>
                  <a:lnTo>
                    <a:pt x="4062047" y="2914645"/>
                  </a:lnTo>
                  <a:cubicBezTo>
                    <a:pt x="4062047" y="3213283"/>
                    <a:pt x="3819953" y="3455377"/>
                    <a:pt x="3521315" y="3455377"/>
                  </a:cubicBezTo>
                  <a:lnTo>
                    <a:pt x="1802912" y="3455377"/>
                  </a:lnTo>
                  <a:lnTo>
                    <a:pt x="1075041" y="3938955"/>
                  </a:lnTo>
                  <a:lnTo>
                    <a:pt x="1075041" y="3455377"/>
                  </a:lnTo>
                  <a:lnTo>
                    <a:pt x="540732" y="3455377"/>
                  </a:lnTo>
                  <a:cubicBezTo>
                    <a:pt x="242094" y="3455377"/>
                    <a:pt x="0" y="3213283"/>
                    <a:pt x="0" y="2914645"/>
                  </a:cubicBezTo>
                  <a:lnTo>
                    <a:pt x="0" y="540731"/>
                  </a:lnTo>
                  <a:cubicBezTo>
                    <a:pt x="0" y="242093"/>
                    <a:pt x="242094" y="0"/>
                    <a:pt x="540732" y="0"/>
                  </a:cubicBez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dirty="0">
                <a:solidFill>
                  <a:schemeClr val="tx1"/>
                </a:solidFill>
                <a:latin typeface="Segoe UI" pitchFamily="34" charset="0"/>
                <a:ea typeface="Segoe UI" pitchFamily="34" charset="0"/>
                <a:cs typeface="Segoe UI" pitchFamily="34" charset="0"/>
              </a:endParaRPr>
            </a:p>
          </p:txBody>
        </p:sp>
        <p:sp>
          <p:nvSpPr>
            <p:cNvPr id="225" name="Freeform 224"/>
            <p:cNvSpPr>
              <a:spLocks/>
            </p:cNvSpPr>
            <p:nvPr/>
          </p:nvSpPr>
          <p:spPr bwMode="auto">
            <a:xfrm>
              <a:off x="1673997" y="2433337"/>
              <a:ext cx="141378" cy="137129"/>
            </a:xfrm>
            <a:custGeom>
              <a:avLst/>
              <a:gdLst/>
              <a:ahLst/>
              <a:cxnLst/>
              <a:rect l="l" t="t" r="r" b="b"/>
              <a:pathLst>
                <a:path w="792162" h="768350">
                  <a:moveTo>
                    <a:pt x="428082" y="239713"/>
                  </a:moveTo>
                  <a:lnTo>
                    <a:pt x="415438" y="240512"/>
                  </a:lnTo>
                  <a:lnTo>
                    <a:pt x="403583" y="242907"/>
                  </a:lnTo>
                  <a:lnTo>
                    <a:pt x="391728" y="248496"/>
                  </a:lnTo>
                  <a:lnTo>
                    <a:pt x="380664" y="254884"/>
                  </a:lnTo>
                  <a:lnTo>
                    <a:pt x="369599" y="264466"/>
                  </a:lnTo>
                  <a:lnTo>
                    <a:pt x="360116" y="274846"/>
                  </a:lnTo>
                  <a:lnTo>
                    <a:pt x="349842" y="288420"/>
                  </a:lnTo>
                  <a:lnTo>
                    <a:pt x="340358" y="303591"/>
                  </a:lnTo>
                  <a:lnTo>
                    <a:pt x="331664" y="319561"/>
                  </a:lnTo>
                  <a:lnTo>
                    <a:pt x="324552" y="334732"/>
                  </a:lnTo>
                  <a:lnTo>
                    <a:pt x="318229" y="350701"/>
                  </a:lnTo>
                  <a:lnTo>
                    <a:pt x="312697" y="366671"/>
                  </a:lnTo>
                  <a:lnTo>
                    <a:pt x="308745" y="381842"/>
                  </a:lnTo>
                  <a:lnTo>
                    <a:pt x="306374" y="397013"/>
                  </a:lnTo>
                  <a:lnTo>
                    <a:pt x="304004" y="412184"/>
                  </a:lnTo>
                  <a:lnTo>
                    <a:pt x="303213" y="427355"/>
                  </a:lnTo>
                  <a:lnTo>
                    <a:pt x="304004" y="444922"/>
                  </a:lnTo>
                  <a:lnTo>
                    <a:pt x="307955" y="459294"/>
                  </a:lnTo>
                  <a:lnTo>
                    <a:pt x="312697" y="472868"/>
                  </a:lnTo>
                  <a:lnTo>
                    <a:pt x="319810" y="484845"/>
                  </a:lnTo>
                  <a:lnTo>
                    <a:pt x="324552" y="490435"/>
                  </a:lnTo>
                  <a:lnTo>
                    <a:pt x="328503" y="495226"/>
                  </a:lnTo>
                  <a:lnTo>
                    <a:pt x="334035" y="499218"/>
                  </a:lnTo>
                  <a:lnTo>
                    <a:pt x="339568" y="502412"/>
                  </a:lnTo>
                  <a:lnTo>
                    <a:pt x="345100" y="505606"/>
                  </a:lnTo>
                  <a:lnTo>
                    <a:pt x="351422" y="506404"/>
                  </a:lnTo>
                  <a:lnTo>
                    <a:pt x="358535" y="508001"/>
                  </a:lnTo>
                  <a:lnTo>
                    <a:pt x="366438" y="508001"/>
                  </a:lnTo>
                  <a:lnTo>
                    <a:pt x="379083" y="507203"/>
                  </a:lnTo>
                  <a:lnTo>
                    <a:pt x="390938" y="502412"/>
                  </a:lnTo>
                  <a:lnTo>
                    <a:pt x="402793" y="496024"/>
                  </a:lnTo>
                  <a:lnTo>
                    <a:pt x="413857" y="488039"/>
                  </a:lnTo>
                  <a:lnTo>
                    <a:pt x="424131" y="476062"/>
                  </a:lnTo>
                  <a:lnTo>
                    <a:pt x="434405" y="462488"/>
                  </a:lnTo>
                  <a:lnTo>
                    <a:pt x="443889" y="445720"/>
                  </a:lnTo>
                  <a:lnTo>
                    <a:pt x="451792" y="427355"/>
                  </a:lnTo>
                  <a:lnTo>
                    <a:pt x="459695" y="407393"/>
                  </a:lnTo>
                  <a:lnTo>
                    <a:pt x="466017" y="389028"/>
                  </a:lnTo>
                  <a:lnTo>
                    <a:pt x="472340" y="372260"/>
                  </a:lnTo>
                  <a:lnTo>
                    <a:pt x="477082" y="355492"/>
                  </a:lnTo>
                  <a:lnTo>
                    <a:pt x="481033" y="340321"/>
                  </a:lnTo>
                  <a:lnTo>
                    <a:pt x="483404" y="325949"/>
                  </a:lnTo>
                  <a:lnTo>
                    <a:pt x="484195" y="313173"/>
                  </a:lnTo>
                  <a:lnTo>
                    <a:pt x="485775" y="301196"/>
                  </a:lnTo>
                  <a:lnTo>
                    <a:pt x="484195" y="288420"/>
                  </a:lnTo>
                  <a:lnTo>
                    <a:pt x="481824" y="277242"/>
                  </a:lnTo>
                  <a:lnTo>
                    <a:pt x="476292" y="266063"/>
                  </a:lnTo>
                  <a:lnTo>
                    <a:pt x="469969" y="256481"/>
                  </a:lnTo>
                  <a:lnTo>
                    <a:pt x="466017" y="253287"/>
                  </a:lnTo>
                  <a:lnTo>
                    <a:pt x="462066" y="249295"/>
                  </a:lnTo>
                  <a:lnTo>
                    <a:pt x="457324" y="246900"/>
                  </a:lnTo>
                  <a:lnTo>
                    <a:pt x="451792" y="243706"/>
                  </a:lnTo>
                  <a:lnTo>
                    <a:pt x="446260" y="242109"/>
                  </a:lnTo>
                  <a:lnTo>
                    <a:pt x="440727" y="240512"/>
                  </a:lnTo>
                  <a:lnTo>
                    <a:pt x="434405" y="239713"/>
                  </a:lnTo>
                  <a:close/>
                  <a:moveTo>
                    <a:pt x="427466" y="0"/>
                  </a:moveTo>
                  <a:lnTo>
                    <a:pt x="446535" y="0"/>
                  </a:lnTo>
                  <a:lnTo>
                    <a:pt x="464809" y="1588"/>
                  </a:lnTo>
                  <a:lnTo>
                    <a:pt x="483084" y="3175"/>
                  </a:lnTo>
                  <a:lnTo>
                    <a:pt x="501359" y="5556"/>
                  </a:lnTo>
                  <a:lnTo>
                    <a:pt x="518839" y="8731"/>
                  </a:lnTo>
                  <a:lnTo>
                    <a:pt x="536319" y="11906"/>
                  </a:lnTo>
                  <a:lnTo>
                    <a:pt x="553004" y="15875"/>
                  </a:lnTo>
                  <a:lnTo>
                    <a:pt x="569689" y="20638"/>
                  </a:lnTo>
                  <a:lnTo>
                    <a:pt x="584786" y="26194"/>
                  </a:lnTo>
                  <a:lnTo>
                    <a:pt x="600677" y="32544"/>
                  </a:lnTo>
                  <a:lnTo>
                    <a:pt x="614979" y="38894"/>
                  </a:lnTo>
                  <a:lnTo>
                    <a:pt x="630075" y="46038"/>
                  </a:lnTo>
                  <a:lnTo>
                    <a:pt x="644377" y="53975"/>
                  </a:lnTo>
                  <a:lnTo>
                    <a:pt x="657884" y="62706"/>
                  </a:lnTo>
                  <a:lnTo>
                    <a:pt x="672186" y="71438"/>
                  </a:lnTo>
                  <a:lnTo>
                    <a:pt x="684899" y="81756"/>
                  </a:lnTo>
                  <a:lnTo>
                    <a:pt x="709529" y="103981"/>
                  </a:lnTo>
                  <a:lnTo>
                    <a:pt x="730982" y="127794"/>
                  </a:lnTo>
                  <a:lnTo>
                    <a:pt x="750051" y="153988"/>
                  </a:lnTo>
                  <a:lnTo>
                    <a:pt x="765148" y="181769"/>
                  </a:lnTo>
                  <a:lnTo>
                    <a:pt x="777066" y="211138"/>
                  </a:lnTo>
                  <a:lnTo>
                    <a:pt x="785011" y="242094"/>
                  </a:lnTo>
                  <a:lnTo>
                    <a:pt x="789779" y="273844"/>
                  </a:lnTo>
                  <a:lnTo>
                    <a:pt x="792162" y="308769"/>
                  </a:lnTo>
                  <a:lnTo>
                    <a:pt x="790573" y="336550"/>
                  </a:lnTo>
                  <a:lnTo>
                    <a:pt x="787395" y="362744"/>
                  </a:lnTo>
                  <a:lnTo>
                    <a:pt x="781833" y="387350"/>
                  </a:lnTo>
                  <a:lnTo>
                    <a:pt x="774682" y="411956"/>
                  </a:lnTo>
                  <a:lnTo>
                    <a:pt x="765148" y="435769"/>
                  </a:lnTo>
                  <a:lnTo>
                    <a:pt x="753229" y="457994"/>
                  </a:lnTo>
                  <a:lnTo>
                    <a:pt x="739722" y="480219"/>
                  </a:lnTo>
                  <a:lnTo>
                    <a:pt x="723037" y="500063"/>
                  </a:lnTo>
                  <a:lnTo>
                    <a:pt x="715091" y="510381"/>
                  </a:lnTo>
                  <a:lnTo>
                    <a:pt x="705557" y="518319"/>
                  </a:lnTo>
                  <a:lnTo>
                    <a:pt x="697611" y="527844"/>
                  </a:lnTo>
                  <a:lnTo>
                    <a:pt x="688077" y="534988"/>
                  </a:lnTo>
                  <a:lnTo>
                    <a:pt x="679337" y="542131"/>
                  </a:lnTo>
                  <a:lnTo>
                    <a:pt x="669802" y="548481"/>
                  </a:lnTo>
                  <a:lnTo>
                    <a:pt x="661062" y="554038"/>
                  </a:lnTo>
                  <a:lnTo>
                    <a:pt x="650733" y="559594"/>
                  </a:lnTo>
                  <a:lnTo>
                    <a:pt x="640404" y="564356"/>
                  </a:lnTo>
                  <a:lnTo>
                    <a:pt x="631664" y="568325"/>
                  </a:lnTo>
                  <a:lnTo>
                    <a:pt x="621335" y="572294"/>
                  </a:lnTo>
                  <a:lnTo>
                    <a:pt x="611800" y="574675"/>
                  </a:lnTo>
                  <a:lnTo>
                    <a:pt x="600677" y="577056"/>
                  </a:lnTo>
                  <a:lnTo>
                    <a:pt x="590348" y="578644"/>
                  </a:lnTo>
                  <a:lnTo>
                    <a:pt x="579224" y="579438"/>
                  </a:lnTo>
                  <a:lnTo>
                    <a:pt x="568100" y="579438"/>
                  </a:lnTo>
                  <a:lnTo>
                    <a:pt x="557771" y="579438"/>
                  </a:lnTo>
                  <a:lnTo>
                    <a:pt x="547442" y="577850"/>
                  </a:lnTo>
                  <a:lnTo>
                    <a:pt x="537113" y="576263"/>
                  </a:lnTo>
                  <a:lnTo>
                    <a:pt x="528373" y="573088"/>
                  </a:lnTo>
                  <a:lnTo>
                    <a:pt x="519633" y="569913"/>
                  </a:lnTo>
                  <a:lnTo>
                    <a:pt x="512482" y="565150"/>
                  </a:lnTo>
                  <a:lnTo>
                    <a:pt x="505331" y="560388"/>
                  </a:lnTo>
                  <a:lnTo>
                    <a:pt x="498975" y="554038"/>
                  </a:lnTo>
                  <a:lnTo>
                    <a:pt x="488646" y="541338"/>
                  </a:lnTo>
                  <a:lnTo>
                    <a:pt x="481495" y="527844"/>
                  </a:lnTo>
                  <a:lnTo>
                    <a:pt x="476728" y="514350"/>
                  </a:lnTo>
                  <a:lnTo>
                    <a:pt x="475139" y="501650"/>
                  </a:lnTo>
                  <a:lnTo>
                    <a:pt x="475139" y="498475"/>
                  </a:lnTo>
                  <a:lnTo>
                    <a:pt x="475139" y="494506"/>
                  </a:lnTo>
                  <a:lnTo>
                    <a:pt x="475139" y="489744"/>
                  </a:lnTo>
                  <a:lnTo>
                    <a:pt x="475933" y="484188"/>
                  </a:lnTo>
                  <a:lnTo>
                    <a:pt x="471166" y="493713"/>
                  </a:lnTo>
                  <a:lnTo>
                    <a:pt x="465604" y="501650"/>
                  </a:lnTo>
                  <a:lnTo>
                    <a:pt x="461631" y="508794"/>
                  </a:lnTo>
                  <a:lnTo>
                    <a:pt x="456069" y="516731"/>
                  </a:lnTo>
                  <a:lnTo>
                    <a:pt x="450508" y="523875"/>
                  </a:lnTo>
                  <a:lnTo>
                    <a:pt x="444946" y="530225"/>
                  </a:lnTo>
                  <a:lnTo>
                    <a:pt x="439384" y="535781"/>
                  </a:lnTo>
                  <a:lnTo>
                    <a:pt x="433822" y="541338"/>
                  </a:lnTo>
                  <a:lnTo>
                    <a:pt x="422699" y="550069"/>
                  </a:lnTo>
                  <a:lnTo>
                    <a:pt x="411575" y="558006"/>
                  </a:lnTo>
                  <a:lnTo>
                    <a:pt x="399657" y="564356"/>
                  </a:lnTo>
                  <a:lnTo>
                    <a:pt x="387739" y="569913"/>
                  </a:lnTo>
                  <a:lnTo>
                    <a:pt x="375026" y="573088"/>
                  </a:lnTo>
                  <a:lnTo>
                    <a:pt x="362313" y="577056"/>
                  </a:lnTo>
                  <a:lnTo>
                    <a:pt x="348806" y="577850"/>
                  </a:lnTo>
                  <a:lnTo>
                    <a:pt x="333709" y="578644"/>
                  </a:lnTo>
                  <a:lnTo>
                    <a:pt x="319408" y="577850"/>
                  </a:lnTo>
                  <a:lnTo>
                    <a:pt x="305900" y="576263"/>
                  </a:lnTo>
                  <a:lnTo>
                    <a:pt x="291598" y="573088"/>
                  </a:lnTo>
                  <a:lnTo>
                    <a:pt x="278886" y="568325"/>
                  </a:lnTo>
                  <a:lnTo>
                    <a:pt x="266968" y="561975"/>
                  </a:lnTo>
                  <a:lnTo>
                    <a:pt x="255844" y="554831"/>
                  </a:lnTo>
                  <a:lnTo>
                    <a:pt x="245515" y="546894"/>
                  </a:lnTo>
                  <a:lnTo>
                    <a:pt x="235186" y="536575"/>
                  </a:lnTo>
                  <a:lnTo>
                    <a:pt x="225651" y="525463"/>
                  </a:lnTo>
                  <a:lnTo>
                    <a:pt x="217706" y="512763"/>
                  </a:lnTo>
                  <a:lnTo>
                    <a:pt x="210555" y="500063"/>
                  </a:lnTo>
                  <a:lnTo>
                    <a:pt x="204993" y="484981"/>
                  </a:lnTo>
                  <a:lnTo>
                    <a:pt x="200226" y="469900"/>
                  </a:lnTo>
                  <a:lnTo>
                    <a:pt x="197842" y="453231"/>
                  </a:lnTo>
                  <a:lnTo>
                    <a:pt x="195458" y="434975"/>
                  </a:lnTo>
                  <a:lnTo>
                    <a:pt x="194664" y="416719"/>
                  </a:lnTo>
                  <a:lnTo>
                    <a:pt x="195458" y="394494"/>
                  </a:lnTo>
                  <a:lnTo>
                    <a:pt x="198637" y="373856"/>
                  </a:lnTo>
                  <a:lnTo>
                    <a:pt x="203404" y="351631"/>
                  </a:lnTo>
                  <a:lnTo>
                    <a:pt x="210555" y="330994"/>
                  </a:lnTo>
                  <a:lnTo>
                    <a:pt x="218500" y="310356"/>
                  </a:lnTo>
                  <a:lnTo>
                    <a:pt x="228829" y="289719"/>
                  </a:lnTo>
                  <a:lnTo>
                    <a:pt x="241542" y="270669"/>
                  </a:lnTo>
                  <a:lnTo>
                    <a:pt x="255049" y="250031"/>
                  </a:lnTo>
                  <a:lnTo>
                    <a:pt x="262995" y="241300"/>
                  </a:lnTo>
                  <a:lnTo>
                    <a:pt x="270940" y="231775"/>
                  </a:lnTo>
                  <a:lnTo>
                    <a:pt x="278886" y="223838"/>
                  </a:lnTo>
                  <a:lnTo>
                    <a:pt x="287626" y="216694"/>
                  </a:lnTo>
                  <a:lnTo>
                    <a:pt x="295571" y="209550"/>
                  </a:lnTo>
                  <a:lnTo>
                    <a:pt x="305106" y="203200"/>
                  </a:lnTo>
                  <a:lnTo>
                    <a:pt x="313846" y="197644"/>
                  </a:lnTo>
                  <a:lnTo>
                    <a:pt x="323380" y="192881"/>
                  </a:lnTo>
                  <a:lnTo>
                    <a:pt x="332120" y="188119"/>
                  </a:lnTo>
                  <a:lnTo>
                    <a:pt x="342449" y="184150"/>
                  </a:lnTo>
                  <a:lnTo>
                    <a:pt x="351984" y="180975"/>
                  </a:lnTo>
                  <a:lnTo>
                    <a:pt x="362313" y="177800"/>
                  </a:lnTo>
                  <a:lnTo>
                    <a:pt x="372642" y="176213"/>
                  </a:lnTo>
                  <a:lnTo>
                    <a:pt x="382177" y="174625"/>
                  </a:lnTo>
                  <a:lnTo>
                    <a:pt x="393300" y="173038"/>
                  </a:lnTo>
                  <a:lnTo>
                    <a:pt x="404424" y="173038"/>
                  </a:lnTo>
                  <a:lnTo>
                    <a:pt x="417137" y="173038"/>
                  </a:lnTo>
                  <a:lnTo>
                    <a:pt x="428260" y="175419"/>
                  </a:lnTo>
                  <a:lnTo>
                    <a:pt x="439384" y="177006"/>
                  </a:lnTo>
                  <a:lnTo>
                    <a:pt x="450508" y="180975"/>
                  </a:lnTo>
                  <a:lnTo>
                    <a:pt x="459248" y="184150"/>
                  </a:lnTo>
                  <a:lnTo>
                    <a:pt x="468782" y="188913"/>
                  </a:lnTo>
                  <a:lnTo>
                    <a:pt x="476728" y="195263"/>
                  </a:lnTo>
                  <a:lnTo>
                    <a:pt x="483879" y="201613"/>
                  </a:lnTo>
                  <a:lnTo>
                    <a:pt x="489440" y="207169"/>
                  </a:lnTo>
                  <a:lnTo>
                    <a:pt x="494208" y="212725"/>
                  </a:lnTo>
                  <a:lnTo>
                    <a:pt x="498975" y="219075"/>
                  </a:lnTo>
                  <a:lnTo>
                    <a:pt x="502153" y="225425"/>
                  </a:lnTo>
                  <a:lnTo>
                    <a:pt x="505331" y="231775"/>
                  </a:lnTo>
                  <a:lnTo>
                    <a:pt x="509304" y="238125"/>
                  </a:lnTo>
                  <a:lnTo>
                    <a:pt x="511688" y="244475"/>
                  </a:lnTo>
                  <a:lnTo>
                    <a:pt x="513277" y="252413"/>
                  </a:lnTo>
                  <a:lnTo>
                    <a:pt x="530757" y="189706"/>
                  </a:lnTo>
                  <a:lnTo>
                    <a:pt x="624513" y="189706"/>
                  </a:lnTo>
                  <a:lnTo>
                    <a:pt x="560949" y="403225"/>
                  </a:lnTo>
                  <a:lnTo>
                    <a:pt x="557771" y="415131"/>
                  </a:lnTo>
                  <a:lnTo>
                    <a:pt x="554593" y="426244"/>
                  </a:lnTo>
                  <a:lnTo>
                    <a:pt x="552209" y="434181"/>
                  </a:lnTo>
                  <a:lnTo>
                    <a:pt x="549826" y="441325"/>
                  </a:lnTo>
                  <a:lnTo>
                    <a:pt x="549031" y="447675"/>
                  </a:lnTo>
                  <a:lnTo>
                    <a:pt x="548237" y="453231"/>
                  </a:lnTo>
                  <a:lnTo>
                    <a:pt x="547442" y="458788"/>
                  </a:lnTo>
                  <a:lnTo>
                    <a:pt x="547442" y="463550"/>
                  </a:lnTo>
                  <a:lnTo>
                    <a:pt x="548237" y="470694"/>
                  </a:lnTo>
                  <a:lnTo>
                    <a:pt x="549826" y="477838"/>
                  </a:lnTo>
                  <a:lnTo>
                    <a:pt x="553004" y="484188"/>
                  </a:lnTo>
                  <a:lnTo>
                    <a:pt x="557771" y="492125"/>
                  </a:lnTo>
                  <a:lnTo>
                    <a:pt x="560155" y="494506"/>
                  </a:lnTo>
                  <a:lnTo>
                    <a:pt x="562539" y="496888"/>
                  </a:lnTo>
                  <a:lnTo>
                    <a:pt x="566511" y="499269"/>
                  </a:lnTo>
                  <a:lnTo>
                    <a:pt x="570484" y="500856"/>
                  </a:lnTo>
                  <a:lnTo>
                    <a:pt x="573662" y="502444"/>
                  </a:lnTo>
                  <a:lnTo>
                    <a:pt x="578429" y="504031"/>
                  </a:lnTo>
                  <a:lnTo>
                    <a:pt x="583197" y="504825"/>
                  </a:lnTo>
                  <a:lnTo>
                    <a:pt x="588759" y="504825"/>
                  </a:lnTo>
                  <a:lnTo>
                    <a:pt x="599882" y="504031"/>
                  </a:lnTo>
                  <a:lnTo>
                    <a:pt x="609417" y="500856"/>
                  </a:lnTo>
                  <a:lnTo>
                    <a:pt x="620540" y="496888"/>
                  </a:lnTo>
                  <a:lnTo>
                    <a:pt x="630869" y="490538"/>
                  </a:lnTo>
                  <a:lnTo>
                    <a:pt x="641993" y="482600"/>
                  </a:lnTo>
                  <a:lnTo>
                    <a:pt x="651528" y="473869"/>
                  </a:lnTo>
                  <a:lnTo>
                    <a:pt x="662651" y="461963"/>
                  </a:lnTo>
                  <a:lnTo>
                    <a:pt x="672980" y="448469"/>
                  </a:lnTo>
                  <a:lnTo>
                    <a:pt x="682515" y="434181"/>
                  </a:lnTo>
                  <a:lnTo>
                    <a:pt x="691255" y="419100"/>
                  </a:lnTo>
                  <a:lnTo>
                    <a:pt x="698406" y="402431"/>
                  </a:lnTo>
                  <a:lnTo>
                    <a:pt x="704762" y="384969"/>
                  </a:lnTo>
                  <a:lnTo>
                    <a:pt x="709529" y="366713"/>
                  </a:lnTo>
                  <a:lnTo>
                    <a:pt x="712708" y="346075"/>
                  </a:lnTo>
                  <a:lnTo>
                    <a:pt x="715091" y="324644"/>
                  </a:lnTo>
                  <a:lnTo>
                    <a:pt x="715886" y="302419"/>
                  </a:lnTo>
                  <a:lnTo>
                    <a:pt x="714297" y="270669"/>
                  </a:lnTo>
                  <a:lnTo>
                    <a:pt x="708735" y="240506"/>
                  </a:lnTo>
                  <a:lnTo>
                    <a:pt x="699200" y="211931"/>
                  </a:lnTo>
                  <a:lnTo>
                    <a:pt x="686488" y="185738"/>
                  </a:lnTo>
                  <a:lnTo>
                    <a:pt x="670597" y="163513"/>
                  </a:lnTo>
                  <a:lnTo>
                    <a:pt x="650733" y="142081"/>
                  </a:lnTo>
                  <a:lnTo>
                    <a:pt x="626897" y="123825"/>
                  </a:lnTo>
                  <a:lnTo>
                    <a:pt x="599882" y="108744"/>
                  </a:lnTo>
                  <a:lnTo>
                    <a:pt x="590348" y="103981"/>
                  </a:lnTo>
                  <a:lnTo>
                    <a:pt x="581608" y="99219"/>
                  </a:lnTo>
                  <a:lnTo>
                    <a:pt x="572073" y="95250"/>
                  </a:lnTo>
                  <a:lnTo>
                    <a:pt x="561744" y="92075"/>
                  </a:lnTo>
                  <a:lnTo>
                    <a:pt x="552209" y="88900"/>
                  </a:lnTo>
                  <a:lnTo>
                    <a:pt x="542675" y="85725"/>
                  </a:lnTo>
                  <a:lnTo>
                    <a:pt x="532346" y="82550"/>
                  </a:lnTo>
                  <a:lnTo>
                    <a:pt x="522811" y="80169"/>
                  </a:lnTo>
                  <a:lnTo>
                    <a:pt x="512482" y="77788"/>
                  </a:lnTo>
                  <a:lnTo>
                    <a:pt x="501359" y="76200"/>
                  </a:lnTo>
                  <a:lnTo>
                    <a:pt x="491824" y="74613"/>
                  </a:lnTo>
                  <a:lnTo>
                    <a:pt x="480700" y="73819"/>
                  </a:lnTo>
                  <a:lnTo>
                    <a:pt x="469577" y="71438"/>
                  </a:lnTo>
                  <a:lnTo>
                    <a:pt x="458453" y="71438"/>
                  </a:lnTo>
                  <a:lnTo>
                    <a:pt x="446535" y="70644"/>
                  </a:lnTo>
                  <a:lnTo>
                    <a:pt x="435411" y="70644"/>
                  </a:lnTo>
                  <a:lnTo>
                    <a:pt x="415548" y="70644"/>
                  </a:lnTo>
                  <a:lnTo>
                    <a:pt x="395684" y="73025"/>
                  </a:lnTo>
                  <a:lnTo>
                    <a:pt x="375026" y="74613"/>
                  </a:lnTo>
                  <a:lnTo>
                    <a:pt x="356751" y="76994"/>
                  </a:lnTo>
                  <a:lnTo>
                    <a:pt x="337682" y="80963"/>
                  </a:lnTo>
                  <a:lnTo>
                    <a:pt x="320202" y="85725"/>
                  </a:lnTo>
                  <a:lnTo>
                    <a:pt x="301928" y="91281"/>
                  </a:lnTo>
                  <a:lnTo>
                    <a:pt x="285242" y="96838"/>
                  </a:lnTo>
                  <a:lnTo>
                    <a:pt x="269351" y="103981"/>
                  </a:lnTo>
                  <a:lnTo>
                    <a:pt x="252666" y="111125"/>
                  </a:lnTo>
                  <a:lnTo>
                    <a:pt x="236775" y="119063"/>
                  </a:lnTo>
                  <a:lnTo>
                    <a:pt x="222473" y="128588"/>
                  </a:lnTo>
                  <a:lnTo>
                    <a:pt x="207377" y="138906"/>
                  </a:lnTo>
                  <a:lnTo>
                    <a:pt x="193869" y="149225"/>
                  </a:lnTo>
                  <a:lnTo>
                    <a:pt x="180362" y="161131"/>
                  </a:lnTo>
                  <a:lnTo>
                    <a:pt x="167649" y="173038"/>
                  </a:lnTo>
                  <a:lnTo>
                    <a:pt x="146197" y="196850"/>
                  </a:lnTo>
                  <a:lnTo>
                    <a:pt x="127922" y="221456"/>
                  </a:lnTo>
                  <a:lnTo>
                    <a:pt x="112826" y="247650"/>
                  </a:lnTo>
                  <a:lnTo>
                    <a:pt x="99318" y="274638"/>
                  </a:lnTo>
                  <a:lnTo>
                    <a:pt x="89784" y="303213"/>
                  </a:lnTo>
                  <a:lnTo>
                    <a:pt x="82633" y="332581"/>
                  </a:lnTo>
                  <a:lnTo>
                    <a:pt x="78660" y="362744"/>
                  </a:lnTo>
                  <a:lnTo>
                    <a:pt x="77071" y="394494"/>
                  </a:lnTo>
                  <a:lnTo>
                    <a:pt x="78660" y="429419"/>
                  </a:lnTo>
                  <a:lnTo>
                    <a:pt x="83428" y="463550"/>
                  </a:lnTo>
                  <a:lnTo>
                    <a:pt x="91373" y="494506"/>
                  </a:lnTo>
                  <a:lnTo>
                    <a:pt x="103291" y="523875"/>
                  </a:lnTo>
                  <a:lnTo>
                    <a:pt x="119182" y="550863"/>
                  </a:lnTo>
                  <a:lnTo>
                    <a:pt x="137457" y="577056"/>
                  </a:lnTo>
                  <a:lnTo>
                    <a:pt x="158909" y="600869"/>
                  </a:lnTo>
                  <a:lnTo>
                    <a:pt x="183540" y="622300"/>
                  </a:lnTo>
                  <a:lnTo>
                    <a:pt x="195458" y="631825"/>
                  </a:lnTo>
                  <a:lnTo>
                    <a:pt x="208966" y="639763"/>
                  </a:lnTo>
                  <a:lnTo>
                    <a:pt x="220884" y="648494"/>
                  </a:lnTo>
                  <a:lnTo>
                    <a:pt x="234391" y="654844"/>
                  </a:lnTo>
                  <a:lnTo>
                    <a:pt x="247104" y="661988"/>
                  </a:lnTo>
                  <a:lnTo>
                    <a:pt x="260611" y="667544"/>
                  </a:lnTo>
                  <a:lnTo>
                    <a:pt x="274913" y="673100"/>
                  </a:lnTo>
                  <a:lnTo>
                    <a:pt x="289215" y="678656"/>
                  </a:lnTo>
                  <a:lnTo>
                    <a:pt x="303517" y="681831"/>
                  </a:lnTo>
                  <a:lnTo>
                    <a:pt x="318613" y="686594"/>
                  </a:lnTo>
                  <a:lnTo>
                    <a:pt x="333709" y="689769"/>
                  </a:lnTo>
                  <a:lnTo>
                    <a:pt x="349600" y="692150"/>
                  </a:lnTo>
                  <a:lnTo>
                    <a:pt x="365491" y="693738"/>
                  </a:lnTo>
                  <a:lnTo>
                    <a:pt x="381382" y="696119"/>
                  </a:lnTo>
                  <a:lnTo>
                    <a:pt x="398068" y="696913"/>
                  </a:lnTo>
                  <a:lnTo>
                    <a:pt x="414753" y="696913"/>
                  </a:lnTo>
                  <a:lnTo>
                    <a:pt x="426671" y="696913"/>
                  </a:lnTo>
                  <a:lnTo>
                    <a:pt x="437795" y="696119"/>
                  </a:lnTo>
                  <a:lnTo>
                    <a:pt x="449713" y="696119"/>
                  </a:lnTo>
                  <a:lnTo>
                    <a:pt x="460042" y="694531"/>
                  </a:lnTo>
                  <a:lnTo>
                    <a:pt x="471960" y="692944"/>
                  </a:lnTo>
                  <a:lnTo>
                    <a:pt x="483084" y="692150"/>
                  </a:lnTo>
                  <a:lnTo>
                    <a:pt x="494208" y="690563"/>
                  </a:lnTo>
                  <a:lnTo>
                    <a:pt x="505331" y="687388"/>
                  </a:lnTo>
                  <a:lnTo>
                    <a:pt x="516455" y="685800"/>
                  </a:lnTo>
                  <a:lnTo>
                    <a:pt x="527579" y="683419"/>
                  </a:lnTo>
                  <a:lnTo>
                    <a:pt x="537113" y="680244"/>
                  </a:lnTo>
                  <a:lnTo>
                    <a:pt x="548237" y="676275"/>
                  </a:lnTo>
                  <a:lnTo>
                    <a:pt x="558566" y="673894"/>
                  </a:lnTo>
                  <a:lnTo>
                    <a:pt x="569689" y="669925"/>
                  </a:lnTo>
                  <a:lnTo>
                    <a:pt x="579224" y="666750"/>
                  </a:lnTo>
                  <a:lnTo>
                    <a:pt x="589553" y="661988"/>
                  </a:lnTo>
                  <a:lnTo>
                    <a:pt x="600677" y="657225"/>
                  </a:lnTo>
                  <a:lnTo>
                    <a:pt x="611800" y="651669"/>
                  </a:lnTo>
                  <a:lnTo>
                    <a:pt x="622129" y="646113"/>
                  </a:lnTo>
                  <a:lnTo>
                    <a:pt x="634048" y="639763"/>
                  </a:lnTo>
                  <a:lnTo>
                    <a:pt x="645171" y="633413"/>
                  </a:lnTo>
                  <a:lnTo>
                    <a:pt x="657089" y="626269"/>
                  </a:lnTo>
                  <a:lnTo>
                    <a:pt x="669008" y="619125"/>
                  </a:lnTo>
                  <a:lnTo>
                    <a:pt x="680926" y="610394"/>
                  </a:lnTo>
                  <a:lnTo>
                    <a:pt x="692844" y="602456"/>
                  </a:lnTo>
                  <a:lnTo>
                    <a:pt x="728599" y="657225"/>
                  </a:lnTo>
                  <a:lnTo>
                    <a:pt x="719859" y="663575"/>
                  </a:lnTo>
                  <a:lnTo>
                    <a:pt x="711119" y="669925"/>
                  </a:lnTo>
                  <a:lnTo>
                    <a:pt x="702379" y="676275"/>
                  </a:lnTo>
                  <a:lnTo>
                    <a:pt x="692844" y="683419"/>
                  </a:lnTo>
                  <a:lnTo>
                    <a:pt x="684104" y="688181"/>
                  </a:lnTo>
                  <a:lnTo>
                    <a:pt x="674569" y="693738"/>
                  </a:lnTo>
                  <a:lnTo>
                    <a:pt x="665829" y="699294"/>
                  </a:lnTo>
                  <a:lnTo>
                    <a:pt x="656295" y="704850"/>
                  </a:lnTo>
                  <a:lnTo>
                    <a:pt x="645966" y="709613"/>
                  </a:lnTo>
                  <a:lnTo>
                    <a:pt x="637226" y="715169"/>
                  </a:lnTo>
                  <a:lnTo>
                    <a:pt x="626897" y="719931"/>
                  </a:lnTo>
                  <a:lnTo>
                    <a:pt x="618157" y="723900"/>
                  </a:lnTo>
                  <a:lnTo>
                    <a:pt x="607828" y="727869"/>
                  </a:lnTo>
                  <a:lnTo>
                    <a:pt x="597499" y="732631"/>
                  </a:lnTo>
                  <a:lnTo>
                    <a:pt x="587964" y="735806"/>
                  </a:lnTo>
                  <a:lnTo>
                    <a:pt x="577635" y="739775"/>
                  </a:lnTo>
                  <a:lnTo>
                    <a:pt x="567306" y="743744"/>
                  </a:lnTo>
                  <a:lnTo>
                    <a:pt x="557771" y="746125"/>
                  </a:lnTo>
                  <a:lnTo>
                    <a:pt x="547442" y="749300"/>
                  </a:lnTo>
                  <a:lnTo>
                    <a:pt x="536319" y="751681"/>
                  </a:lnTo>
                  <a:lnTo>
                    <a:pt x="525989" y="754063"/>
                  </a:lnTo>
                  <a:lnTo>
                    <a:pt x="515660" y="757238"/>
                  </a:lnTo>
                  <a:lnTo>
                    <a:pt x="505331" y="758825"/>
                  </a:lnTo>
                  <a:lnTo>
                    <a:pt x="494208" y="761206"/>
                  </a:lnTo>
                  <a:lnTo>
                    <a:pt x="483879" y="762794"/>
                  </a:lnTo>
                  <a:lnTo>
                    <a:pt x="473549" y="763588"/>
                  </a:lnTo>
                  <a:lnTo>
                    <a:pt x="462426" y="765175"/>
                  </a:lnTo>
                  <a:lnTo>
                    <a:pt x="452097" y="765969"/>
                  </a:lnTo>
                  <a:lnTo>
                    <a:pt x="440973" y="767556"/>
                  </a:lnTo>
                  <a:lnTo>
                    <a:pt x="429849" y="767556"/>
                  </a:lnTo>
                  <a:lnTo>
                    <a:pt x="419520" y="768350"/>
                  </a:lnTo>
                  <a:lnTo>
                    <a:pt x="408397" y="768350"/>
                  </a:lnTo>
                  <a:lnTo>
                    <a:pt x="383766" y="767556"/>
                  </a:lnTo>
                  <a:lnTo>
                    <a:pt x="359135" y="765969"/>
                  </a:lnTo>
                  <a:lnTo>
                    <a:pt x="335299" y="763588"/>
                  </a:lnTo>
                  <a:lnTo>
                    <a:pt x="312257" y="759619"/>
                  </a:lnTo>
                  <a:lnTo>
                    <a:pt x="290009" y="755650"/>
                  </a:lnTo>
                  <a:lnTo>
                    <a:pt x="267762" y="750094"/>
                  </a:lnTo>
                  <a:lnTo>
                    <a:pt x="247898" y="743744"/>
                  </a:lnTo>
                  <a:lnTo>
                    <a:pt x="228035" y="735806"/>
                  </a:lnTo>
                  <a:lnTo>
                    <a:pt x="208966" y="727869"/>
                  </a:lnTo>
                  <a:lnTo>
                    <a:pt x="189102" y="717550"/>
                  </a:lnTo>
                  <a:lnTo>
                    <a:pt x="171622" y="708025"/>
                  </a:lnTo>
                  <a:lnTo>
                    <a:pt x="154937" y="696913"/>
                  </a:lnTo>
                  <a:lnTo>
                    <a:pt x="138251" y="684213"/>
                  </a:lnTo>
                  <a:lnTo>
                    <a:pt x="121566" y="669925"/>
                  </a:lnTo>
                  <a:lnTo>
                    <a:pt x="107264" y="656431"/>
                  </a:lnTo>
                  <a:lnTo>
                    <a:pt x="92168" y="640556"/>
                  </a:lnTo>
                  <a:lnTo>
                    <a:pt x="70715" y="614363"/>
                  </a:lnTo>
                  <a:lnTo>
                    <a:pt x="52440" y="585788"/>
                  </a:lnTo>
                  <a:lnTo>
                    <a:pt x="36549" y="556419"/>
                  </a:lnTo>
                  <a:lnTo>
                    <a:pt x="23042" y="526256"/>
                  </a:lnTo>
                  <a:lnTo>
                    <a:pt x="12713" y="494506"/>
                  </a:lnTo>
                  <a:lnTo>
                    <a:pt x="5562" y="461963"/>
                  </a:lnTo>
                  <a:lnTo>
                    <a:pt x="1589" y="427831"/>
                  </a:lnTo>
                  <a:lnTo>
                    <a:pt x="0" y="392113"/>
                  </a:lnTo>
                  <a:lnTo>
                    <a:pt x="1589" y="352425"/>
                  </a:lnTo>
                  <a:lnTo>
                    <a:pt x="7151" y="314325"/>
                  </a:lnTo>
                  <a:lnTo>
                    <a:pt x="16686" y="278606"/>
                  </a:lnTo>
                  <a:lnTo>
                    <a:pt x="29398" y="242888"/>
                  </a:lnTo>
                  <a:lnTo>
                    <a:pt x="44495" y="209550"/>
                  </a:lnTo>
                  <a:lnTo>
                    <a:pt x="65153" y="177800"/>
                  </a:lnTo>
                  <a:lnTo>
                    <a:pt x="87400" y="147638"/>
                  </a:lnTo>
                  <a:lnTo>
                    <a:pt x="115209" y="119063"/>
                  </a:lnTo>
                  <a:lnTo>
                    <a:pt x="131100" y="104775"/>
                  </a:lnTo>
                  <a:lnTo>
                    <a:pt x="146991" y="91281"/>
                  </a:lnTo>
                  <a:lnTo>
                    <a:pt x="163677" y="79375"/>
                  </a:lnTo>
                  <a:lnTo>
                    <a:pt x="180362" y="67469"/>
                  </a:lnTo>
                  <a:lnTo>
                    <a:pt x="198637" y="56356"/>
                  </a:lnTo>
                  <a:lnTo>
                    <a:pt x="216911" y="46831"/>
                  </a:lnTo>
                  <a:lnTo>
                    <a:pt x="235186" y="38100"/>
                  </a:lnTo>
                  <a:lnTo>
                    <a:pt x="254255" y="29369"/>
                  </a:lnTo>
                  <a:lnTo>
                    <a:pt x="274913" y="23019"/>
                  </a:lnTo>
                  <a:lnTo>
                    <a:pt x="294777" y="16669"/>
                  </a:lnTo>
                  <a:lnTo>
                    <a:pt x="315435" y="11906"/>
                  </a:lnTo>
                  <a:lnTo>
                    <a:pt x="336888" y="7938"/>
                  </a:lnTo>
                  <a:lnTo>
                    <a:pt x="359135" y="4763"/>
                  </a:lnTo>
                  <a:lnTo>
                    <a:pt x="380588" y="2381"/>
                  </a:lnTo>
                  <a:lnTo>
                    <a:pt x="403629" y="1588"/>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grpSp>
          <p:nvGrpSpPr>
            <p:cNvPr id="226" name="Group 225"/>
            <p:cNvGrpSpPr/>
            <p:nvPr/>
          </p:nvGrpSpPr>
          <p:grpSpPr>
            <a:xfrm>
              <a:off x="1224341" y="2393865"/>
              <a:ext cx="181084" cy="156444"/>
              <a:chOff x="896533" y="785004"/>
              <a:chExt cx="684622" cy="591473"/>
            </a:xfrm>
            <a:solidFill>
              <a:schemeClr val="bg1">
                <a:lumMod val="50000"/>
              </a:schemeClr>
            </a:solidFill>
          </p:grpSpPr>
          <p:sp>
            <p:nvSpPr>
              <p:cNvPr id="227" name="Oval 226"/>
              <p:cNvSpPr>
                <a:spLocks noChangeArrowheads="1"/>
              </p:cNvSpPr>
              <p:nvPr/>
            </p:nvSpPr>
            <p:spPr bwMode="auto">
              <a:xfrm>
                <a:off x="1135915" y="785004"/>
                <a:ext cx="218444" cy="218810"/>
              </a:xfrm>
              <a:prstGeom prst="ellipse">
                <a:avLst/>
              </a:prstGeom>
              <a:grp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pPr>
                <a:endParaRPr lang="en-US" sz="2200" dirty="0">
                  <a:latin typeface="Segoe"/>
                </a:endParaRPr>
              </a:p>
            </p:txBody>
          </p:sp>
          <p:sp>
            <p:nvSpPr>
              <p:cNvPr id="228" name="Freeform 227"/>
              <p:cNvSpPr>
                <a:spLocks/>
              </p:cNvSpPr>
              <p:nvPr/>
            </p:nvSpPr>
            <p:spPr bwMode="auto">
              <a:xfrm>
                <a:off x="1046649" y="1029576"/>
                <a:ext cx="390806" cy="346901"/>
              </a:xfrm>
              <a:custGeom>
                <a:avLst/>
                <a:gdLst>
                  <a:gd name="T0" fmla="*/ 420 w 456"/>
                  <a:gd name="T1" fmla="*/ 125 h 405"/>
                  <a:gd name="T2" fmla="*/ 311 w 456"/>
                  <a:gd name="T3" fmla="*/ 0 h 405"/>
                  <a:gd name="T4" fmla="*/ 233 w 456"/>
                  <a:gd name="T5" fmla="*/ 97 h 405"/>
                  <a:gd name="T6" fmla="*/ 223 w 456"/>
                  <a:gd name="T7" fmla="*/ 97 h 405"/>
                  <a:gd name="T8" fmla="*/ 145 w 456"/>
                  <a:gd name="T9" fmla="*/ 0 h 405"/>
                  <a:gd name="T10" fmla="*/ 37 w 456"/>
                  <a:gd name="T11" fmla="*/ 125 h 405"/>
                  <a:gd name="T12" fmla="*/ 30 w 456"/>
                  <a:gd name="T13" fmla="*/ 307 h 405"/>
                  <a:gd name="T14" fmla="*/ 220 w 456"/>
                  <a:gd name="T15" fmla="*/ 405 h 405"/>
                  <a:gd name="T16" fmla="*/ 236 w 456"/>
                  <a:gd name="T17" fmla="*/ 405 h 405"/>
                  <a:gd name="T18" fmla="*/ 427 w 456"/>
                  <a:gd name="T19" fmla="*/ 307 h 405"/>
                  <a:gd name="T20" fmla="*/ 420 w 456"/>
                  <a:gd name="T21" fmla="*/ 125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6" h="405">
                    <a:moveTo>
                      <a:pt x="420" y="125"/>
                    </a:moveTo>
                    <a:cubicBezTo>
                      <a:pt x="369" y="38"/>
                      <a:pt x="327" y="0"/>
                      <a:pt x="311" y="0"/>
                    </a:cubicBezTo>
                    <a:cubicBezTo>
                      <a:pt x="296" y="0"/>
                      <a:pt x="247" y="97"/>
                      <a:pt x="233" y="97"/>
                    </a:cubicBezTo>
                    <a:cubicBezTo>
                      <a:pt x="223" y="97"/>
                      <a:pt x="223" y="97"/>
                      <a:pt x="223" y="97"/>
                    </a:cubicBezTo>
                    <a:cubicBezTo>
                      <a:pt x="210" y="97"/>
                      <a:pt x="161" y="0"/>
                      <a:pt x="145" y="0"/>
                    </a:cubicBezTo>
                    <a:cubicBezTo>
                      <a:pt x="130" y="0"/>
                      <a:pt x="88" y="38"/>
                      <a:pt x="37" y="125"/>
                    </a:cubicBezTo>
                    <a:cubicBezTo>
                      <a:pt x="13" y="165"/>
                      <a:pt x="0" y="251"/>
                      <a:pt x="30" y="307"/>
                    </a:cubicBezTo>
                    <a:cubicBezTo>
                      <a:pt x="64" y="372"/>
                      <a:pt x="149" y="405"/>
                      <a:pt x="220" y="405"/>
                    </a:cubicBezTo>
                    <a:cubicBezTo>
                      <a:pt x="236" y="405"/>
                      <a:pt x="236" y="405"/>
                      <a:pt x="236" y="405"/>
                    </a:cubicBezTo>
                    <a:cubicBezTo>
                      <a:pt x="308" y="405"/>
                      <a:pt x="393" y="372"/>
                      <a:pt x="427" y="307"/>
                    </a:cubicBezTo>
                    <a:cubicBezTo>
                      <a:pt x="456" y="251"/>
                      <a:pt x="444" y="165"/>
                      <a:pt x="420" y="125"/>
                    </a:cubicBezTo>
                    <a:close/>
                  </a:path>
                </a:pathLst>
              </a:custGeom>
              <a:grp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pPr>
                <a:endParaRPr lang="en-US" sz="2200" dirty="0">
                  <a:latin typeface="Segoe"/>
                </a:endParaRPr>
              </a:p>
            </p:txBody>
          </p:sp>
          <p:grpSp>
            <p:nvGrpSpPr>
              <p:cNvPr id="229" name="Group 228"/>
              <p:cNvGrpSpPr/>
              <p:nvPr/>
            </p:nvGrpSpPr>
            <p:grpSpPr>
              <a:xfrm>
                <a:off x="896533" y="873212"/>
                <a:ext cx="201231" cy="369680"/>
                <a:chOff x="851065" y="755975"/>
                <a:chExt cx="287391" cy="527971"/>
              </a:xfrm>
              <a:grpFill/>
            </p:grpSpPr>
            <p:sp>
              <p:nvSpPr>
                <p:cNvPr id="233" name="Oval 232"/>
                <p:cNvSpPr>
                  <a:spLocks noChangeArrowheads="1"/>
                </p:cNvSpPr>
                <p:nvPr/>
              </p:nvSpPr>
              <p:spPr bwMode="auto">
                <a:xfrm>
                  <a:off x="930896" y="755975"/>
                  <a:ext cx="194494" cy="195584"/>
                </a:xfrm>
                <a:prstGeom prst="ellipse">
                  <a:avLst/>
                </a:prstGeom>
                <a:grp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pPr>
                  <a:endParaRPr lang="en-US" sz="2200" dirty="0">
                    <a:latin typeface="Segoe"/>
                  </a:endParaRPr>
                </a:p>
              </p:txBody>
            </p:sp>
            <p:sp>
              <p:nvSpPr>
                <p:cNvPr id="234" name="Freeform 233"/>
                <p:cNvSpPr>
                  <a:spLocks/>
                </p:cNvSpPr>
                <p:nvPr/>
              </p:nvSpPr>
              <p:spPr bwMode="auto">
                <a:xfrm>
                  <a:off x="851065" y="973697"/>
                  <a:ext cx="287391" cy="310249"/>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grp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pPr>
                  <a:endParaRPr lang="en-US" sz="2200" dirty="0">
                    <a:latin typeface="Segoe"/>
                  </a:endParaRPr>
                </a:p>
              </p:txBody>
            </p:sp>
          </p:grpSp>
          <p:grpSp>
            <p:nvGrpSpPr>
              <p:cNvPr id="230" name="Group 229"/>
              <p:cNvGrpSpPr/>
              <p:nvPr/>
            </p:nvGrpSpPr>
            <p:grpSpPr>
              <a:xfrm flipH="1">
                <a:off x="1379924" y="873212"/>
                <a:ext cx="201231" cy="369680"/>
                <a:chOff x="851065" y="755975"/>
                <a:chExt cx="287391" cy="527971"/>
              </a:xfrm>
              <a:grpFill/>
            </p:grpSpPr>
            <p:sp>
              <p:nvSpPr>
                <p:cNvPr id="231" name="Oval 230"/>
                <p:cNvSpPr>
                  <a:spLocks noChangeArrowheads="1"/>
                </p:cNvSpPr>
                <p:nvPr/>
              </p:nvSpPr>
              <p:spPr bwMode="auto">
                <a:xfrm>
                  <a:off x="930896" y="755975"/>
                  <a:ext cx="194494" cy="195584"/>
                </a:xfrm>
                <a:prstGeom prst="ellipse">
                  <a:avLst/>
                </a:prstGeom>
                <a:grp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pPr>
                  <a:endParaRPr lang="en-US" sz="2200" dirty="0">
                    <a:latin typeface="Segoe"/>
                  </a:endParaRPr>
                </a:p>
              </p:txBody>
            </p:sp>
            <p:sp>
              <p:nvSpPr>
                <p:cNvPr id="232" name="Freeform 231"/>
                <p:cNvSpPr>
                  <a:spLocks/>
                </p:cNvSpPr>
                <p:nvPr/>
              </p:nvSpPr>
              <p:spPr bwMode="auto">
                <a:xfrm>
                  <a:off x="851065" y="973697"/>
                  <a:ext cx="287391" cy="310249"/>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grp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pPr>
                  <a:endParaRPr lang="en-US" sz="2200" dirty="0">
                    <a:latin typeface="Segoe"/>
                  </a:endParaRPr>
                </a:p>
              </p:txBody>
            </p:sp>
          </p:grpSp>
        </p:grpSp>
      </p:grpSp>
      <p:sp>
        <p:nvSpPr>
          <p:cNvPr id="156" name="TextBox 155"/>
          <p:cNvSpPr txBox="1"/>
          <p:nvPr/>
        </p:nvSpPr>
        <p:spPr>
          <a:xfrm>
            <a:off x="9514332" y="3944025"/>
            <a:ext cx="2018181" cy="153888"/>
          </a:xfrm>
          <a:prstGeom prst="rect">
            <a:avLst/>
          </a:prstGeom>
        </p:spPr>
        <p:txBody>
          <a:bodyPr vert="horz" wrap="none" lIns="0" tIns="0" rIns="0" bIns="0" rtlCol="0" anchor="t">
            <a:spAutoFit/>
          </a:bodyPr>
          <a:lstStyle/>
          <a:p>
            <a:pPr algn="ctr" defTabSz="1088105"/>
            <a:r>
              <a:rPr lang="en-US" sz="1000" dirty="0">
                <a:latin typeface="Segoe UI Semibold" panose="020B0702040204020203" pitchFamily="34" charset="0"/>
                <a:ea typeface="Segoe UI" pitchFamily="34" charset="0"/>
                <a:cs typeface="Segoe UI Semibold" panose="020B0702040204020203" pitchFamily="34" charset="0"/>
              </a:rPr>
              <a:t>Cross-sell / up-sell across channels</a:t>
            </a:r>
          </a:p>
        </p:txBody>
      </p:sp>
      <p:grpSp>
        <p:nvGrpSpPr>
          <p:cNvPr id="161" name="Group 160"/>
          <p:cNvGrpSpPr/>
          <p:nvPr/>
        </p:nvGrpSpPr>
        <p:grpSpPr>
          <a:xfrm>
            <a:off x="10381511" y="3669633"/>
            <a:ext cx="345929" cy="218508"/>
            <a:chOff x="1005660" y="3290124"/>
            <a:chExt cx="570395" cy="360293"/>
          </a:xfrm>
        </p:grpSpPr>
        <p:sp>
          <p:nvSpPr>
            <p:cNvPr id="162" name="Freeform 7"/>
            <p:cNvSpPr>
              <a:spLocks noChangeAspect="1" noEditPoints="1"/>
            </p:cNvSpPr>
            <p:nvPr/>
          </p:nvSpPr>
          <p:spPr bwMode="black">
            <a:xfrm>
              <a:off x="1005660" y="3290124"/>
              <a:ext cx="570395" cy="360293"/>
            </a:xfrm>
            <a:custGeom>
              <a:avLst/>
              <a:gdLst>
                <a:gd name="T0" fmla="*/ 16 w 1389"/>
                <a:gd name="T1" fmla="*/ 0 h 878"/>
                <a:gd name="T2" fmla="*/ 0 w 1389"/>
                <a:gd name="T3" fmla="*/ 332 h 878"/>
                <a:gd name="T4" fmla="*/ 0 w 1389"/>
                <a:gd name="T5" fmla="*/ 788 h 878"/>
                <a:gd name="T6" fmla="*/ 198 w 1389"/>
                <a:gd name="T7" fmla="*/ 802 h 878"/>
                <a:gd name="T8" fmla="*/ 647 w 1389"/>
                <a:gd name="T9" fmla="*/ 803 h 878"/>
                <a:gd name="T10" fmla="*/ 647 w 1389"/>
                <a:gd name="T11" fmla="*/ 826 h 878"/>
                <a:gd name="T12" fmla="*/ 355 w 1389"/>
                <a:gd name="T13" fmla="*/ 840 h 878"/>
                <a:gd name="T14" fmla="*/ 345 w 1389"/>
                <a:gd name="T15" fmla="*/ 878 h 878"/>
                <a:gd name="T16" fmla="*/ 1039 w 1389"/>
                <a:gd name="T17" fmla="*/ 864 h 878"/>
                <a:gd name="T18" fmla="*/ 1000 w 1389"/>
                <a:gd name="T19" fmla="*/ 826 h 878"/>
                <a:gd name="T20" fmla="*/ 721 w 1389"/>
                <a:gd name="T21" fmla="*/ 804 h 878"/>
                <a:gd name="T22" fmla="*/ 1374 w 1389"/>
                <a:gd name="T23" fmla="*/ 803 h 878"/>
                <a:gd name="T24" fmla="*/ 1389 w 1389"/>
                <a:gd name="T25" fmla="*/ 14 h 878"/>
                <a:gd name="T26" fmla="*/ 1126 w 1389"/>
                <a:gd name="T27" fmla="*/ 781 h 878"/>
                <a:gd name="T28" fmla="*/ 1107 w 1389"/>
                <a:gd name="T29" fmla="*/ 778 h 878"/>
                <a:gd name="T30" fmla="*/ 1126 w 1389"/>
                <a:gd name="T31" fmla="*/ 774 h 878"/>
                <a:gd name="T32" fmla="*/ 1126 w 1389"/>
                <a:gd name="T33" fmla="*/ 781 h 878"/>
                <a:gd name="T34" fmla="*/ 1144 w 1389"/>
                <a:gd name="T35" fmla="*/ 781 h 878"/>
                <a:gd name="T36" fmla="*/ 1144 w 1389"/>
                <a:gd name="T37" fmla="*/ 774 h 878"/>
                <a:gd name="T38" fmla="*/ 1164 w 1389"/>
                <a:gd name="T39" fmla="*/ 778 h 878"/>
                <a:gd name="T40" fmla="*/ 1194 w 1389"/>
                <a:gd name="T41" fmla="*/ 781 h 878"/>
                <a:gd name="T42" fmla="*/ 1174 w 1389"/>
                <a:gd name="T43" fmla="*/ 778 h 878"/>
                <a:gd name="T44" fmla="*/ 1194 w 1389"/>
                <a:gd name="T45" fmla="*/ 774 h 878"/>
                <a:gd name="T46" fmla="*/ 1194 w 1389"/>
                <a:gd name="T47" fmla="*/ 781 h 878"/>
                <a:gd name="T48" fmla="*/ 1211 w 1389"/>
                <a:gd name="T49" fmla="*/ 781 h 878"/>
                <a:gd name="T50" fmla="*/ 1211 w 1389"/>
                <a:gd name="T51" fmla="*/ 774 h 878"/>
                <a:gd name="T52" fmla="*/ 1231 w 1389"/>
                <a:gd name="T53" fmla="*/ 778 h 878"/>
                <a:gd name="T54" fmla="*/ 1261 w 1389"/>
                <a:gd name="T55" fmla="*/ 781 h 878"/>
                <a:gd name="T56" fmla="*/ 1241 w 1389"/>
                <a:gd name="T57" fmla="*/ 778 h 878"/>
                <a:gd name="T58" fmla="*/ 1261 w 1389"/>
                <a:gd name="T59" fmla="*/ 774 h 878"/>
                <a:gd name="T60" fmla="*/ 1261 w 1389"/>
                <a:gd name="T61" fmla="*/ 781 h 878"/>
                <a:gd name="T62" fmla="*/ 1278 w 1389"/>
                <a:gd name="T63" fmla="*/ 781 h 878"/>
                <a:gd name="T64" fmla="*/ 1278 w 1389"/>
                <a:gd name="T65" fmla="*/ 774 h 878"/>
                <a:gd name="T66" fmla="*/ 1298 w 1389"/>
                <a:gd name="T67" fmla="*/ 778 h 878"/>
                <a:gd name="T68" fmla="*/ 1316 w 1389"/>
                <a:gd name="T69" fmla="*/ 787 h 878"/>
                <a:gd name="T70" fmla="*/ 1316 w 1389"/>
                <a:gd name="T71" fmla="*/ 768 h 878"/>
                <a:gd name="T72" fmla="*/ 1316 w 1389"/>
                <a:gd name="T73" fmla="*/ 787 h 878"/>
                <a:gd name="T74" fmla="*/ 1326 w 1389"/>
                <a:gd name="T75" fmla="*/ 754 h 878"/>
                <a:gd name="T76" fmla="*/ 455 w 1389"/>
                <a:gd name="T77" fmla="*/ 754 h 878"/>
                <a:gd name="T78" fmla="*/ 49 w 1389"/>
                <a:gd name="T79" fmla="*/ 739 h 878"/>
                <a:gd name="T80" fmla="*/ 49 w 1389"/>
                <a:gd name="T81" fmla="*/ 332 h 878"/>
                <a:gd name="T82" fmla="*/ 64 w 1389"/>
                <a:gd name="T83" fmla="*/ 48 h 878"/>
                <a:gd name="T84" fmla="*/ 1340 w 1389"/>
                <a:gd name="T85" fmla="*/ 63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9" h="878">
                  <a:moveTo>
                    <a:pt x="1374" y="0"/>
                  </a:moveTo>
                  <a:cubicBezTo>
                    <a:pt x="16" y="0"/>
                    <a:pt x="16" y="0"/>
                    <a:pt x="16" y="0"/>
                  </a:cubicBezTo>
                  <a:cubicBezTo>
                    <a:pt x="7" y="0"/>
                    <a:pt x="0" y="6"/>
                    <a:pt x="0" y="14"/>
                  </a:cubicBezTo>
                  <a:cubicBezTo>
                    <a:pt x="0" y="139"/>
                    <a:pt x="0" y="244"/>
                    <a:pt x="0" y="332"/>
                  </a:cubicBezTo>
                  <a:cubicBezTo>
                    <a:pt x="0" y="384"/>
                    <a:pt x="0" y="430"/>
                    <a:pt x="0" y="470"/>
                  </a:cubicBezTo>
                  <a:cubicBezTo>
                    <a:pt x="0" y="788"/>
                    <a:pt x="0" y="788"/>
                    <a:pt x="0" y="788"/>
                  </a:cubicBezTo>
                  <a:cubicBezTo>
                    <a:pt x="0" y="796"/>
                    <a:pt x="7" y="802"/>
                    <a:pt x="16" y="802"/>
                  </a:cubicBezTo>
                  <a:cubicBezTo>
                    <a:pt x="16" y="802"/>
                    <a:pt x="16" y="802"/>
                    <a:pt x="198" y="802"/>
                  </a:cubicBezTo>
                  <a:cubicBezTo>
                    <a:pt x="198" y="802"/>
                    <a:pt x="198" y="803"/>
                    <a:pt x="198" y="803"/>
                  </a:cubicBezTo>
                  <a:cubicBezTo>
                    <a:pt x="647" y="803"/>
                    <a:pt x="647" y="803"/>
                    <a:pt x="647" y="803"/>
                  </a:cubicBezTo>
                  <a:cubicBezTo>
                    <a:pt x="647" y="803"/>
                    <a:pt x="647" y="803"/>
                    <a:pt x="647" y="804"/>
                  </a:cubicBezTo>
                  <a:cubicBezTo>
                    <a:pt x="647" y="826"/>
                    <a:pt x="647" y="826"/>
                    <a:pt x="647" y="826"/>
                  </a:cubicBezTo>
                  <a:cubicBezTo>
                    <a:pt x="369" y="826"/>
                    <a:pt x="369" y="826"/>
                    <a:pt x="369" y="826"/>
                  </a:cubicBezTo>
                  <a:cubicBezTo>
                    <a:pt x="362" y="826"/>
                    <a:pt x="355" y="832"/>
                    <a:pt x="355" y="840"/>
                  </a:cubicBezTo>
                  <a:cubicBezTo>
                    <a:pt x="331" y="864"/>
                    <a:pt x="331" y="864"/>
                    <a:pt x="331" y="864"/>
                  </a:cubicBezTo>
                  <a:cubicBezTo>
                    <a:pt x="331" y="872"/>
                    <a:pt x="337" y="878"/>
                    <a:pt x="345" y="878"/>
                  </a:cubicBezTo>
                  <a:cubicBezTo>
                    <a:pt x="1024" y="878"/>
                    <a:pt x="1024" y="878"/>
                    <a:pt x="1024" y="878"/>
                  </a:cubicBezTo>
                  <a:cubicBezTo>
                    <a:pt x="1033" y="878"/>
                    <a:pt x="1039" y="872"/>
                    <a:pt x="1039" y="864"/>
                  </a:cubicBezTo>
                  <a:cubicBezTo>
                    <a:pt x="1015" y="840"/>
                    <a:pt x="1015" y="840"/>
                    <a:pt x="1015" y="840"/>
                  </a:cubicBezTo>
                  <a:cubicBezTo>
                    <a:pt x="1015" y="832"/>
                    <a:pt x="1009" y="826"/>
                    <a:pt x="1000" y="826"/>
                  </a:cubicBezTo>
                  <a:cubicBezTo>
                    <a:pt x="721" y="826"/>
                    <a:pt x="721" y="826"/>
                    <a:pt x="721" y="826"/>
                  </a:cubicBezTo>
                  <a:cubicBezTo>
                    <a:pt x="721" y="804"/>
                    <a:pt x="721" y="804"/>
                    <a:pt x="721" y="804"/>
                  </a:cubicBezTo>
                  <a:cubicBezTo>
                    <a:pt x="721" y="803"/>
                    <a:pt x="721" y="803"/>
                    <a:pt x="721" y="803"/>
                  </a:cubicBezTo>
                  <a:cubicBezTo>
                    <a:pt x="1374" y="803"/>
                    <a:pt x="1374" y="803"/>
                    <a:pt x="1374" y="803"/>
                  </a:cubicBezTo>
                  <a:cubicBezTo>
                    <a:pt x="1383" y="803"/>
                    <a:pt x="1389" y="797"/>
                    <a:pt x="1389" y="789"/>
                  </a:cubicBezTo>
                  <a:cubicBezTo>
                    <a:pt x="1389" y="14"/>
                    <a:pt x="1389" y="14"/>
                    <a:pt x="1389" y="14"/>
                  </a:cubicBezTo>
                  <a:cubicBezTo>
                    <a:pt x="1389" y="6"/>
                    <a:pt x="1383" y="0"/>
                    <a:pt x="1374" y="0"/>
                  </a:cubicBezTo>
                  <a:close/>
                  <a:moveTo>
                    <a:pt x="1126" y="781"/>
                  </a:moveTo>
                  <a:cubicBezTo>
                    <a:pt x="1110" y="781"/>
                    <a:pt x="1110" y="781"/>
                    <a:pt x="1110" y="781"/>
                  </a:cubicBezTo>
                  <a:cubicBezTo>
                    <a:pt x="1108" y="781"/>
                    <a:pt x="1107" y="780"/>
                    <a:pt x="1107" y="778"/>
                  </a:cubicBezTo>
                  <a:cubicBezTo>
                    <a:pt x="1107" y="776"/>
                    <a:pt x="1108" y="774"/>
                    <a:pt x="1110" y="774"/>
                  </a:cubicBezTo>
                  <a:cubicBezTo>
                    <a:pt x="1126" y="774"/>
                    <a:pt x="1126" y="774"/>
                    <a:pt x="1126" y="774"/>
                  </a:cubicBezTo>
                  <a:cubicBezTo>
                    <a:pt x="1129" y="774"/>
                    <a:pt x="1130" y="776"/>
                    <a:pt x="1130" y="778"/>
                  </a:cubicBezTo>
                  <a:cubicBezTo>
                    <a:pt x="1130" y="780"/>
                    <a:pt x="1129" y="781"/>
                    <a:pt x="1126" y="781"/>
                  </a:cubicBezTo>
                  <a:close/>
                  <a:moveTo>
                    <a:pt x="1160" y="781"/>
                  </a:moveTo>
                  <a:cubicBezTo>
                    <a:pt x="1144" y="781"/>
                    <a:pt x="1144" y="781"/>
                    <a:pt x="1144" y="781"/>
                  </a:cubicBezTo>
                  <a:cubicBezTo>
                    <a:pt x="1142" y="781"/>
                    <a:pt x="1140" y="780"/>
                    <a:pt x="1140" y="778"/>
                  </a:cubicBezTo>
                  <a:cubicBezTo>
                    <a:pt x="1140" y="776"/>
                    <a:pt x="1142" y="774"/>
                    <a:pt x="1144" y="774"/>
                  </a:cubicBezTo>
                  <a:cubicBezTo>
                    <a:pt x="1160" y="774"/>
                    <a:pt x="1160" y="774"/>
                    <a:pt x="1160" y="774"/>
                  </a:cubicBezTo>
                  <a:cubicBezTo>
                    <a:pt x="1162" y="774"/>
                    <a:pt x="1164" y="776"/>
                    <a:pt x="1164" y="778"/>
                  </a:cubicBezTo>
                  <a:cubicBezTo>
                    <a:pt x="1164" y="780"/>
                    <a:pt x="1162" y="781"/>
                    <a:pt x="1160" y="781"/>
                  </a:cubicBezTo>
                  <a:close/>
                  <a:moveTo>
                    <a:pt x="1194" y="781"/>
                  </a:moveTo>
                  <a:cubicBezTo>
                    <a:pt x="1177" y="781"/>
                    <a:pt x="1177" y="781"/>
                    <a:pt x="1177" y="781"/>
                  </a:cubicBezTo>
                  <a:cubicBezTo>
                    <a:pt x="1175" y="781"/>
                    <a:pt x="1174" y="780"/>
                    <a:pt x="1174" y="778"/>
                  </a:cubicBezTo>
                  <a:cubicBezTo>
                    <a:pt x="1174" y="776"/>
                    <a:pt x="1175" y="774"/>
                    <a:pt x="1177" y="774"/>
                  </a:cubicBezTo>
                  <a:cubicBezTo>
                    <a:pt x="1194" y="774"/>
                    <a:pt x="1194" y="774"/>
                    <a:pt x="1194" y="774"/>
                  </a:cubicBezTo>
                  <a:cubicBezTo>
                    <a:pt x="1196" y="774"/>
                    <a:pt x="1198" y="776"/>
                    <a:pt x="1198" y="778"/>
                  </a:cubicBezTo>
                  <a:cubicBezTo>
                    <a:pt x="1198" y="780"/>
                    <a:pt x="1196" y="781"/>
                    <a:pt x="1194" y="781"/>
                  </a:cubicBezTo>
                  <a:close/>
                  <a:moveTo>
                    <a:pt x="1228" y="781"/>
                  </a:moveTo>
                  <a:cubicBezTo>
                    <a:pt x="1211" y="781"/>
                    <a:pt x="1211" y="781"/>
                    <a:pt x="1211" y="781"/>
                  </a:cubicBezTo>
                  <a:cubicBezTo>
                    <a:pt x="1209" y="781"/>
                    <a:pt x="1207" y="780"/>
                    <a:pt x="1207" y="778"/>
                  </a:cubicBezTo>
                  <a:cubicBezTo>
                    <a:pt x="1207" y="776"/>
                    <a:pt x="1209" y="774"/>
                    <a:pt x="1211" y="774"/>
                  </a:cubicBezTo>
                  <a:cubicBezTo>
                    <a:pt x="1228" y="774"/>
                    <a:pt x="1228" y="774"/>
                    <a:pt x="1228" y="774"/>
                  </a:cubicBezTo>
                  <a:cubicBezTo>
                    <a:pt x="1230" y="774"/>
                    <a:pt x="1231" y="776"/>
                    <a:pt x="1231" y="778"/>
                  </a:cubicBezTo>
                  <a:cubicBezTo>
                    <a:pt x="1231" y="780"/>
                    <a:pt x="1230" y="781"/>
                    <a:pt x="1228" y="781"/>
                  </a:cubicBezTo>
                  <a:close/>
                  <a:moveTo>
                    <a:pt x="1261" y="781"/>
                  </a:moveTo>
                  <a:cubicBezTo>
                    <a:pt x="1244" y="781"/>
                    <a:pt x="1244" y="781"/>
                    <a:pt x="1244" y="781"/>
                  </a:cubicBezTo>
                  <a:cubicBezTo>
                    <a:pt x="1242" y="781"/>
                    <a:pt x="1241" y="780"/>
                    <a:pt x="1241" y="778"/>
                  </a:cubicBezTo>
                  <a:cubicBezTo>
                    <a:pt x="1241" y="776"/>
                    <a:pt x="1242" y="774"/>
                    <a:pt x="1244" y="774"/>
                  </a:cubicBezTo>
                  <a:cubicBezTo>
                    <a:pt x="1261" y="774"/>
                    <a:pt x="1261" y="774"/>
                    <a:pt x="1261" y="774"/>
                  </a:cubicBezTo>
                  <a:cubicBezTo>
                    <a:pt x="1263" y="774"/>
                    <a:pt x="1265" y="776"/>
                    <a:pt x="1265" y="778"/>
                  </a:cubicBezTo>
                  <a:cubicBezTo>
                    <a:pt x="1265" y="780"/>
                    <a:pt x="1263" y="781"/>
                    <a:pt x="1261" y="781"/>
                  </a:cubicBezTo>
                  <a:close/>
                  <a:moveTo>
                    <a:pt x="1295" y="781"/>
                  </a:moveTo>
                  <a:cubicBezTo>
                    <a:pt x="1278" y="781"/>
                    <a:pt x="1278" y="781"/>
                    <a:pt x="1278" y="781"/>
                  </a:cubicBezTo>
                  <a:cubicBezTo>
                    <a:pt x="1276" y="781"/>
                    <a:pt x="1274" y="780"/>
                    <a:pt x="1274" y="778"/>
                  </a:cubicBezTo>
                  <a:cubicBezTo>
                    <a:pt x="1274" y="776"/>
                    <a:pt x="1276" y="774"/>
                    <a:pt x="1278" y="774"/>
                  </a:cubicBezTo>
                  <a:cubicBezTo>
                    <a:pt x="1295" y="774"/>
                    <a:pt x="1295" y="774"/>
                    <a:pt x="1295" y="774"/>
                  </a:cubicBezTo>
                  <a:cubicBezTo>
                    <a:pt x="1297" y="774"/>
                    <a:pt x="1298" y="776"/>
                    <a:pt x="1298" y="778"/>
                  </a:cubicBezTo>
                  <a:cubicBezTo>
                    <a:pt x="1298" y="780"/>
                    <a:pt x="1297" y="781"/>
                    <a:pt x="1295" y="781"/>
                  </a:cubicBezTo>
                  <a:close/>
                  <a:moveTo>
                    <a:pt x="1316" y="787"/>
                  </a:moveTo>
                  <a:cubicBezTo>
                    <a:pt x="1311" y="787"/>
                    <a:pt x="1307" y="783"/>
                    <a:pt x="1307" y="778"/>
                  </a:cubicBezTo>
                  <a:cubicBezTo>
                    <a:pt x="1307" y="773"/>
                    <a:pt x="1311" y="768"/>
                    <a:pt x="1316" y="768"/>
                  </a:cubicBezTo>
                  <a:cubicBezTo>
                    <a:pt x="1321" y="768"/>
                    <a:pt x="1325" y="773"/>
                    <a:pt x="1325" y="778"/>
                  </a:cubicBezTo>
                  <a:cubicBezTo>
                    <a:pt x="1325" y="783"/>
                    <a:pt x="1321" y="787"/>
                    <a:pt x="1316" y="787"/>
                  </a:cubicBezTo>
                  <a:close/>
                  <a:moveTo>
                    <a:pt x="1340" y="740"/>
                  </a:moveTo>
                  <a:cubicBezTo>
                    <a:pt x="1340" y="748"/>
                    <a:pt x="1334" y="754"/>
                    <a:pt x="1326" y="754"/>
                  </a:cubicBezTo>
                  <a:cubicBezTo>
                    <a:pt x="918" y="754"/>
                    <a:pt x="642" y="754"/>
                    <a:pt x="455" y="754"/>
                  </a:cubicBezTo>
                  <a:cubicBezTo>
                    <a:pt x="455" y="754"/>
                    <a:pt x="455" y="754"/>
                    <a:pt x="455" y="754"/>
                  </a:cubicBezTo>
                  <a:cubicBezTo>
                    <a:pt x="64" y="754"/>
                    <a:pt x="64" y="754"/>
                    <a:pt x="64" y="754"/>
                  </a:cubicBezTo>
                  <a:cubicBezTo>
                    <a:pt x="56" y="754"/>
                    <a:pt x="49" y="747"/>
                    <a:pt x="49" y="739"/>
                  </a:cubicBezTo>
                  <a:cubicBezTo>
                    <a:pt x="49" y="739"/>
                    <a:pt x="49" y="739"/>
                    <a:pt x="49" y="470"/>
                  </a:cubicBezTo>
                  <a:cubicBezTo>
                    <a:pt x="49" y="417"/>
                    <a:pt x="49" y="372"/>
                    <a:pt x="49" y="332"/>
                  </a:cubicBezTo>
                  <a:cubicBezTo>
                    <a:pt x="49" y="63"/>
                    <a:pt x="49" y="63"/>
                    <a:pt x="49" y="63"/>
                  </a:cubicBezTo>
                  <a:cubicBezTo>
                    <a:pt x="49" y="55"/>
                    <a:pt x="56" y="48"/>
                    <a:pt x="64" y="48"/>
                  </a:cubicBezTo>
                  <a:cubicBezTo>
                    <a:pt x="1326" y="48"/>
                    <a:pt x="1326" y="48"/>
                    <a:pt x="1326" y="48"/>
                  </a:cubicBezTo>
                  <a:cubicBezTo>
                    <a:pt x="1334" y="48"/>
                    <a:pt x="1340" y="55"/>
                    <a:pt x="1340" y="63"/>
                  </a:cubicBezTo>
                  <a:cubicBezTo>
                    <a:pt x="1340" y="740"/>
                    <a:pt x="1340" y="740"/>
                    <a:pt x="1340" y="740"/>
                  </a:cubicBezTo>
                  <a:close/>
                </a:path>
              </a:pathLst>
            </a:custGeom>
            <a:solidFill>
              <a:schemeClr val="bg1">
                <a:lumMod val="50000"/>
              </a:schemeClr>
            </a:solidFill>
            <a:ln w="25400" cap="flat" cmpd="sng" algn="ctr">
              <a:noFill/>
              <a:prstDash val="solid"/>
              <a:headEnd type="none" w="med" len="med"/>
              <a:tailEnd type="none" w="med" len="med"/>
            </a:ln>
            <a:effectLst/>
          </p:spPr>
          <p:txBody>
            <a:bodyPr vert="horz" wrap="square" lIns="82302" tIns="41151" rIns="82302" bIns="41151" numCol="1" rtlCol="0" anchor="ctr" anchorCtr="0" compatLnSpc="1">
              <a:prstTxWarp prst="textNoShape">
                <a:avLst/>
              </a:prstTxWarp>
            </a:bodyPr>
            <a:lstStyle/>
            <a:p>
              <a:pPr defTabSz="740740">
                <a:defRPr/>
              </a:pPr>
              <a:endParaRPr lang="en-US" dirty="0">
                <a:latin typeface="Segoe Light" pitchFamily="34" charset="0"/>
              </a:endParaRPr>
            </a:p>
          </p:txBody>
        </p:sp>
        <p:sp>
          <p:nvSpPr>
            <p:cNvPr id="163" name="Freeform 61"/>
            <p:cNvSpPr>
              <a:spLocks noChangeAspect="1" noEditPoints="1"/>
            </p:cNvSpPr>
            <p:nvPr/>
          </p:nvSpPr>
          <p:spPr bwMode="black">
            <a:xfrm>
              <a:off x="1178956" y="3308336"/>
              <a:ext cx="238215" cy="298469"/>
            </a:xfrm>
            <a:custGeom>
              <a:avLst/>
              <a:gdLst>
                <a:gd name="T0" fmla="*/ 91 w 162"/>
                <a:gd name="T1" fmla="*/ 100 h 203"/>
                <a:gd name="T2" fmla="*/ 128 w 162"/>
                <a:gd name="T3" fmla="*/ 203 h 203"/>
                <a:gd name="T4" fmla="*/ 108 w 162"/>
                <a:gd name="T5" fmla="*/ 203 h 203"/>
                <a:gd name="T6" fmla="*/ 81 w 162"/>
                <a:gd name="T7" fmla="*/ 180 h 203"/>
                <a:gd name="T8" fmla="*/ 54 w 162"/>
                <a:gd name="T9" fmla="*/ 203 h 203"/>
                <a:gd name="T10" fmla="*/ 34 w 162"/>
                <a:gd name="T11" fmla="*/ 203 h 203"/>
                <a:gd name="T12" fmla="*/ 71 w 162"/>
                <a:gd name="T13" fmla="*/ 100 h 203"/>
                <a:gd name="T14" fmla="*/ 64 w 162"/>
                <a:gd name="T15" fmla="*/ 86 h 203"/>
                <a:gd name="T16" fmla="*/ 81 w 162"/>
                <a:gd name="T17" fmla="*/ 69 h 203"/>
                <a:gd name="T18" fmla="*/ 98 w 162"/>
                <a:gd name="T19" fmla="*/ 86 h 203"/>
                <a:gd name="T20" fmla="*/ 91 w 162"/>
                <a:gd name="T21" fmla="*/ 100 h 203"/>
                <a:gd name="T22" fmla="*/ 81 w 162"/>
                <a:gd name="T23" fmla="*/ 34 h 203"/>
                <a:gd name="T24" fmla="*/ 130 w 162"/>
                <a:gd name="T25" fmla="*/ 83 h 203"/>
                <a:gd name="T26" fmla="*/ 107 w 162"/>
                <a:gd name="T27" fmla="*/ 123 h 203"/>
                <a:gd name="T28" fmla="*/ 106 w 162"/>
                <a:gd name="T29" fmla="*/ 117 h 203"/>
                <a:gd name="T30" fmla="*/ 121 w 162"/>
                <a:gd name="T31" fmla="*/ 86 h 203"/>
                <a:gd name="T32" fmla="*/ 81 w 162"/>
                <a:gd name="T33" fmla="*/ 47 h 203"/>
                <a:gd name="T34" fmla="*/ 42 w 162"/>
                <a:gd name="T35" fmla="*/ 86 h 203"/>
                <a:gd name="T36" fmla="*/ 56 w 162"/>
                <a:gd name="T37" fmla="*/ 117 h 203"/>
                <a:gd name="T38" fmla="*/ 55 w 162"/>
                <a:gd name="T39" fmla="*/ 123 h 203"/>
                <a:gd name="T40" fmla="*/ 33 w 162"/>
                <a:gd name="T41" fmla="*/ 83 h 203"/>
                <a:gd name="T42" fmla="*/ 81 w 162"/>
                <a:gd name="T43" fmla="*/ 34 h 203"/>
                <a:gd name="T44" fmla="*/ 81 w 162"/>
                <a:gd name="T45" fmla="*/ 0 h 203"/>
                <a:gd name="T46" fmla="*/ 162 w 162"/>
                <a:gd name="T47" fmla="*/ 81 h 203"/>
                <a:gd name="T48" fmla="*/ 118 w 162"/>
                <a:gd name="T49" fmla="*/ 154 h 203"/>
                <a:gd name="T50" fmla="*/ 115 w 162"/>
                <a:gd name="T51" fmla="*/ 148 h 203"/>
                <a:gd name="T52" fmla="*/ 153 w 162"/>
                <a:gd name="T53" fmla="*/ 85 h 203"/>
                <a:gd name="T54" fmla="*/ 81 w 162"/>
                <a:gd name="T55" fmla="*/ 13 h 203"/>
                <a:gd name="T56" fmla="*/ 10 w 162"/>
                <a:gd name="T57" fmla="*/ 85 h 203"/>
                <a:gd name="T58" fmla="*/ 47 w 162"/>
                <a:gd name="T59" fmla="*/ 148 h 203"/>
                <a:gd name="T60" fmla="*/ 45 w 162"/>
                <a:gd name="T61" fmla="*/ 154 h 203"/>
                <a:gd name="T62" fmla="*/ 0 w 162"/>
                <a:gd name="T63" fmla="*/ 81 h 203"/>
                <a:gd name="T64" fmla="*/ 81 w 162"/>
                <a:gd name="T65" fmla="*/ 0 h 203"/>
                <a:gd name="T66" fmla="*/ 81 w 162"/>
                <a:gd name="T67" fmla="*/ 124 h 203"/>
                <a:gd name="T68" fmla="*/ 89 w 162"/>
                <a:gd name="T69" fmla="*/ 132 h 203"/>
                <a:gd name="T70" fmla="*/ 81 w 162"/>
                <a:gd name="T71" fmla="*/ 139 h 203"/>
                <a:gd name="T72" fmla="*/ 73 w 162"/>
                <a:gd name="T73" fmla="*/ 132 h 203"/>
                <a:gd name="T74" fmla="*/ 81 w 162"/>
                <a:gd name="T75" fmla="*/ 124 h 203"/>
                <a:gd name="T76" fmla="*/ 81 w 162"/>
                <a:gd name="T77" fmla="*/ 171 h 203"/>
                <a:gd name="T78" fmla="*/ 95 w 162"/>
                <a:gd name="T79" fmla="*/ 160 h 203"/>
                <a:gd name="T80" fmla="*/ 81 w 162"/>
                <a:gd name="T81" fmla="*/ 149 h 203"/>
                <a:gd name="T82" fmla="*/ 68 w 162"/>
                <a:gd name="T83" fmla="*/ 160 h 203"/>
                <a:gd name="T84" fmla="*/ 81 w 162"/>
                <a:gd name="T85" fmla="*/ 17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2" h="203">
                  <a:moveTo>
                    <a:pt x="91" y="100"/>
                  </a:moveTo>
                  <a:cubicBezTo>
                    <a:pt x="98" y="144"/>
                    <a:pt x="114" y="181"/>
                    <a:pt x="128" y="203"/>
                  </a:cubicBezTo>
                  <a:cubicBezTo>
                    <a:pt x="108" y="203"/>
                    <a:pt x="108" y="203"/>
                    <a:pt x="108" y="203"/>
                  </a:cubicBezTo>
                  <a:cubicBezTo>
                    <a:pt x="108" y="190"/>
                    <a:pt x="100" y="180"/>
                    <a:pt x="81" y="180"/>
                  </a:cubicBezTo>
                  <a:cubicBezTo>
                    <a:pt x="63" y="180"/>
                    <a:pt x="55" y="190"/>
                    <a:pt x="54" y="203"/>
                  </a:cubicBezTo>
                  <a:cubicBezTo>
                    <a:pt x="34" y="203"/>
                    <a:pt x="34" y="203"/>
                    <a:pt x="34" y="203"/>
                  </a:cubicBezTo>
                  <a:cubicBezTo>
                    <a:pt x="49" y="181"/>
                    <a:pt x="64" y="144"/>
                    <a:pt x="71" y="100"/>
                  </a:cubicBezTo>
                  <a:cubicBezTo>
                    <a:pt x="67" y="97"/>
                    <a:pt x="64" y="92"/>
                    <a:pt x="64" y="86"/>
                  </a:cubicBezTo>
                  <a:cubicBezTo>
                    <a:pt x="64" y="77"/>
                    <a:pt x="72" y="69"/>
                    <a:pt x="81" y="69"/>
                  </a:cubicBezTo>
                  <a:cubicBezTo>
                    <a:pt x="91" y="69"/>
                    <a:pt x="98" y="77"/>
                    <a:pt x="98" y="86"/>
                  </a:cubicBezTo>
                  <a:cubicBezTo>
                    <a:pt x="98" y="92"/>
                    <a:pt x="96" y="97"/>
                    <a:pt x="91" y="100"/>
                  </a:cubicBezTo>
                  <a:close/>
                  <a:moveTo>
                    <a:pt x="81" y="34"/>
                  </a:moveTo>
                  <a:cubicBezTo>
                    <a:pt x="108" y="34"/>
                    <a:pt x="130" y="56"/>
                    <a:pt x="130" y="83"/>
                  </a:cubicBezTo>
                  <a:cubicBezTo>
                    <a:pt x="130" y="100"/>
                    <a:pt x="121" y="115"/>
                    <a:pt x="107" y="123"/>
                  </a:cubicBezTo>
                  <a:cubicBezTo>
                    <a:pt x="107" y="121"/>
                    <a:pt x="106" y="119"/>
                    <a:pt x="106" y="117"/>
                  </a:cubicBezTo>
                  <a:cubicBezTo>
                    <a:pt x="115" y="110"/>
                    <a:pt x="121" y="99"/>
                    <a:pt x="121" y="86"/>
                  </a:cubicBezTo>
                  <a:cubicBezTo>
                    <a:pt x="121" y="64"/>
                    <a:pt x="103" y="47"/>
                    <a:pt x="81" y="47"/>
                  </a:cubicBezTo>
                  <a:cubicBezTo>
                    <a:pt x="59" y="47"/>
                    <a:pt x="42" y="64"/>
                    <a:pt x="42" y="86"/>
                  </a:cubicBezTo>
                  <a:cubicBezTo>
                    <a:pt x="42" y="99"/>
                    <a:pt x="47" y="110"/>
                    <a:pt x="56" y="117"/>
                  </a:cubicBezTo>
                  <a:cubicBezTo>
                    <a:pt x="56" y="119"/>
                    <a:pt x="55" y="121"/>
                    <a:pt x="55" y="123"/>
                  </a:cubicBezTo>
                  <a:cubicBezTo>
                    <a:pt x="42" y="115"/>
                    <a:pt x="33" y="100"/>
                    <a:pt x="33" y="83"/>
                  </a:cubicBezTo>
                  <a:cubicBezTo>
                    <a:pt x="33" y="56"/>
                    <a:pt x="54" y="34"/>
                    <a:pt x="81" y="34"/>
                  </a:cubicBezTo>
                  <a:close/>
                  <a:moveTo>
                    <a:pt x="81" y="0"/>
                  </a:moveTo>
                  <a:cubicBezTo>
                    <a:pt x="126" y="0"/>
                    <a:pt x="162" y="37"/>
                    <a:pt x="162" y="81"/>
                  </a:cubicBezTo>
                  <a:cubicBezTo>
                    <a:pt x="162" y="113"/>
                    <a:pt x="144" y="141"/>
                    <a:pt x="118" y="154"/>
                  </a:cubicBezTo>
                  <a:cubicBezTo>
                    <a:pt x="117" y="152"/>
                    <a:pt x="116" y="150"/>
                    <a:pt x="115" y="148"/>
                  </a:cubicBezTo>
                  <a:cubicBezTo>
                    <a:pt x="138" y="136"/>
                    <a:pt x="153" y="112"/>
                    <a:pt x="153" y="85"/>
                  </a:cubicBezTo>
                  <a:cubicBezTo>
                    <a:pt x="153" y="45"/>
                    <a:pt x="121" y="13"/>
                    <a:pt x="81" y="13"/>
                  </a:cubicBezTo>
                  <a:cubicBezTo>
                    <a:pt x="42" y="13"/>
                    <a:pt x="10" y="45"/>
                    <a:pt x="10" y="85"/>
                  </a:cubicBezTo>
                  <a:cubicBezTo>
                    <a:pt x="10" y="112"/>
                    <a:pt x="25" y="136"/>
                    <a:pt x="47" y="148"/>
                  </a:cubicBezTo>
                  <a:cubicBezTo>
                    <a:pt x="46" y="150"/>
                    <a:pt x="46" y="152"/>
                    <a:pt x="45" y="154"/>
                  </a:cubicBezTo>
                  <a:cubicBezTo>
                    <a:pt x="18" y="141"/>
                    <a:pt x="0" y="113"/>
                    <a:pt x="0" y="81"/>
                  </a:cubicBezTo>
                  <a:cubicBezTo>
                    <a:pt x="0" y="37"/>
                    <a:pt x="36" y="0"/>
                    <a:pt x="81" y="0"/>
                  </a:cubicBezTo>
                  <a:close/>
                  <a:moveTo>
                    <a:pt x="81" y="124"/>
                  </a:moveTo>
                  <a:cubicBezTo>
                    <a:pt x="87" y="124"/>
                    <a:pt x="89" y="128"/>
                    <a:pt x="89" y="132"/>
                  </a:cubicBezTo>
                  <a:cubicBezTo>
                    <a:pt x="89" y="135"/>
                    <a:pt x="87" y="139"/>
                    <a:pt x="81" y="139"/>
                  </a:cubicBezTo>
                  <a:cubicBezTo>
                    <a:pt x="75" y="139"/>
                    <a:pt x="73" y="135"/>
                    <a:pt x="73" y="132"/>
                  </a:cubicBezTo>
                  <a:cubicBezTo>
                    <a:pt x="73" y="128"/>
                    <a:pt x="75" y="124"/>
                    <a:pt x="81" y="124"/>
                  </a:cubicBezTo>
                  <a:close/>
                  <a:moveTo>
                    <a:pt x="81" y="171"/>
                  </a:moveTo>
                  <a:cubicBezTo>
                    <a:pt x="91" y="171"/>
                    <a:pt x="95" y="166"/>
                    <a:pt x="95" y="160"/>
                  </a:cubicBezTo>
                  <a:cubicBezTo>
                    <a:pt x="95" y="154"/>
                    <a:pt x="91" y="149"/>
                    <a:pt x="81" y="149"/>
                  </a:cubicBezTo>
                  <a:cubicBezTo>
                    <a:pt x="71" y="149"/>
                    <a:pt x="68" y="154"/>
                    <a:pt x="68" y="160"/>
                  </a:cubicBezTo>
                  <a:cubicBezTo>
                    <a:pt x="68" y="166"/>
                    <a:pt x="71" y="171"/>
                    <a:pt x="81" y="171"/>
                  </a:cubicBezTo>
                  <a:close/>
                </a:path>
              </a:pathLst>
            </a:custGeom>
            <a:solidFill>
              <a:schemeClr val="bg1">
                <a:lumMod val="50000"/>
              </a:schemeClr>
            </a:solidFill>
            <a:ln>
              <a:noFill/>
            </a:ln>
          </p:spPr>
          <p:txBody>
            <a:bodyPr vert="horz" wrap="square" lIns="82305" tIns="41153" rIns="82305" bIns="41153" numCol="1" anchor="t" anchorCtr="0" compatLnSpc="1">
              <a:prstTxWarp prst="textNoShape">
                <a:avLst/>
              </a:prstTxWarp>
            </a:bodyPr>
            <a:lstStyle/>
            <a:p>
              <a:pPr defTabSz="914400"/>
              <a:endParaRPr lang="en-US" sz="1600" dirty="0"/>
            </a:p>
          </p:txBody>
        </p:sp>
      </p:grpSp>
      <p:grpSp>
        <p:nvGrpSpPr>
          <p:cNvPr id="164" name="Group 163"/>
          <p:cNvGrpSpPr/>
          <p:nvPr/>
        </p:nvGrpSpPr>
        <p:grpSpPr>
          <a:xfrm>
            <a:off x="10898309" y="3598960"/>
            <a:ext cx="142637" cy="289181"/>
            <a:chOff x="2209287" y="3149579"/>
            <a:chExt cx="285893" cy="579618"/>
          </a:xfrm>
        </p:grpSpPr>
        <p:sp>
          <p:nvSpPr>
            <p:cNvPr id="165" name="Round Same Side Corner Rectangle 2"/>
            <p:cNvSpPr>
              <a:spLocks noChangeAspect="1"/>
            </p:cNvSpPr>
            <p:nvPr/>
          </p:nvSpPr>
          <p:spPr>
            <a:xfrm>
              <a:off x="2209287" y="3149579"/>
              <a:ext cx="285893" cy="579618"/>
            </a:xfrm>
            <a:custGeom>
              <a:avLst/>
              <a:gdLst/>
              <a:ahLst/>
              <a:cxnLst/>
              <a:rect l="l" t="t" r="r" b="b"/>
              <a:pathLst>
                <a:path w="639317" h="1296147">
                  <a:moveTo>
                    <a:pt x="319659" y="1176926"/>
                  </a:moveTo>
                  <a:cubicBezTo>
                    <a:pt x="302977" y="1176926"/>
                    <a:pt x="289454" y="1190449"/>
                    <a:pt x="289454" y="1207131"/>
                  </a:cubicBezTo>
                  <a:cubicBezTo>
                    <a:pt x="289454" y="1223812"/>
                    <a:pt x="302977" y="1237335"/>
                    <a:pt x="319659" y="1237335"/>
                  </a:cubicBezTo>
                  <a:cubicBezTo>
                    <a:pt x="336340" y="1237335"/>
                    <a:pt x="349863" y="1223812"/>
                    <a:pt x="349863" y="1207131"/>
                  </a:cubicBezTo>
                  <a:cubicBezTo>
                    <a:pt x="349863" y="1190449"/>
                    <a:pt x="336340" y="1176926"/>
                    <a:pt x="319659" y="1176926"/>
                  </a:cubicBezTo>
                  <a:close/>
                  <a:moveTo>
                    <a:pt x="66614" y="178851"/>
                  </a:moveTo>
                  <a:lnTo>
                    <a:pt x="66614" y="1092553"/>
                  </a:lnTo>
                  <a:lnTo>
                    <a:pt x="79934" y="1092553"/>
                  </a:lnTo>
                  <a:lnTo>
                    <a:pt x="79934" y="1094228"/>
                  </a:lnTo>
                  <a:lnTo>
                    <a:pt x="518084" y="1094228"/>
                  </a:lnTo>
                  <a:lnTo>
                    <a:pt x="518084" y="1092553"/>
                  </a:lnTo>
                  <a:lnTo>
                    <a:pt x="572703" y="1092553"/>
                  </a:lnTo>
                  <a:lnTo>
                    <a:pt x="572703" y="178851"/>
                  </a:lnTo>
                  <a:close/>
                  <a:moveTo>
                    <a:pt x="240430" y="73898"/>
                  </a:moveTo>
                  <a:cubicBezTo>
                    <a:pt x="234747" y="73898"/>
                    <a:pt x="230141" y="78505"/>
                    <a:pt x="230141" y="84188"/>
                  </a:cubicBezTo>
                  <a:cubicBezTo>
                    <a:pt x="230141" y="89870"/>
                    <a:pt x="234747" y="94477"/>
                    <a:pt x="240430" y="94477"/>
                  </a:cubicBezTo>
                  <a:lnTo>
                    <a:pt x="398887" y="94478"/>
                  </a:lnTo>
                  <a:cubicBezTo>
                    <a:pt x="404570" y="94478"/>
                    <a:pt x="409177" y="89871"/>
                    <a:pt x="409177" y="84188"/>
                  </a:cubicBezTo>
                  <a:lnTo>
                    <a:pt x="409177" y="84188"/>
                  </a:lnTo>
                  <a:cubicBezTo>
                    <a:pt x="409177" y="78505"/>
                    <a:pt x="404571" y="73898"/>
                    <a:pt x="398888" y="73898"/>
                  </a:cubicBezTo>
                  <a:close/>
                  <a:moveTo>
                    <a:pt x="313485" y="119"/>
                  </a:moveTo>
                  <a:cubicBezTo>
                    <a:pt x="467512" y="-2326"/>
                    <a:pt x="623597" y="32935"/>
                    <a:pt x="639317" y="113230"/>
                  </a:cubicBezTo>
                  <a:lnTo>
                    <a:pt x="639317" y="540401"/>
                  </a:lnTo>
                  <a:lnTo>
                    <a:pt x="639317" y="755746"/>
                  </a:lnTo>
                  <a:lnTo>
                    <a:pt x="639317" y="1182917"/>
                  </a:lnTo>
                  <a:cubicBezTo>
                    <a:pt x="607877" y="1343508"/>
                    <a:pt x="14977" y="1323958"/>
                    <a:pt x="0" y="1182917"/>
                  </a:cubicBezTo>
                  <a:lnTo>
                    <a:pt x="0" y="755746"/>
                  </a:lnTo>
                  <a:lnTo>
                    <a:pt x="0" y="540401"/>
                  </a:lnTo>
                  <a:lnTo>
                    <a:pt x="0" y="113230"/>
                  </a:lnTo>
                  <a:cubicBezTo>
                    <a:pt x="7489" y="42710"/>
                    <a:pt x="159458" y="2562"/>
                    <a:pt x="313485" y="119"/>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dirty="0">
                <a:solidFill>
                  <a:schemeClr val="tx1"/>
                </a:solidFill>
              </a:endParaRPr>
            </a:p>
          </p:txBody>
        </p:sp>
        <p:sp>
          <p:nvSpPr>
            <p:cNvPr id="166" name="Freeform 61"/>
            <p:cNvSpPr>
              <a:spLocks noChangeAspect="1" noEditPoints="1"/>
            </p:cNvSpPr>
            <p:nvPr/>
          </p:nvSpPr>
          <p:spPr bwMode="black">
            <a:xfrm>
              <a:off x="2229091" y="3290153"/>
              <a:ext cx="238215" cy="298469"/>
            </a:xfrm>
            <a:custGeom>
              <a:avLst/>
              <a:gdLst>
                <a:gd name="T0" fmla="*/ 91 w 162"/>
                <a:gd name="T1" fmla="*/ 100 h 203"/>
                <a:gd name="T2" fmla="*/ 128 w 162"/>
                <a:gd name="T3" fmla="*/ 203 h 203"/>
                <a:gd name="T4" fmla="*/ 108 w 162"/>
                <a:gd name="T5" fmla="*/ 203 h 203"/>
                <a:gd name="T6" fmla="*/ 81 w 162"/>
                <a:gd name="T7" fmla="*/ 180 h 203"/>
                <a:gd name="T8" fmla="*/ 54 w 162"/>
                <a:gd name="T9" fmla="*/ 203 h 203"/>
                <a:gd name="T10" fmla="*/ 34 w 162"/>
                <a:gd name="T11" fmla="*/ 203 h 203"/>
                <a:gd name="T12" fmla="*/ 71 w 162"/>
                <a:gd name="T13" fmla="*/ 100 h 203"/>
                <a:gd name="T14" fmla="*/ 64 w 162"/>
                <a:gd name="T15" fmla="*/ 86 h 203"/>
                <a:gd name="T16" fmla="*/ 81 w 162"/>
                <a:gd name="T17" fmla="*/ 69 h 203"/>
                <a:gd name="T18" fmla="*/ 98 w 162"/>
                <a:gd name="T19" fmla="*/ 86 h 203"/>
                <a:gd name="T20" fmla="*/ 91 w 162"/>
                <a:gd name="T21" fmla="*/ 100 h 203"/>
                <a:gd name="T22" fmla="*/ 81 w 162"/>
                <a:gd name="T23" fmla="*/ 34 h 203"/>
                <a:gd name="T24" fmla="*/ 130 w 162"/>
                <a:gd name="T25" fmla="*/ 83 h 203"/>
                <a:gd name="T26" fmla="*/ 107 w 162"/>
                <a:gd name="T27" fmla="*/ 123 h 203"/>
                <a:gd name="T28" fmla="*/ 106 w 162"/>
                <a:gd name="T29" fmla="*/ 117 h 203"/>
                <a:gd name="T30" fmla="*/ 121 w 162"/>
                <a:gd name="T31" fmla="*/ 86 h 203"/>
                <a:gd name="T32" fmla="*/ 81 w 162"/>
                <a:gd name="T33" fmla="*/ 47 h 203"/>
                <a:gd name="T34" fmla="*/ 42 w 162"/>
                <a:gd name="T35" fmla="*/ 86 h 203"/>
                <a:gd name="T36" fmla="*/ 56 w 162"/>
                <a:gd name="T37" fmla="*/ 117 h 203"/>
                <a:gd name="T38" fmla="*/ 55 w 162"/>
                <a:gd name="T39" fmla="*/ 123 h 203"/>
                <a:gd name="T40" fmla="*/ 33 w 162"/>
                <a:gd name="T41" fmla="*/ 83 h 203"/>
                <a:gd name="T42" fmla="*/ 81 w 162"/>
                <a:gd name="T43" fmla="*/ 34 h 203"/>
                <a:gd name="T44" fmla="*/ 81 w 162"/>
                <a:gd name="T45" fmla="*/ 0 h 203"/>
                <a:gd name="T46" fmla="*/ 162 w 162"/>
                <a:gd name="T47" fmla="*/ 81 h 203"/>
                <a:gd name="T48" fmla="*/ 118 w 162"/>
                <a:gd name="T49" fmla="*/ 154 h 203"/>
                <a:gd name="T50" fmla="*/ 115 w 162"/>
                <a:gd name="T51" fmla="*/ 148 h 203"/>
                <a:gd name="T52" fmla="*/ 153 w 162"/>
                <a:gd name="T53" fmla="*/ 85 h 203"/>
                <a:gd name="T54" fmla="*/ 81 w 162"/>
                <a:gd name="T55" fmla="*/ 13 h 203"/>
                <a:gd name="T56" fmla="*/ 10 w 162"/>
                <a:gd name="T57" fmla="*/ 85 h 203"/>
                <a:gd name="T58" fmla="*/ 47 w 162"/>
                <a:gd name="T59" fmla="*/ 148 h 203"/>
                <a:gd name="T60" fmla="*/ 45 w 162"/>
                <a:gd name="T61" fmla="*/ 154 h 203"/>
                <a:gd name="T62" fmla="*/ 0 w 162"/>
                <a:gd name="T63" fmla="*/ 81 h 203"/>
                <a:gd name="T64" fmla="*/ 81 w 162"/>
                <a:gd name="T65" fmla="*/ 0 h 203"/>
                <a:gd name="T66" fmla="*/ 81 w 162"/>
                <a:gd name="T67" fmla="*/ 124 h 203"/>
                <a:gd name="T68" fmla="*/ 89 w 162"/>
                <a:gd name="T69" fmla="*/ 132 h 203"/>
                <a:gd name="T70" fmla="*/ 81 w 162"/>
                <a:gd name="T71" fmla="*/ 139 h 203"/>
                <a:gd name="T72" fmla="*/ 73 w 162"/>
                <a:gd name="T73" fmla="*/ 132 h 203"/>
                <a:gd name="T74" fmla="*/ 81 w 162"/>
                <a:gd name="T75" fmla="*/ 124 h 203"/>
                <a:gd name="T76" fmla="*/ 81 w 162"/>
                <a:gd name="T77" fmla="*/ 171 h 203"/>
                <a:gd name="T78" fmla="*/ 95 w 162"/>
                <a:gd name="T79" fmla="*/ 160 h 203"/>
                <a:gd name="T80" fmla="*/ 81 w 162"/>
                <a:gd name="T81" fmla="*/ 149 h 203"/>
                <a:gd name="T82" fmla="*/ 68 w 162"/>
                <a:gd name="T83" fmla="*/ 160 h 203"/>
                <a:gd name="T84" fmla="*/ 81 w 162"/>
                <a:gd name="T85" fmla="*/ 17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2" h="203">
                  <a:moveTo>
                    <a:pt x="91" y="100"/>
                  </a:moveTo>
                  <a:cubicBezTo>
                    <a:pt x="98" y="144"/>
                    <a:pt x="114" y="181"/>
                    <a:pt x="128" y="203"/>
                  </a:cubicBezTo>
                  <a:cubicBezTo>
                    <a:pt x="108" y="203"/>
                    <a:pt x="108" y="203"/>
                    <a:pt x="108" y="203"/>
                  </a:cubicBezTo>
                  <a:cubicBezTo>
                    <a:pt x="108" y="190"/>
                    <a:pt x="100" y="180"/>
                    <a:pt x="81" y="180"/>
                  </a:cubicBezTo>
                  <a:cubicBezTo>
                    <a:pt x="63" y="180"/>
                    <a:pt x="55" y="190"/>
                    <a:pt x="54" y="203"/>
                  </a:cubicBezTo>
                  <a:cubicBezTo>
                    <a:pt x="34" y="203"/>
                    <a:pt x="34" y="203"/>
                    <a:pt x="34" y="203"/>
                  </a:cubicBezTo>
                  <a:cubicBezTo>
                    <a:pt x="49" y="181"/>
                    <a:pt x="64" y="144"/>
                    <a:pt x="71" y="100"/>
                  </a:cubicBezTo>
                  <a:cubicBezTo>
                    <a:pt x="67" y="97"/>
                    <a:pt x="64" y="92"/>
                    <a:pt x="64" y="86"/>
                  </a:cubicBezTo>
                  <a:cubicBezTo>
                    <a:pt x="64" y="77"/>
                    <a:pt x="72" y="69"/>
                    <a:pt x="81" y="69"/>
                  </a:cubicBezTo>
                  <a:cubicBezTo>
                    <a:pt x="91" y="69"/>
                    <a:pt x="98" y="77"/>
                    <a:pt x="98" y="86"/>
                  </a:cubicBezTo>
                  <a:cubicBezTo>
                    <a:pt x="98" y="92"/>
                    <a:pt x="96" y="97"/>
                    <a:pt x="91" y="100"/>
                  </a:cubicBezTo>
                  <a:close/>
                  <a:moveTo>
                    <a:pt x="81" y="34"/>
                  </a:moveTo>
                  <a:cubicBezTo>
                    <a:pt x="108" y="34"/>
                    <a:pt x="130" y="56"/>
                    <a:pt x="130" y="83"/>
                  </a:cubicBezTo>
                  <a:cubicBezTo>
                    <a:pt x="130" y="100"/>
                    <a:pt x="121" y="115"/>
                    <a:pt x="107" y="123"/>
                  </a:cubicBezTo>
                  <a:cubicBezTo>
                    <a:pt x="107" y="121"/>
                    <a:pt x="106" y="119"/>
                    <a:pt x="106" y="117"/>
                  </a:cubicBezTo>
                  <a:cubicBezTo>
                    <a:pt x="115" y="110"/>
                    <a:pt x="121" y="99"/>
                    <a:pt x="121" y="86"/>
                  </a:cubicBezTo>
                  <a:cubicBezTo>
                    <a:pt x="121" y="64"/>
                    <a:pt x="103" y="47"/>
                    <a:pt x="81" y="47"/>
                  </a:cubicBezTo>
                  <a:cubicBezTo>
                    <a:pt x="59" y="47"/>
                    <a:pt x="42" y="64"/>
                    <a:pt x="42" y="86"/>
                  </a:cubicBezTo>
                  <a:cubicBezTo>
                    <a:pt x="42" y="99"/>
                    <a:pt x="47" y="110"/>
                    <a:pt x="56" y="117"/>
                  </a:cubicBezTo>
                  <a:cubicBezTo>
                    <a:pt x="56" y="119"/>
                    <a:pt x="55" y="121"/>
                    <a:pt x="55" y="123"/>
                  </a:cubicBezTo>
                  <a:cubicBezTo>
                    <a:pt x="42" y="115"/>
                    <a:pt x="33" y="100"/>
                    <a:pt x="33" y="83"/>
                  </a:cubicBezTo>
                  <a:cubicBezTo>
                    <a:pt x="33" y="56"/>
                    <a:pt x="54" y="34"/>
                    <a:pt x="81" y="34"/>
                  </a:cubicBezTo>
                  <a:close/>
                  <a:moveTo>
                    <a:pt x="81" y="0"/>
                  </a:moveTo>
                  <a:cubicBezTo>
                    <a:pt x="126" y="0"/>
                    <a:pt x="162" y="37"/>
                    <a:pt x="162" y="81"/>
                  </a:cubicBezTo>
                  <a:cubicBezTo>
                    <a:pt x="162" y="113"/>
                    <a:pt x="144" y="141"/>
                    <a:pt x="118" y="154"/>
                  </a:cubicBezTo>
                  <a:cubicBezTo>
                    <a:pt x="117" y="152"/>
                    <a:pt x="116" y="150"/>
                    <a:pt x="115" y="148"/>
                  </a:cubicBezTo>
                  <a:cubicBezTo>
                    <a:pt x="138" y="136"/>
                    <a:pt x="153" y="112"/>
                    <a:pt x="153" y="85"/>
                  </a:cubicBezTo>
                  <a:cubicBezTo>
                    <a:pt x="153" y="45"/>
                    <a:pt x="121" y="13"/>
                    <a:pt x="81" y="13"/>
                  </a:cubicBezTo>
                  <a:cubicBezTo>
                    <a:pt x="42" y="13"/>
                    <a:pt x="10" y="45"/>
                    <a:pt x="10" y="85"/>
                  </a:cubicBezTo>
                  <a:cubicBezTo>
                    <a:pt x="10" y="112"/>
                    <a:pt x="25" y="136"/>
                    <a:pt x="47" y="148"/>
                  </a:cubicBezTo>
                  <a:cubicBezTo>
                    <a:pt x="46" y="150"/>
                    <a:pt x="46" y="152"/>
                    <a:pt x="45" y="154"/>
                  </a:cubicBezTo>
                  <a:cubicBezTo>
                    <a:pt x="18" y="141"/>
                    <a:pt x="0" y="113"/>
                    <a:pt x="0" y="81"/>
                  </a:cubicBezTo>
                  <a:cubicBezTo>
                    <a:pt x="0" y="37"/>
                    <a:pt x="36" y="0"/>
                    <a:pt x="81" y="0"/>
                  </a:cubicBezTo>
                  <a:close/>
                  <a:moveTo>
                    <a:pt x="81" y="124"/>
                  </a:moveTo>
                  <a:cubicBezTo>
                    <a:pt x="87" y="124"/>
                    <a:pt x="89" y="128"/>
                    <a:pt x="89" y="132"/>
                  </a:cubicBezTo>
                  <a:cubicBezTo>
                    <a:pt x="89" y="135"/>
                    <a:pt x="87" y="139"/>
                    <a:pt x="81" y="139"/>
                  </a:cubicBezTo>
                  <a:cubicBezTo>
                    <a:pt x="75" y="139"/>
                    <a:pt x="73" y="135"/>
                    <a:pt x="73" y="132"/>
                  </a:cubicBezTo>
                  <a:cubicBezTo>
                    <a:pt x="73" y="128"/>
                    <a:pt x="75" y="124"/>
                    <a:pt x="81" y="124"/>
                  </a:cubicBezTo>
                  <a:close/>
                  <a:moveTo>
                    <a:pt x="81" y="171"/>
                  </a:moveTo>
                  <a:cubicBezTo>
                    <a:pt x="91" y="171"/>
                    <a:pt x="95" y="166"/>
                    <a:pt x="95" y="160"/>
                  </a:cubicBezTo>
                  <a:cubicBezTo>
                    <a:pt x="95" y="154"/>
                    <a:pt x="91" y="149"/>
                    <a:pt x="81" y="149"/>
                  </a:cubicBezTo>
                  <a:cubicBezTo>
                    <a:pt x="71" y="149"/>
                    <a:pt x="68" y="154"/>
                    <a:pt x="68" y="160"/>
                  </a:cubicBezTo>
                  <a:cubicBezTo>
                    <a:pt x="68" y="166"/>
                    <a:pt x="71" y="171"/>
                    <a:pt x="81" y="171"/>
                  </a:cubicBezTo>
                  <a:close/>
                </a:path>
              </a:pathLst>
            </a:custGeom>
            <a:solidFill>
              <a:schemeClr val="bg1">
                <a:lumMod val="50000"/>
              </a:schemeClr>
            </a:solidFill>
            <a:ln>
              <a:noFill/>
            </a:ln>
          </p:spPr>
          <p:txBody>
            <a:bodyPr vert="horz" wrap="square" lIns="82305" tIns="41153" rIns="82305" bIns="41153" numCol="1" anchor="t" anchorCtr="0" compatLnSpc="1">
              <a:prstTxWarp prst="textNoShape">
                <a:avLst/>
              </a:prstTxWarp>
            </a:bodyPr>
            <a:lstStyle/>
            <a:p>
              <a:pPr defTabSz="914400"/>
              <a:endParaRPr lang="en-US" sz="1600" dirty="0"/>
            </a:p>
          </p:txBody>
        </p:sp>
      </p:grpSp>
      <p:grpSp>
        <p:nvGrpSpPr>
          <p:cNvPr id="235" name="Group 234"/>
          <p:cNvGrpSpPr/>
          <p:nvPr/>
        </p:nvGrpSpPr>
        <p:grpSpPr>
          <a:xfrm>
            <a:off x="9782304" y="3591219"/>
            <a:ext cx="428338" cy="327242"/>
            <a:chOff x="1073344" y="1874136"/>
            <a:chExt cx="996633" cy="761408"/>
          </a:xfrm>
        </p:grpSpPr>
        <p:sp>
          <p:nvSpPr>
            <p:cNvPr id="236" name="Rounded Rectangle 60"/>
            <p:cNvSpPr>
              <a:spLocks noChangeArrowheads="1"/>
            </p:cNvSpPr>
            <p:nvPr/>
          </p:nvSpPr>
          <p:spPr bwMode="auto">
            <a:xfrm>
              <a:off x="1073344" y="1874136"/>
              <a:ext cx="996633" cy="761408"/>
            </a:xfrm>
            <a:prstGeom prst="ellipse">
              <a:avLst/>
            </a:prstGeom>
            <a:solidFill>
              <a:schemeClr val="bg1">
                <a:lumMod val="85000"/>
                <a:alpha val="30196"/>
              </a:schemeClr>
            </a:solidFill>
            <a:ln w="3175">
              <a:noFill/>
              <a:prstDash val="lgDashDot"/>
            </a:ln>
          </p:spPr>
          <p:style>
            <a:lnRef idx="2">
              <a:schemeClr val="accent1">
                <a:shade val="50000"/>
              </a:schemeClr>
            </a:lnRef>
            <a:fillRef idx="1">
              <a:schemeClr val="accent1"/>
            </a:fillRef>
            <a:effectRef idx="0">
              <a:schemeClr val="accent1"/>
            </a:effectRef>
            <a:fontRef idx="minor">
              <a:schemeClr val="lt1"/>
            </a:fontRef>
          </p:style>
          <p:txBody>
            <a:bodyPr lIns="137160" anchor="ctr"/>
            <a:lstStyle/>
            <a:p>
              <a:pPr marL="88900" indent="-88900" defTabSz="914241" fontAlgn="t">
                <a:defRPr/>
              </a:pPr>
              <a:endParaRPr lang="en-US" sz="1100" dirty="0">
                <a:solidFill>
                  <a:schemeClr val="tx1"/>
                </a:solidFill>
              </a:endParaRPr>
            </a:p>
          </p:txBody>
        </p:sp>
        <p:pic>
          <p:nvPicPr>
            <p:cNvPr id="237" name="Picture 236"/>
            <p:cNvPicPr>
              <a:picLocks noChangeAspect="1"/>
            </p:cNvPicPr>
            <p:nvPr/>
          </p:nvPicPr>
          <p:blipFill>
            <a:blip r:embed="rId15" cstate="screen">
              <a:duotone>
                <a:prstClr val="black"/>
                <a:schemeClr val="accent5">
                  <a:tint val="45000"/>
                  <a:satMod val="400000"/>
                </a:schemeClr>
              </a:duotone>
              <a:lum bright="-20000" contrast="-20000"/>
              <a:extLst>
                <a:ext uri="{28A0092B-C50C-407E-A947-70E740481C1C}">
                  <a14:useLocalDpi xmlns:a14="http://schemas.microsoft.com/office/drawing/2010/main"/>
                </a:ext>
              </a:extLst>
            </a:blip>
            <a:stretch>
              <a:fillRect/>
            </a:stretch>
          </p:blipFill>
          <p:spPr bwMode="auto">
            <a:xfrm>
              <a:off x="1772534" y="2255216"/>
              <a:ext cx="296579" cy="264713"/>
            </a:xfrm>
            <a:prstGeom prst="rect">
              <a:avLst/>
            </a:prstGeom>
          </p:spPr>
        </p:pic>
        <p:sp>
          <p:nvSpPr>
            <p:cNvPr id="238" name="Freeform 14"/>
            <p:cNvSpPr>
              <a:spLocks noEditPoints="1"/>
            </p:cNvSpPr>
            <p:nvPr/>
          </p:nvSpPr>
          <p:spPr bwMode="black">
            <a:xfrm>
              <a:off x="1709529" y="1961213"/>
              <a:ext cx="147641" cy="157162"/>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chemeClr val="bg1">
                <a:lumMod val="50000"/>
              </a:schemeClr>
            </a:solidFill>
            <a:ln w="10795" cap="flat" cmpd="sng" algn="ctr">
              <a:noFill/>
              <a:prstDash val="solid"/>
              <a:headEnd type="none" w="med" len="med"/>
              <a:tailEnd type="none" w="med" len="med"/>
            </a:ln>
            <a:effectLst/>
          </p:spPr>
          <p:txBody>
            <a:bodyPr lIns="109707" tIns="54854" rIns="109707" bIns="54854" anchor="ctr"/>
            <a:lstStyle/>
            <a:p>
              <a:pPr defTabSz="987406">
                <a:defRPr/>
              </a:pPr>
              <a:endParaRPr lang="en-US" sz="2399" dirty="0">
                <a:latin typeface="Segoe Light" pitchFamily="34" charset="0"/>
              </a:endParaRPr>
            </a:p>
          </p:txBody>
        </p:sp>
        <p:pic>
          <p:nvPicPr>
            <p:cNvPr id="239" name="Picture 238"/>
            <p:cNvPicPr>
              <a:picLocks noChangeAspect="1"/>
            </p:cNvPicPr>
            <p:nvPr/>
          </p:nvPicPr>
          <p:blipFill>
            <a:blip r:embed="rId16" cstate="screen">
              <a:duotone>
                <a:prstClr val="black"/>
                <a:schemeClr val="accent5">
                  <a:tint val="45000"/>
                  <a:satMod val="400000"/>
                </a:schemeClr>
              </a:duotone>
              <a:extLst>
                <a:ext uri="{BEBA8EAE-BF5A-486C-A8C5-ECC9F3942E4B}">
                  <a14:imgProps xmlns:a14="http://schemas.microsoft.com/office/drawing/2010/main">
                    <a14:imgLayer r:embed="rId17">
                      <a14:imgEffect>
                        <a14:brightnessContrast bright="-20000" contrast="-20000"/>
                      </a14:imgEffect>
                    </a14:imgLayer>
                  </a14:imgProps>
                </a:ext>
                <a:ext uri="{28A0092B-C50C-407E-A947-70E740481C1C}">
                  <a14:useLocalDpi xmlns:a14="http://schemas.microsoft.com/office/drawing/2010/main"/>
                </a:ext>
              </a:extLst>
            </a:blip>
            <a:stretch>
              <a:fillRect/>
            </a:stretch>
          </p:blipFill>
          <p:spPr bwMode="auto">
            <a:xfrm>
              <a:off x="1886082" y="2101123"/>
              <a:ext cx="124258" cy="142717"/>
            </a:xfrm>
            <a:prstGeom prst="rect">
              <a:avLst/>
            </a:prstGeom>
          </p:spPr>
        </p:pic>
        <p:sp>
          <p:nvSpPr>
            <p:cNvPr id="240" name="Freeform 13"/>
            <p:cNvSpPr>
              <a:spLocks noEditPoints="1"/>
            </p:cNvSpPr>
            <p:nvPr/>
          </p:nvSpPr>
          <p:spPr bwMode="black">
            <a:xfrm>
              <a:off x="1092015" y="2186267"/>
              <a:ext cx="215905" cy="184149"/>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lumMod val="50000"/>
              </a:schemeClr>
            </a:solidFill>
            <a:ln w="10795" cap="flat" cmpd="sng" algn="ctr">
              <a:noFill/>
              <a:prstDash val="solid"/>
              <a:headEnd type="none" w="med" len="med"/>
              <a:tailEnd type="none" w="med" len="med"/>
            </a:ln>
            <a:effectLst/>
          </p:spPr>
          <p:txBody>
            <a:bodyPr lIns="82302" tIns="41151" rIns="82302" bIns="41151" anchor="ctr"/>
            <a:lstStyle/>
            <a:p>
              <a:pPr defTabSz="740740">
                <a:defRPr/>
              </a:pPr>
              <a:endParaRPr lang="en-US" dirty="0">
                <a:latin typeface="Segoe Light" pitchFamily="34" charset="0"/>
              </a:endParaRPr>
            </a:p>
          </p:txBody>
        </p:sp>
        <p:sp>
          <p:nvSpPr>
            <p:cNvPr id="241" name="Freeform 240"/>
            <p:cNvSpPr>
              <a:spLocks/>
            </p:cNvSpPr>
            <p:nvPr/>
          </p:nvSpPr>
          <p:spPr bwMode="black">
            <a:xfrm>
              <a:off x="1248260" y="2005656"/>
              <a:ext cx="157165" cy="157162"/>
            </a:xfrm>
            <a:custGeom>
              <a:avLst/>
              <a:gdLst>
                <a:gd name="connsiteX0" fmla="*/ 276253 w 393142"/>
                <a:gd name="connsiteY0" fmla="*/ 48406 h 393039"/>
                <a:gd name="connsiteX1" fmla="*/ 213366 w 393142"/>
                <a:gd name="connsiteY1" fmla="*/ 111283 h 393039"/>
                <a:gd name="connsiteX2" fmla="*/ 213366 w 393142"/>
                <a:gd name="connsiteY2" fmla="*/ 143229 h 393039"/>
                <a:gd name="connsiteX3" fmla="*/ 168230 w 393142"/>
                <a:gd name="connsiteY3" fmla="*/ 143229 h 393039"/>
                <a:gd name="connsiteX4" fmla="*/ 168230 w 393142"/>
                <a:gd name="connsiteY4" fmla="*/ 196725 h 393039"/>
                <a:gd name="connsiteX5" fmla="*/ 213366 w 393142"/>
                <a:gd name="connsiteY5" fmla="*/ 196725 h 393039"/>
                <a:gd name="connsiteX6" fmla="*/ 213366 w 393142"/>
                <a:gd name="connsiteY6" fmla="*/ 361270 h 393039"/>
                <a:gd name="connsiteX7" fmla="*/ 283606 w 393142"/>
                <a:gd name="connsiteY7" fmla="*/ 361270 h 393039"/>
                <a:gd name="connsiteX8" fmla="*/ 283606 w 393142"/>
                <a:gd name="connsiteY8" fmla="*/ 196725 h 393039"/>
                <a:gd name="connsiteX9" fmla="*/ 333560 w 393142"/>
                <a:gd name="connsiteY9" fmla="*/ 196725 h 393039"/>
                <a:gd name="connsiteX10" fmla="*/ 333560 w 393142"/>
                <a:gd name="connsiteY10" fmla="*/ 143229 h 393039"/>
                <a:gd name="connsiteX11" fmla="*/ 283606 w 393142"/>
                <a:gd name="connsiteY11" fmla="*/ 143229 h 393039"/>
                <a:gd name="connsiteX12" fmla="*/ 283606 w 393142"/>
                <a:gd name="connsiteY12" fmla="*/ 125481 h 393039"/>
                <a:gd name="connsiteX13" fmla="*/ 307189 w 393142"/>
                <a:gd name="connsiteY13" fmla="*/ 101902 h 393039"/>
                <a:gd name="connsiteX14" fmla="*/ 333560 w 393142"/>
                <a:gd name="connsiteY14" fmla="*/ 101902 h 393039"/>
                <a:gd name="connsiteX15" fmla="*/ 333560 w 393142"/>
                <a:gd name="connsiteY15" fmla="*/ 48406 h 393039"/>
                <a:gd name="connsiteX16" fmla="*/ 276253 w 393142"/>
                <a:gd name="connsiteY16" fmla="*/ 48406 h 393039"/>
                <a:gd name="connsiteX17" fmla="*/ 70512 w 393142"/>
                <a:gd name="connsiteY17" fmla="*/ 0 h 393039"/>
                <a:gd name="connsiteX18" fmla="*/ 322630 w 393142"/>
                <a:gd name="connsiteY18" fmla="*/ 0 h 393039"/>
                <a:gd name="connsiteX19" fmla="*/ 393142 w 393142"/>
                <a:gd name="connsiteY19" fmla="*/ 70494 h 393039"/>
                <a:gd name="connsiteX20" fmla="*/ 393142 w 393142"/>
                <a:gd name="connsiteY20" fmla="*/ 322546 h 393039"/>
                <a:gd name="connsiteX21" fmla="*/ 322630 w 393142"/>
                <a:gd name="connsiteY21" fmla="*/ 393039 h 393039"/>
                <a:gd name="connsiteX22" fmla="*/ 70512 w 393142"/>
                <a:gd name="connsiteY22" fmla="*/ 393039 h 393039"/>
                <a:gd name="connsiteX23" fmla="*/ 0 w 393142"/>
                <a:gd name="connsiteY23" fmla="*/ 322546 h 393039"/>
                <a:gd name="connsiteX24" fmla="*/ 0 w 393142"/>
                <a:gd name="connsiteY24" fmla="*/ 70494 h 393039"/>
                <a:gd name="connsiteX25" fmla="*/ 70512 w 393142"/>
                <a:gd name="connsiteY25" fmla="*/ 0 h 393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93142" h="393039">
                  <a:moveTo>
                    <a:pt x="276253" y="48406"/>
                  </a:moveTo>
                  <a:cubicBezTo>
                    <a:pt x="241513" y="48406"/>
                    <a:pt x="213366" y="76549"/>
                    <a:pt x="213366" y="111283"/>
                  </a:cubicBezTo>
                  <a:cubicBezTo>
                    <a:pt x="213366" y="143229"/>
                    <a:pt x="213366" y="143229"/>
                    <a:pt x="213366" y="143229"/>
                  </a:cubicBezTo>
                  <a:cubicBezTo>
                    <a:pt x="168230" y="143229"/>
                    <a:pt x="168230" y="143229"/>
                    <a:pt x="168230" y="143229"/>
                  </a:cubicBezTo>
                  <a:cubicBezTo>
                    <a:pt x="168230" y="196725"/>
                    <a:pt x="168230" y="196725"/>
                    <a:pt x="168230" y="196725"/>
                  </a:cubicBezTo>
                  <a:cubicBezTo>
                    <a:pt x="213366" y="196725"/>
                    <a:pt x="213366" y="196725"/>
                    <a:pt x="213366" y="196725"/>
                  </a:cubicBezTo>
                  <a:cubicBezTo>
                    <a:pt x="213366" y="361270"/>
                    <a:pt x="213366" y="361270"/>
                    <a:pt x="213366" y="361270"/>
                  </a:cubicBezTo>
                  <a:cubicBezTo>
                    <a:pt x="283606" y="361270"/>
                    <a:pt x="283606" y="361270"/>
                    <a:pt x="283606" y="361270"/>
                  </a:cubicBezTo>
                  <a:cubicBezTo>
                    <a:pt x="283606" y="196725"/>
                    <a:pt x="283606" y="196725"/>
                    <a:pt x="283606" y="196725"/>
                  </a:cubicBezTo>
                  <a:cubicBezTo>
                    <a:pt x="333560" y="196725"/>
                    <a:pt x="333560" y="196725"/>
                    <a:pt x="333560" y="196725"/>
                  </a:cubicBezTo>
                  <a:cubicBezTo>
                    <a:pt x="333560" y="143229"/>
                    <a:pt x="333560" y="143229"/>
                    <a:pt x="333560" y="143229"/>
                  </a:cubicBezTo>
                  <a:cubicBezTo>
                    <a:pt x="283606" y="143229"/>
                    <a:pt x="283606" y="143229"/>
                    <a:pt x="283606" y="143229"/>
                  </a:cubicBezTo>
                  <a:cubicBezTo>
                    <a:pt x="283606" y="125481"/>
                    <a:pt x="283606" y="125481"/>
                    <a:pt x="283606" y="125481"/>
                  </a:cubicBezTo>
                  <a:cubicBezTo>
                    <a:pt x="283606" y="112297"/>
                    <a:pt x="294003" y="101902"/>
                    <a:pt x="307189" y="101902"/>
                  </a:cubicBezTo>
                  <a:cubicBezTo>
                    <a:pt x="333560" y="101902"/>
                    <a:pt x="333560" y="101902"/>
                    <a:pt x="333560" y="101902"/>
                  </a:cubicBezTo>
                  <a:cubicBezTo>
                    <a:pt x="333560" y="48406"/>
                    <a:pt x="333560" y="48406"/>
                    <a:pt x="333560" y="48406"/>
                  </a:cubicBezTo>
                  <a:cubicBezTo>
                    <a:pt x="276253" y="48406"/>
                    <a:pt x="276253" y="48406"/>
                    <a:pt x="276253" y="48406"/>
                  </a:cubicBezTo>
                  <a:close/>
                  <a:moveTo>
                    <a:pt x="70512" y="0"/>
                  </a:moveTo>
                  <a:cubicBezTo>
                    <a:pt x="70512" y="0"/>
                    <a:pt x="70512" y="0"/>
                    <a:pt x="322630" y="0"/>
                  </a:cubicBezTo>
                  <a:cubicBezTo>
                    <a:pt x="361437" y="0"/>
                    <a:pt x="393142" y="31697"/>
                    <a:pt x="393142" y="70494"/>
                  </a:cubicBezTo>
                  <a:cubicBezTo>
                    <a:pt x="393142" y="70494"/>
                    <a:pt x="393142" y="70494"/>
                    <a:pt x="393142" y="322546"/>
                  </a:cubicBezTo>
                  <a:cubicBezTo>
                    <a:pt x="393142" y="361342"/>
                    <a:pt x="361437" y="393039"/>
                    <a:pt x="322630" y="393039"/>
                  </a:cubicBezTo>
                  <a:cubicBezTo>
                    <a:pt x="322630" y="393039"/>
                    <a:pt x="322630" y="393039"/>
                    <a:pt x="70512" y="393039"/>
                  </a:cubicBezTo>
                  <a:cubicBezTo>
                    <a:pt x="31705" y="393039"/>
                    <a:pt x="0" y="361342"/>
                    <a:pt x="0" y="322546"/>
                  </a:cubicBezTo>
                  <a:cubicBezTo>
                    <a:pt x="0" y="322546"/>
                    <a:pt x="0" y="322546"/>
                    <a:pt x="0" y="70494"/>
                  </a:cubicBezTo>
                  <a:cubicBezTo>
                    <a:pt x="0" y="31697"/>
                    <a:pt x="31705" y="0"/>
                    <a:pt x="70512" y="0"/>
                  </a:cubicBezTo>
                  <a:close/>
                </a:path>
              </a:pathLst>
            </a:custGeom>
            <a:solidFill>
              <a:schemeClr val="bg1">
                <a:lumMod val="50000"/>
              </a:schemeClr>
            </a:solidFill>
            <a:ln w="10795" cap="flat" cmpd="sng" algn="ctr">
              <a:noFill/>
              <a:prstDash val="solid"/>
              <a:headEnd type="none" w="med" len="med"/>
              <a:tailEnd type="none" w="med" len="med"/>
            </a:ln>
            <a:effectLst/>
            <a:extLst/>
          </p:spPr>
          <p:txBody>
            <a:bodyPr lIns="91436" tIns="45718" rIns="91436" bIns="45718" anchor="ctr"/>
            <a:lstStyle/>
            <a:p>
              <a:pPr defTabSz="740740">
                <a:defRPr/>
              </a:pPr>
              <a:endParaRPr lang="en-US" dirty="0">
                <a:latin typeface="Segoe Light" pitchFamily="34" charset="0"/>
              </a:endParaRPr>
            </a:p>
          </p:txBody>
        </p:sp>
        <p:sp>
          <p:nvSpPr>
            <p:cNvPr id="242" name="Freeform 241"/>
            <p:cNvSpPr>
              <a:spLocks/>
            </p:cNvSpPr>
            <p:nvPr/>
          </p:nvSpPr>
          <p:spPr bwMode="black">
            <a:xfrm>
              <a:off x="1470108" y="2446109"/>
              <a:ext cx="153991" cy="153986"/>
            </a:xfrm>
            <a:custGeom>
              <a:avLst/>
              <a:gdLst/>
              <a:ahLst/>
              <a:cxnLst/>
              <a:rect l="l" t="t" r="r" b="b"/>
              <a:pathLst>
                <a:path w="393142" h="393039">
                  <a:moveTo>
                    <a:pt x="81679" y="184317"/>
                  </a:moveTo>
                  <a:lnTo>
                    <a:pt x="81679" y="344009"/>
                  </a:lnTo>
                  <a:lnTo>
                    <a:pt x="138295" y="344009"/>
                  </a:lnTo>
                  <a:lnTo>
                    <a:pt x="138295" y="184317"/>
                  </a:lnTo>
                  <a:close/>
                  <a:moveTo>
                    <a:pt x="285263" y="180875"/>
                  </a:moveTo>
                  <a:cubicBezTo>
                    <a:pt x="271861" y="180875"/>
                    <a:pt x="260692" y="183399"/>
                    <a:pt x="251758" y="188447"/>
                  </a:cubicBezTo>
                  <a:cubicBezTo>
                    <a:pt x="246259" y="191544"/>
                    <a:pt x="240245" y="196879"/>
                    <a:pt x="233717" y="204450"/>
                  </a:cubicBezTo>
                  <a:lnTo>
                    <a:pt x="233717" y="184317"/>
                  </a:lnTo>
                  <a:lnTo>
                    <a:pt x="177101" y="184317"/>
                  </a:lnTo>
                  <a:lnTo>
                    <a:pt x="177101" y="344009"/>
                  </a:lnTo>
                  <a:lnTo>
                    <a:pt x="233717" y="344009"/>
                  </a:lnTo>
                  <a:lnTo>
                    <a:pt x="233717" y="258484"/>
                  </a:lnTo>
                  <a:cubicBezTo>
                    <a:pt x="233717" y="247299"/>
                    <a:pt x="236339" y="239081"/>
                    <a:pt x="241584" y="233831"/>
                  </a:cubicBezTo>
                  <a:cubicBezTo>
                    <a:pt x="247399" y="228010"/>
                    <a:pt x="254582" y="225100"/>
                    <a:pt x="263132" y="225100"/>
                  </a:cubicBezTo>
                  <a:cubicBezTo>
                    <a:pt x="272480" y="225100"/>
                    <a:pt x="279491" y="228480"/>
                    <a:pt x="284166" y="235240"/>
                  </a:cubicBezTo>
                  <a:cubicBezTo>
                    <a:pt x="287359" y="239821"/>
                    <a:pt x="288955" y="249157"/>
                    <a:pt x="288955" y="263246"/>
                  </a:cubicBezTo>
                  <a:lnTo>
                    <a:pt x="288955" y="344009"/>
                  </a:lnTo>
                  <a:lnTo>
                    <a:pt x="345570" y="344009"/>
                  </a:lnTo>
                  <a:lnTo>
                    <a:pt x="345570" y="242308"/>
                  </a:lnTo>
                  <a:cubicBezTo>
                    <a:pt x="345570" y="221200"/>
                    <a:pt x="339443" y="205368"/>
                    <a:pt x="327187" y="194814"/>
                  </a:cubicBezTo>
                  <a:cubicBezTo>
                    <a:pt x="316419" y="185521"/>
                    <a:pt x="302445" y="180875"/>
                    <a:pt x="285263" y="180875"/>
                  </a:cubicBezTo>
                  <a:close/>
                  <a:moveTo>
                    <a:pt x="109987" y="91392"/>
                  </a:moveTo>
                  <a:cubicBezTo>
                    <a:pt x="101177" y="91392"/>
                    <a:pt x="93711" y="94452"/>
                    <a:pt x="87591" y="100573"/>
                  </a:cubicBezTo>
                  <a:cubicBezTo>
                    <a:pt x="81470" y="106693"/>
                    <a:pt x="78410" y="114159"/>
                    <a:pt x="78410" y="122969"/>
                  </a:cubicBezTo>
                  <a:cubicBezTo>
                    <a:pt x="78410" y="131779"/>
                    <a:pt x="81470" y="139274"/>
                    <a:pt x="87591" y="145451"/>
                  </a:cubicBezTo>
                  <a:cubicBezTo>
                    <a:pt x="93711" y="151629"/>
                    <a:pt x="101177" y="154718"/>
                    <a:pt x="109987" y="154718"/>
                  </a:cubicBezTo>
                  <a:cubicBezTo>
                    <a:pt x="118912" y="154718"/>
                    <a:pt x="126435" y="151658"/>
                    <a:pt x="132555" y="145537"/>
                  </a:cubicBezTo>
                  <a:cubicBezTo>
                    <a:pt x="138676" y="139417"/>
                    <a:pt x="141736" y="131894"/>
                    <a:pt x="141736" y="122969"/>
                  </a:cubicBezTo>
                  <a:cubicBezTo>
                    <a:pt x="141736" y="114159"/>
                    <a:pt x="138647" y="106693"/>
                    <a:pt x="132469" y="100573"/>
                  </a:cubicBezTo>
                  <a:cubicBezTo>
                    <a:pt x="126291" y="94452"/>
                    <a:pt x="118797" y="91392"/>
                    <a:pt x="109987" y="91392"/>
                  </a:cubicBezTo>
                  <a:close/>
                  <a:moveTo>
                    <a:pt x="70512" y="0"/>
                  </a:moveTo>
                  <a:cubicBezTo>
                    <a:pt x="70512" y="0"/>
                    <a:pt x="70512" y="0"/>
                    <a:pt x="322630" y="0"/>
                  </a:cubicBezTo>
                  <a:cubicBezTo>
                    <a:pt x="361437" y="0"/>
                    <a:pt x="393142" y="31697"/>
                    <a:pt x="393142" y="70494"/>
                  </a:cubicBezTo>
                  <a:cubicBezTo>
                    <a:pt x="393142" y="70494"/>
                    <a:pt x="393142" y="70494"/>
                    <a:pt x="393142" y="322546"/>
                  </a:cubicBezTo>
                  <a:cubicBezTo>
                    <a:pt x="393142" y="361342"/>
                    <a:pt x="361437" y="393039"/>
                    <a:pt x="322630" y="393039"/>
                  </a:cubicBezTo>
                  <a:cubicBezTo>
                    <a:pt x="322630" y="393039"/>
                    <a:pt x="322630" y="393039"/>
                    <a:pt x="70512" y="393039"/>
                  </a:cubicBezTo>
                  <a:cubicBezTo>
                    <a:pt x="31705" y="393039"/>
                    <a:pt x="0" y="361342"/>
                    <a:pt x="0" y="322546"/>
                  </a:cubicBezTo>
                  <a:cubicBezTo>
                    <a:pt x="0" y="322546"/>
                    <a:pt x="0" y="322546"/>
                    <a:pt x="0" y="70494"/>
                  </a:cubicBezTo>
                  <a:cubicBezTo>
                    <a:pt x="0" y="31697"/>
                    <a:pt x="31705" y="0"/>
                    <a:pt x="70512" y="0"/>
                  </a:cubicBezTo>
                  <a:close/>
                </a:path>
              </a:pathLst>
            </a:custGeom>
            <a:solidFill>
              <a:schemeClr val="bg1">
                <a:lumMod val="50000"/>
              </a:schemeClr>
            </a:solidFill>
            <a:ln w="10795" cap="flat" cmpd="sng" algn="ctr">
              <a:noFill/>
              <a:prstDash val="solid"/>
              <a:headEnd type="none" w="med" len="med"/>
              <a:tailEnd type="none" w="med" len="med"/>
            </a:ln>
            <a:effectLst/>
            <a:extLst/>
          </p:spPr>
          <p:txBody>
            <a:bodyPr lIns="91436" tIns="45718" rIns="91436" bIns="45718" anchor="ctr"/>
            <a:lstStyle/>
            <a:p>
              <a:pPr defTabSz="740740">
                <a:defRPr/>
              </a:pPr>
              <a:endParaRPr lang="en-US" dirty="0">
                <a:latin typeface="Segoe Light" pitchFamily="34" charset="0"/>
              </a:endParaRPr>
            </a:p>
          </p:txBody>
        </p:sp>
        <p:sp>
          <p:nvSpPr>
            <p:cNvPr id="243" name="Trapezoid 86"/>
            <p:cNvSpPr/>
            <p:nvPr/>
          </p:nvSpPr>
          <p:spPr>
            <a:xfrm rot="16200000">
              <a:off x="1487527" y="1895084"/>
              <a:ext cx="169510" cy="177140"/>
            </a:xfrm>
            <a:custGeom>
              <a:avLst/>
              <a:gdLst/>
              <a:ahLst/>
              <a:cxnLst/>
              <a:rect l="l" t="t" r="r" b="b"/>
              <a:pathLst>
                <a:path w="2026419" h="2117634">
                  <a:moveTo>
                    <a:pt x="683394" y="1357221"/>
                  </a:moveTo>
                  <a:cubicBezTo>
                    <a:pt x="683394" y="1472952"/>
                    <a:pt x="589575" y="1566771"/>
                    <a:pt x="473844" y="1566771"/>
                  </a:cubicBezTo>
                  <a:cubicBezTo>
                    <a:pt x="358113" y="1566771"/>
                    <a:pt x="264294" y="1472952"/>
                    <a:pt x="264294" y="1357221"/>
                  </a:cubicBezTo>
                  <a:cubicBezTo>
                    <a:pt x="264294" y="1241490"/>
                    <a:pt x="358113" y="1147671"/>
                    <a:pt x="473844" y="1147671"/>
                  </a:cubicBezTo>
                  <a:cubicBezTo>
                    <a:pt x="589575" y="1147671"/>
                    <a:pt x="683394" y="1241490"/>
                    <a:pt x="683394" y="1357221"/>
                  </a:cubicBezTo>
                  <a:close/>
                  <a:moveTo>
                    <a:pt x="794521" y="1772403"/>
                  </a:moveTo>
                  <a:cubicBezTo>
                    <a:pt x="775533" y="1803019"/>
                    <a:pt x="763564" y="1838106"/>
                    <a:pt x="760480" y="1875663"/>
                  </a:cubicBezTo>
                  <a:cubicBezTo>
                    <a:pt x="654054" y="1822066"/>
                    <a:pt x="568072" y="1734443"/>
                    <a:pt x="516913" y="1626725"/>
                  </a:cubicBezTo>
                  <a:cubicBezTo>
                    <a:pt x="554560" y="1621730"/>
                    <a:pt x="589522" y="1608175"/>
                    <a:pt x="619969" y="1588089"/>
                  </a:cubicBezTo>
                  <a:cubicBezTo>
                    <a:pt x="656986" y="1666600"/>
                    <a:pt x="718716" y="1730458"/>
                    <a:pt x="794521" y="1772403"/>
                  </a:cubicBezTo>
                  <a:close/>
                  <a:moveTo>
                    <a:pt x="1240606" y="1908084"/>
                  </a:moveTo>
                  <a:cubicBezTo>
                    <a:pt x="1240606" y="2023815"/>
                    <a:pt x="1146787" y="2117634"/>
                    <a:pt x="1031056" y="2117634"/>
                  </a:cubicBezTo>
                  <a:cubicBezTo>
                    <a:pt x="915325" y="2117634"/>
                    <a:pt x="821506" y="2023815"/>
                    <a:pt x="821506" y="1908084"/>
                  </a:cubicBezTo>
                  <a:cubicBezTo>
                    <a:pt x="821506" y="1792353"/>
                    <a:pt x="915325" y="1698534"/>
                    <a:pt x="1031056" y="1698534"/>
                  </a:cubicBezTo>
                  <a:cubicBezTo>
                    <a:pt x="1146787" y="1698534"/>
                    <a:pt x="1240606" y="1792353"/>
                    <a:pt x="1240606" y="1908084"/>
                  </a:cubicBezTo>
                  <a:close/>
                  <a:moveTo>
                    <a:pt x="1373359" y="613050"/>
                  </a:moveTo>
                  <a:cubicBezTo>
                    <a:pt x="1373781" y="592439"/>
                    <a:pt x="1371525" y="580084"/>
                    <a:pt x="1366588" y="548121"/>
                  </a:cubicBezTo>
                  <a:cubicBezTo>
                    <a:pt x="1346003" y="461219"/>
                    <a:pt x="1278868" y="410011"/>
                    <a:pt x="1201868" y="402221"/>
                  </a:cubicBezTo>
                  <a:cubicBezTo>
                    <a:pt x="931351" y="360536"/>
                    <a:pt x="985455" y="670197"/>
                    <a:pt x="854062" y="652331"/>
                  </a:cubicBezTo>
                  <a:cubicBezTo>
                    <a:pt x="735550" y="625534"/>
                    <a:pt x="783213" y="491547"/>
                    <a:pt x="823146" y="420087"/>
                  </a:cubicBezTo>
                  <a:lnTo>
                    <a:pt x="695617" y="393290"/>
                  </a:lnTo>
                  <a:cubicBezTo>
                    <a:pt x="669255" y="453845"/>
                    <a:pt x="655521" y="504886"/>
                    <a:pt x="653658" y="548121"/>
                  </a:cubicBezTo>
                  <a:cubicBezTo>
                    <a:pt x="652750" y="592572"/>
                    <a:pt x="651843" y="592994"/>
                    <a:pt x="658078" y="637445"/>
                  </a:cubicBezTo>
                  <a:cubicBezTo>
                    <a:pt x="684114" y="745767"/>
                    <a:pt x="788926" y="772909"/>
                    <a:pt x="827010" y="783341"/>
                  </a:cubicBezTo>
                  <a:cubicBezTo>
                    <a:pt x="1076916" y="832967"/>
                    <a:pt x="1075626" y="531247"/>
                    <a:pt x="1182546" y="530254"/>
                  </a:cubicBezTo>
                  <a:cubicBezTo>
                    <a:pt x="1299767" y="545140"/>
                    <a:pt x="1246955" y="694015"/>
                    <a:pt x="1209598" y="735701"/>
                  </a:cubicBezTo>
                  <a:lnTo>
                    <a:pt x="1340990" y="762499"/>
                  </a:lnTo>
                  <a:cubicBezTo>
                    <a:pt x="1359764" y="717009"/>
                    <a:pt x="1370090" y="675238"/>
                    <a:pt x="1372044" y="637445"/>
                  </a:cubicBezTo>
                  <a:cubicBezTo>
                    <a:pt x="1372780" y="627708"/>
                    <a:pt x="1373218" y="619921"/>
                    <a:pt x="1373359" y="613050"/>
                  </a:cubicBezTo>
                  <a:close/>
                  <a:moveTo>
                    <a:pt x="1512939" y="1619251"/>
                  </a:moveTo>
                  <a:cubicBezTo>
                    <a:pt x="1467757" y="1718695"/>
                    <a:pt x="1392941" y="1801540"/>
                    <a:pt x="1299780" y="1857295"/>
                  </a:cubicBezTo>
                  <a:cubicBezTo>
                    <a:pt x="1293356" y="1820868"/>
                    <a:pt x="1279346" y="1787051"/>
                    <a:pt x="1259468" y="1757439"/>
                  </a:cubicBezTo>
                  <a:cubicBezTo>
                    <a:pt x="1328714" y="1711331"/>
                    <a:pt x="1384214" y="1646253"/>
                    <a:pt x="1415932" y="1568433"/>
                  </a:cubicBezTo>
                  <a:cubicBezTo>
                    <a:pt x="1443458" y="1592539"/>
                    <a:pt x="1476496" y="1610117"/>
                    <a:pt x="1512939" y="1619251"/>
                  </a:cubicBezTo>
                  <a:close/>
                  <a:moveTo>
                    <a:pt x="1797819" y="1357221"/>
                  </a:moveTo>
                  <a:cubicBezTo>
                    <a:pt x="1797819" y="1472952"/>
                    <a:pt x="1704000" y="1566771"/>
                    <a:pt x="1588269" y="1566771"/>
                  </a:cubicBezTo>
                  <a:cubicBezTo>
                    <a:pt x="1472538" y="1566771"/>
                    <a:pt x="1378719" y="1472952"/>
                    <a:pt x="1378719" y="1357221"/>
                  </a:cubicBezTo>
                  <a:cubicBezTo>
                    <a:pt x="1378719" y="1241490"/>
                    <a:pt x="1472538" y="1147671"/>
                    <a:pt x="1588269" y="1147671"/>
                  </a:cubicBezTo>
                  <a:cubicBezTo>
                    <a:pt x="1704000" y="1147671"/>
                    <a:pt x="1797819" y="1241490"/>
                    <a:pt x="1797819" y="1357221"/>
                  </a:cubicBezTo>
                  <a:close/>
                  <a:moveTo>
                    <a:pt x="2026419" y="1204820"/>
                  </a:moveTo>
                  <a:lnTo>
                    <a:pt x="1815729" y="1204820"/>
                  </a:lnTo>
                  <a:cubicBezTo>
                    <a:pt x="1766640" y="1131561"/>
                    <a:pt x="1683081" y="1083377"/>
                    <a:pt x="1588269" y="1083377"/>
                  </a:cubicBezTo>
                  <a:cubicBezTo>
                    <a:pt x="1493456" y="1083377"/>
                    <a:pt x="1409898" y="1131561"/>
                    <a:pt x="1360808" y="1204820"/>
                  </a:cubicBezTo>
                  <a:lnTo>
                    <a:pt x="701304" y="1204820"/>
                  </a:lnTo>
                  <a:cubicBezTo>
                    <a:pt x="652215" y="1131561"/>
                    <a:pt x="568656" y="1083377"/>
                    <a:pt x="473844" y="1083377"/>
                  </a:cubicBezTo>
                  <a:cubicBezTo>
                    <a:pt x="379031" y="1083377"/>
                    <a:pt x="295473" y="1131561"/>
                    <a:pt x="246383" y="1204820"/>
                  </a:cubicBezTo>
                  <a:lnTo>
                    <a:pt x="0" y="1204820"/>
                  </a:lnTo>
                  <a:lnTo>
                    <a:pt x="199603" y="0"/>
                  </a:lnTo>
                  <a:lnTo>
                    <a:pt x="1826816" y="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a:solidFill>
                  <a:schemeClr val="tx1"/>
                </a:solidFill>
              </a:endParaRPr>
            </a:p>
          </p:txBody>
        </p:sp>
        <p:sp>
          <p:nvSpPr>
            <p:cNvPr id="244" name="Freeform 243"/>
            <p:cNvSpPr/>
            <p:nvPr/>
          </p:nvSpPr>
          <p:spPr>
            <a:xfrm>
              <a:off x="1492918" y="2178485"/>
              <a:ext cx="157484" cy="152710"/>
            </a:xfrm>
            <a:custGeom>
              <a:avLst/>
              <a:gdLst>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598424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1358 w 4062047"/>
                <a:gd name="connsiteY5" fmla="*/ 1576817 h 3938955"/>
                <a:gd name="connsiteX6" fmla="*/ 2420651 w 4062047"/>
                <a:gd name="connsiteY6" fmla="*/ 1739087 h 3938955"/>
                <a:gd name="connsiteX7" fmla="*/ 3241046 w 4062047"/>
                <a:gd name="connsiteY7" fmla="*/ 1879207 h 3938955"/>
                <a:gd name="connsiteX8" fmla="*/ 3223454 w 4062047"/>
                <a:gd name="connsiteY8" fmla="*/ 1598424 h 3938955"/>
                <a:gd name="connsiteX9" fmla="*/ 3121358 w 4062047"/>
                <a:gd name="connsiteY9" fmla="*/ 1576817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3739 w 4062047"/>
                <a:gd name="connsiteY5" fmla="*/ 1610155 h 3938955"/>
                <a:gd name="connsiteX6" fmla="*/ 2420651 w 4062047"/>
                <a:gd name="connsiteY6" fmla="*/ 1739087 h 3938955"/>
                <a:gd name="connsiteX7" fmla="*/ 3241046 w 4062047"/>
                <a:gd name="connsiteY7" fmla="*/ 1879207 h 3938955"/>
                <a:gd name="connsiteX8" fmla="*/ 3223454 w 4062047"/>
                <a:gd name="connsiteY8" fmla="*/ 1598424 h 3938955"/>
                <a:gd name="connsiteX9" fmla="*/ 3123739 w 4062047"/>
                <a:gd name="connsiteY9" fmla="*/ 1610155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4214 w 4062047"/>
                <a:gd name="connsiteY5" fmla="*/ 1610155 h 3938955"/>
                <a:gd name="connsiteX6" fmla="*/ 2420651 w 4062047"/>
                <a:gd name="connsiteY6" fmla="*/ 1739087 h 3938955"/>
                <a:gd name="connsiteX7" fmla="*/ 3241046 w 4062047"/>
                <a:gd name="connsiteY7" fmla="*/ 1879207 h 3938955"/>
                <a:gd name="connsiteX8" fmla="*/ 3223454 w 4062047"/>
                <a:gd name="connsiteY8" fmla="*/ 1598424 h 3938955"/>
                <a:gd name="connsiteX9" fmla="*/ 3114214 w 4062047"/>
                <a:gd name="connsiteY9" fmla="*/ 1610155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4214 w 4062047"/>
                <a:gd name="connsiteY5" fmla="*/ 1610155 h 3938955"/>
                <a:gd name="connsiteX6" fmla="*/ 2420651 w 4062047"/>
                <a:gd name="connsiteY6" fmla="*/ 1739087 h 3938955"/>
                <a:gd name="connsiteX7" fmla="*/ 3241046 w 4062047"/>
                <a:gd name="connsiteY7" fmla="*/ 1879207 h 3938955"/>
                <a:gd name="connsiteX8" fmla="*/ 3206785 w 4062047"/>
                <a:gd name="connsiteY8" fmla="*/ 1600806 h 3938955"/>
                <a:gd name="connsiteX9" fmla="*/ 3114214 w 4062047"/>
                <a:gd name="connsiteY9" fmla="*/ 1610155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0806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206785 w 4062047"/>
                <a:gd name="connsiteY5" fmla="*/ 1603188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2950677 w 4062047"/>
                <a:gd name="connsiteY9" fmla="*/ 857698 h 3938955"/>
                <a:gd name="connsiteX10" fmla="*/ 2870505 w 4062047"/>
                <a:gd name="connsiteY10" fmla="*/ 878864 h 3938955"/>
                <a:gd name="connsiteX11" fmla="*/ 2227569 w 4062047"/>
                <a:gd name="connsiteY11" fmla="*/ 1381308 h 3938955"/>
                <a:gd name="connsiteX12" fmla="*/ 3013380 w 4062047"/>
                <a:gd name="connsiteY12" fmla="*/ 1093177 h 3938955"/>
                <a:gd name="connsiteX13" fmla="*/ 2950677 w 4062047"/>
                <a:gd name="connsiteY13" fmla="*/ 857698 h 3938955"/>
                <a:gd name="connsiteX14" fmla="*/ 850835 w 4062047"/>
                <a:gd name="connsiteY14" fmla="*/ 587237 h 3938955"/>
                <a:gd name="connsiteX15" fmla="*/ 691663 w 4062047"/>
                <a:gd name="connsiteY15" fmla="*/ 759803 h 3938955"/>
                <a:gd name="connsiteX16" fmla="*/ 1286976 w 4062047"/>
                <a:gd name="connsiteY16" fmla="*/ 2250466 h 3938955"/>
                <a:gd name="connsiteX17" fmla="*/ 1072663 w 4062047"/>
                <a:gd name="connsiteY17" fmla="*/ 2593366 h 3938955"/>
                <a:gd name="connsiteX18" fmla="*/ 744051 w 4062047"/>
                <a:gd name="connsiteY18" fmla="*/ 2731478 h 3938955"/>
                <a:gd name="connsiteX19" fmla="*/ 1191726 w 4062047"/>
                <a:gd name="connsiteY19" fmla="*/ 2836253 h 3938955"/>
                <a:gd name="connsiteX20" fmla="*/ 1696551 w 4062047"/>
                <a:gd name="connsiteY20" fmla="*/ 2036153 h 3938955"/>
                <a:gd name="connsiteX21" fmla="*/ 2201376 w 4062047"/>
                <a:gd name="connsiteY21" fmla="*/ 769328 h 3938955"/>
                <a:gd name="connsiteX22" fmla="*/ 1929913 w 4062047"/>
                <a:gd name="connsiteY22" fmla="*/ 683603 h 3938955"/>
                <a:gd name="connsiteX23" fmla="*/ 1458426 w 4062047"/>
                <a:gd name="connsiteY23" fmla="*/ 1855178 h 3938955"/>
                <a:gd name="connsiteX24" fmla="*/ 972651 w 4062047"/>
                <a:gd name="connsiteY24" fmla="*/ 650266 h 3938955"/>
                <a:gd name="connsiteX25" fmla="*/ 850835 w 4062047"/>
                <a:gd name="connsiteY25" fmla="*/ 587237 h 3938955"/>
                <a:gd name="connsiteX26" fmla="*/ 540732 w 4062047"/>
                <a:gd name="connsiteY26" fmla="*/ 0 h 3938955"/>
                <a:gd name="connsiteX27" fmla="*/ 3521315 w 4062047"/>
                <a:gd name="connsiteY27" fmla="*/ 0 h 3938955"/>
                <a:gd name="connsiteX28" fmla="*/ 4062047 w 4062047"/>
                <a:gd name="connsiteY28" fmla="*/ 540731 h 3938955"/>
                <a:gd name="connsiteX29" fmla="*/ 4062047 w 4062047"/>
                <a:gd name="connsiteY29" fmla="*/ 2914645 h 3938955"/>
                <a:gd name="connsiteX30" fmla="*/ 3521315 w 4062047"/>
                <a:gd name="connsiteY30" fmla="*/ 3455377 h 3938955"/>
                <a:gd name="connsiteX31" fmla="*/ 1802912 w 4062047"/>
                <a:gd name="connsiteY31" fmla="*/ 3455377 h 3938955"/>
                <a:gd name="connsiteX32" fmla="*/ 1075041 w 4062047"/>
                <a:gd name="connsiteY32" fmla="*/ 3938955 h 3938955"/>
                <a:gd name="connsiteX33" fmla="*/ 1075041 w 4062047"/>
                <a:gd name="connsiteY33" fmla="*/ 3455377 h 3938955"/>
                <a:gd name="connsiteX34" fmla="*/ 540732 w 4062047"/>
                <a:gd name="connsiteY34" fmla="*/ 3455377 h 3938955"/>
                <a:gd name="connsiteX35" fmla="*/ 0 w 4062047"/>
                <a:gd name="connsiteY35" fmla="*/ 2914645 h 3938955"/>
                <a:gd name="connsiteX36" fmla="*/ 0 w 4062047"/>
                <a:gd name="connsiteY36" fmla="*/ 540731 h 3938955"/>
                <a:gd name="connsiteX37" fmla="*/ 540732 w 4062047"/>
                <a:gd name="connsiteY37"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206785 w 4062047"/>
                <a:gd name="connsiteY5" fmla="*/ 1603188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2950677 w 4062047"/>
                <a:gd name="connsiteY9" fmla="*/ 857698 h 3938955"/>
                <a:gd name="connsiteX10" fmla="*/ 2870505 w 4062047"/>
                <a:gd name="connsiteY10" fmla="*/ 878864 h 3938955"/>
                <a:gd name="connsiteX11" fmla="*/ 2227569 w 4062047"/>
                <a:gd name="connsiteY11" fmla="*/ 1381308 h 3938955"/>
                <a:gd name="connsiteX12" fmla="*/ 3013380 w 4062047"/>
                <a:gd name="connsiteY12" fmla="*/ 1093177 h 3938955"/>
                <a:gd name="connsiteX13" fmla="*/ 2950677 w 4062047"/>
                <a:gd name="connsiteY13" fmla="*/ 857698 h 3938955"/>
                <a:gd name="connsiteX14" fmla="*/ 850835 w 4062047"/>
                <a:gd name="connsiteY14" fmla="*/ 587237 h 3938955"/>
                <a:gd name="connsiteX15" fmla="*/ 691663 w 4062047"/>
                <a:gd name="connsiteY15" fmla="*/ 759803 h 3938955"/>
                <a:gd name="connsiteX16" fmla="*/ 1286976 w 4062047"/>
                <a:gd name="connsiteY16" fmla="*/ 2250466 h 3938955"/>
                <a:gd name="connsiteX17" fmla="*/ 1072663 w 4062047"/>
                <a:gd name="connsiteY17" fmla="*/ 2593366 h 3938955"/>
                <a:gd name="connsiteX18" fmla="*/ 744051 w 4062047"/>
                <a:gd name="connsiteY18" fmla="*/ 2731478 h 3938955"/>
                <a:gd name="connsiteX19" fmla="*/ 1191726 w 4062047"/>
                <a:gd name="connsiteY19" fmla="*/ 2836253 h 3938955"/>
                <a:gd name="connsiteX20" fmla="*/ 1696551 w 4062047"/>
                <a:gd name="connsiteY20" fmla="*/ 2036153 h 3938955"/>
                <a:gd name="connsiteX21" fmla="*/ 2201376 w 4062047"/>
                <a:gd name="connsiteY21" fmla="*/ 769328 h 3938955"/>
                <a:gd name="connsiteX22" fmla="*/ 1929913 w 4062047"/>
                <a:gd name="connsiteY22" fmla="*/ 683603 h 3938955"/>
                <a:gd name="connsiteX23" fmla="*/ 1458426 w 4062047"/>
                <a:gd name="connsiteY23" fmla="*/ 1855178 h 3938955"/>
                <a:gd name="connsiteX24" fmla="*/ 972651 w 4062047"/>
                <a:gd name="connsiteY24" fmla="*/ 650266 h 3938955"/>
                <a:gd name="connsiteX25" fmla="*/ 850835 w 4062047"/>
                <a:gd name="connsiteY25" fmla="*/ 587237 h 3938955"/>
                <a:gd name="connsiteX26" fmla="*/ 540732 w 4062047"/>
                <a:gd name="connsiteY26" fmla="*/ 0 h 3938955"/>
                <a:gd name="connsiteX27" fmla="*/ 3521315 w 4062047"/>
                <a:gd name="connsiteY27" fmla="*/ 0 h 3938955"/>
                <a:gd name="connsiteX28" fmla="*/ 4062047 w 4062047"/>
                <a:gd name="connsiteY28" fmla="*/ 540731 h 3938955"/>
                <a:gd name="connsiteX29" fmla="*/ 4062047 w 4062047"/>
                <a:gd name="connsiteY29" fmla="*/ 2914645 h 3938955"/>
                <a:gd name="connsiteX30" fmla="*/ 3521315 w 4062047"/>
                <a:gd name="connsiteY30" fmla="*/ 3455377 h 3938955"/>
                <a:gd name="connsiteX31" fmla="*/ 1802912 w 4062047"/>
                <a:gd name="connsiteY31" fmla="*/ 3455377 h 3938955"/>
                <a:gd name="connsiteX32" fmla="*/ 1075041 w 4062047"/>
                <a:gd name="connsiteY32" fmla="*/ 3938955 h 3938955"/>
                <a:gd name="connsiteX33" fmla="*/ 1075041 w 4062047"/>
                <a:gd name="connsiteY33" fmla="*/ 3455377 h 3938955"/>
                <a:gd name="connsiteX34" fmla="*/ 540732 w 4062047"/>
                <a:gd name="connsiteY34" fmla="*/ 3455377 h 3938955"/>
                <a:gd name="connsiteX35" fmla="*/ 0 w 4062047"/>
                <a:gd name="connsiteY35" fmla="*/ 2914645 h 3938955"/>
                <a:gd name="connsiteX36" fmla="*/ 0 w 4062047"/>
                <a:gd name="connsiteY36" fmla="*/ 540731 h 3938955"/>
                <a:gd name="connsiteX37" fmla="*/ 540732 w 4062047"/>
                <a:gd name="connsiteY37"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206785 w 4062047"/>
                <a:gd name="connsiteY5" fmla="*/ 1603188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2950677 w 4062047"/>
                <a:gd name="connsiteY9" fmla="*/ 857698 h 3938955"/>
                <a:gd name="connsiteX10" fmla="*/ 2870505 w 4062047"/>
                <a:gd name="connsiteY10" fmla="*/ 878864 h 3938955"/>
                <a:gd name="connsiteX11" fmla="*/ 2227569 w 4062047"/>
                <a:gd name="connsiteY11" fmla="*/ 1381308 h 3938955"/>
                <a:gd name="connsiteX12" fmla="*/ 3013380 w 4062047"/>
                <a:gd name="connsiteY12" fmla="*/ 1093177 h 3938955"/>
                <a:gd name="connsiteX13" fmla="*/ 2950677 w 4062047"/>
                <a:gd name="connsiteY13" fmla="*/ 857698 h 3938955"/>
                <a:gd name="connsiteX14" fmla="*/ 850835 w 4062047"/>
                <a:gd name="connsiteY14" fmla="*/ 587237 h 3938955"/>
                <a:gd name="connsiteX15" fmla="*/ 691663 w 4062047"/>
                <a:gd name="connsiteY15" fmla="*/ 759803 h 3938955"/>
                <a:gd name="connsiteX16" fmla="*/ 1286976 w 4062047"/>
                <a:gd name="connsiteY16" fmla="*/ 2250466 h 3938955"/>
                <a:gd name="connsiteX17" fmla="*/ 1072663 w 4062047"/>
                <a:gd name="connsiteY17" fmla="*/ 2593366 h 3938955"/>
                <a:gd name="connsiteX18" fmla="*/ 744051 w 4062047"/>
                <a:gd name="connsiteY18" fmla="*/ 2731478 h 3938955"/>
                <a:gd name="connsiteX19" fmla="*/ 1191726 w 4062047"/>
                <a:gd name="connsiteY19" fmla="*/ 2836253 h 3938955"/>
                <a:gd name="connsiteX20" fmla="*/ 1696551 w 4062047"/>
                <a:gd name="connsiteY20" fmla="*/ 2036153 h 3938955"/>
                <a:gd name="connsiteX21" fmla="*/ 2201376 w 4062047"/>
                <a:gd name="connsiteY21" fmla="*/ 769328 h 3938955"/>
                <a:gd name="connsiteX22" fmla="*/ 1929913 w 4062047"/>
                <a:gd name="connsiteY22" fmla="*/ 683603 h 3938955"/>
                <a:gd name="connsiteX23" fmla="*/ 1458426 w 4062047"/>
                <a:gd name="connsiteY23" fmla="*/ 1855178 h 3938955"/>
                <a:gd name="connsiteX24" fmla="*/ 972651 w 4062047"/>
                <a:gd name="connsiteY24" fmla="*/ 650266 h 3938955"/>
                <a:gd name="connsiteX25" fmla="*/ 850835 w 4062047"/>
                <a:gd name="connsiteY25" fmla="*/ 587237 h 3938955"/>
                <a:gd name="connsiteX26" fmla="*/ 540732 w 4062047"/>
                <a:gd name="connsiteY26" fmla="*/ 0 h 3938955"/>
                <a:gd name="connsiteX27" fmla="*/ 3521315 w 4062047"/>
                <a:gd name="connsiteY27" fmla="*/ 0 h 3938955"/>
                <a:gd name="connsiteX28" fmla="*/ 4062047 w 4062047"/>
                <a:gd name="connsiteY28" fmla="*/ 540731 h 3938955"/>
                <a:gd name="connsiteX29" fmla="*/ 4062047 w 4062047"/>
                <a:gd name="connsiteY29" fmla="*/ 2914645 h 3938955"/>
                <a:gd name="connsiteX30" fmla="*/ 3521315 w 4062047"/>
                <a:gd name="connsiteY30" fmla="*/ 3455377 h 3938955"/>
                <a:gd name="connsiteX31" fmla="*/ 1802912 w 4062047"/>
                <a:gd name="connsiteY31" fmla="*/ 3455377 h 3938955"/>
                <a:gd name="connsiteX32" fmla="*/ 1075041 w 4062047"/>
                <a:gd name="connsiteY32" fmla="*/ 3938955 h 3938955"/>
                <a:gd name="connsiteX33" fmla="*/ 1075041 w 4062047"/>
                <a:gd name="connsiteY33" fmla="*/ 3455377 h 3938955"/>
                <a:gd name="connsiteX34" fmla="*/ 540732 w 4062047"/>
                <a:gd name="connsiteY34" fmla="*/ 3455377 h 3938955"/>
                <a:gd name="connsiteX35" fmla="*/ 0 w 4062047"/>
                <a:gd name="connsiteY35" fmla="*/ 2914645 h 3938955"/>
                <a:gd name="connsiteX36" fmla="*/ 0 w 4062047"/>
                <a:gd name="connsiteY36" fmla="*/ 540731 h 3938955"/>
                <a:gd name="connsiteX37" fmla="*/ 540732 w 4062047"/>
                <a:gd name="connsiteY37" fmla="*/ 0 h 393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62047" h="3938955">
                  <a:moveTo>
                    <a:pt x="2292410" y="2109292"/>
                  </a:moveTo>
                  <a:cubicBezTo>
                    <a:pt x="2268687" y="2107678"/>
                    <a:pt x="2249265" y="2109514"/>
                    <a:pt x="2235381" y="2115515"/>
                  </a:cubicBezTo>
                  <a:cubicBezTo>
                    <a:pt x="2217974" y="2189262"/>
                    <a:pt x="2613445" y="2474616"/>
                    <a:pt x="2889776" y="2637325"/>
                  </a:cubicBezTo>
                  <a:cubicBezTo>
                    <a:pt x="2978370" y="2687082"/>
                    <a:pt x="3175001" y="2558447"/>
                    <a:pt x="2998691" y="2403914"/>
                  </a:cubicBezTo>
                  <a:cubicBezTo>
                    <a:pt x="2835268" y="2300874"/>
                    <a:pt x="2458468" y="2120587"/>
                    <a:pt x="2292410" y="2109292"/>
                  </a:cubicBezTo>
                  <a:close/>
                  <a:moveTo>
                    <a:pt x="3206785" y="1603188"/>
                  </a:moveTo>
                  <a:cubicBezTo>
                    <a:pt x="3072434" y="1591741"/>
                    <a:pt x="2414941" y="1693084"/>
                    <a:pt x="2420651" y="1739087"/>
                  </a:cubicBezTo>
                  <a:cubicBezTo>
                    <a:pt x="2441093" y="1812050"/>
                    <a:pt x="2920489" y="1870481"/>
                    <a:pt x="3241046" y="1879207"/>
                  </a:cubicBezTo>
                  <a:cubicBezTo>
                    <a:pt x="3377656" y="1864033"/>
                    <a:pt x="3431985" y="1611977"/>
                    <a:pt x="3206785" y="1603188"/>
                  </a:cubicBezTo>
                  <a:close/>
                  <a:moveTo>
                    <a:pt x="2950677" y="857698"/>
                  </a:moveTo>
                  <a:cubicBezTo>
                    <a:pt x="2927159" y="860050"/>
                    <a:pt x="2900469" y="866759"/>
                    <a:pt x="2870505" y="878864"/>
                  </a:cubicBezTo>
                  <a:cubicBezTo>
                    <a:pt x="2672862" y="977289"/>
                    <a:pt x="2275194" y="1268596"/>
                    <a:pt x="2227569" y="1381308"/>
                  </a:cubicBezTo>
                  <a:cubicBezTo>
                    <a:pt x="2281544" y="1434489"/>
                    <a:pt x="2730806" y="1244784"/>
                    <a:pt x="3013380" y="1093177"/>
                  </a:cubicBezTo>
                  <a:cubicBezTo>
                    <a:pt x="3117363" y="1016878"/>
                    <a:pt x="3055771" y="876954"/>
                    <a:pt x="2950677" y="857698"/>
                  </a:cubicBezTo>
                  <a:close/>
                  <a:moveTo>
                    <a:pt x="850835" y="587237"/>
                  </a:moveTo>
                  <a:cubicBezTo>
                    <a:pt x="745540" y="573769"/>
                    <a:pt x="690473" y="689557"/>
                    <a:pt x="691663" y="759803"/>
                  </a:cubicBezTo>
                  <a:lnTo>
                    <a:pt x="1286976" y="2250466"/>
                  </a:lnTo>
                  <a:cubicBezTo>
                    <a:pt x="1258401" y="2445728"/>
                    <a:pt x="1167913" y="2564791"/>
                    <a:pt x="1072663" y="2593366"/>
                  </a:cubicBezTo>
                  <a:cubicBezTo>
                    <a:pt x="963126" y="2639403"/>
                    <a:pt x="767864" y="2542565"/>
                    <a:pt x="744051" y="2731478"/>
                  </a:cubicBezTo>
                  <a:cubicBezTo>
                    <a:pt x="759926" y="2890228"/>
                    <a:pt x="947251" y="2896578"/>
                    <a:pt x="1191726" y="2836253"/>
                  </a:cubicBezTo>
                  <a:cubicBezTo>
                    <a:pt x="1426676" y="2750528"/>
                    <a:pt x="1466364" y="2636228"/>
                    <a:pt x="1696551" y="2036153"/>
                  </a:cubicBezTo>
                  <a:lnTo>
                    <a:pt x="2201376" y="769328"/>
                  </a:lnTo>
                  <a:cubicBezTo>
                    <a:pt x="2215663" y="650265"/>
                    <a:pt x="2048976" y="521678"/>
                    <a:pt x="1929913" y="683603"/>
                  </a:cubicBezTo>
                  <a:lnTo>
                    <a:pt x="1458426" y="1855178"/>
                  </a:lnTo>
                  <a:lnTo>
                    <a:pt x="972651" y="650266"/>
                  </a:lnTo>
                  <a:cubicBezTo>
                    <a:pt x="926614" y="610579"/>
                    <a:pt x="885934" y="591727"/>
                    <a:pt x="850835" y="587237"/>
                  </a:cubicBezTo>
                  <a:close/>
                  <a:moveTo>
                    <a:pt x="540732" y="0"/>
                  </a:moveTo>
                  <a:lnTo>
                    <a:pt x="3521315" y="0"/>
                  </a:lnTo>
                  <a:cubicBezTo>
                    <a:pt x="3819953" y="0"/>
                    <a:pt x="4062047" y="242093"/>
                    <a:pt x="4062047" y="540731"/>
                  </a:cubicBezTo>
                  <a:lnTo>
                    <a:pt x="4062047" y="2914645"/>
                  </a:lnTo>
                  <a:cubicBezTo>
                    <a:pt x="4062047" y="3213283"/>
                    <a:pt x="3819953" y="3455377"/>
                    <a:pt x="3521315" y="3455377"/>
                  </a:cubicBezTo>
                  <a:lnTo>
                    <a:pt x="1802912" y="3455377"/>
                  </a:lnTo>
                  <a:lnTo>
                    <a:pt x="1075041" y="3938955"/>
                  </a:lnTo>
                  <a:lnTo>
                    <a:pt x="1075041" y="3455377"/>
                  </a:lnTo>
                  <a:lnTo>
                    <a:pt x="540732" y="3455377"/>
                  </a:lnTo>
                  <a:cubicBezTo>
                    <a:pt x="242094" y="3455377"/>
                    <a:pt x="0" y="3213283"/>
                    <a:pt x="0" y="2914645"/>
                  </a:cubicBezTo>
                  <a:lnTo>
                    <a:pt x="0" y="540731"/>
                  </a:lnTo>
                  <a:cubicBezTo>
                    <a:pt x="0" y="242093"/>
                    <a:pt x="242094" y="0"/>
                    <a:pt x="540732" y="0"/>
                  </a:cubicBez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dirty="0">
                <a:solidFill>
                  <a:schemeClr val="tx1"/>
                </a:solidFill>
                <a:latin typeface="Segoe UI" pitchFamily="34" charset="0"/>
                <a:ea typeface="Segoe UI" pitchFamily="34" charset="0"/>
                <a:cs typeface="Segoe UI" pitchFamily="34" charset="0"/>
              </a:endParaRPr>
            </a:p>
          </p:txBody>
        </p:sp>
        <p:sp>
          <p:nvSpPr>
            <p:cNvPr id="245" name="Freeform 244"/>
            <p:cNvSpPr>
              <a:spLocks/>
            </p:cNvSpPr>
            <p:nvPr/>
          </p:nvSpPr>
          <p:spPr bwMode="auto">
            <a:xfrm>
              <a:off x="1673997" y="2433337"/>
              <a:ext cx="141378" cy="137129"/>
            </a:xfrm>
            <a:custGeom>
              <a:avLst/>
              <a:gdLst/>
              <a:ahLst/>
              <a:cxnLst/>
              <a:rect l="l" t="t" r="r" b="b"/>
              <a:pathLst>
                <a:path w="792162" h="768350">
                  <a:moveTo>
                    <a:pt x="428082" y="239713"/>
                  </a:moveTo>
                  <a:lnTo>
                    <a:pt x="415438" y="240512"/>
                  </a:lnTo>
                  <a:lnTo>
                    <a:pt x="403583" y="242907"/>
                  </a:lnTo>
                  <a:lnTo>
                    <a:pt x="391728" y="248496"/>
                  </a:lnTo>
                  <a:lnTo>
                    <a:pt x="380664" y="254884"/>
                  </a:lnTo>
                  <a:lnTo>
                    <a:pt x="369599" y="264466"/>
                  </a:lnTo>
                  <a:lnTo>
                    <a:pt x="360116" y="274846"/>
                  </a:lnTo>
                  <a:lnTo>
                    <a:pt x="349842" y="288420"/>
                  </a:lnTo>
                  <a:lnTo>
                    <a:pt x="340358" y="303591"/>
                  </a:lnTo>
                  <a:lnTo>
                    <a:pt x="331664" y="319561"/>
                  </a:lnTo>
                  <a:lnTo>
                    <a:pt x="324552" y="334732"/>
                  </a:lnTo>
                  <a:lnTo>
                    <a:pt x="318229" y="350701"/>
                  </a:lnTo>
                  <a:lnTo>
                    <a:pt x="312697" y="366671"/>
                  </a:lnTo>
                  <a:lnTo>
                    <a:pt x="308745" y="381842"/>
                  </a:lnTo>
                  <a:lnTo>
                    <a:pt x="306374" y="397013"/>
                  </a:lnTo>
                  <a:lnTo>
                    <a:pt x="304004" y="412184"/>
                  </a:lnTo>
                  <a:lnTo>
                    <a:pt x="303213" y="427355"/>
                  </a:lnTo>
                  <a:lnTo>
                    <a:pt x="304004" y="444922"/>
                  </a:lnTo>
                  <a:lnTo>
                    <a:pt x="307955" y="459294"/>
                  </a:lnTo>
                  <a:lnTo>
                    <a:pt x="312697" y="472868"/>
                  </a:lnTo>
                  <a:lnTo>
                    <a:pt x="319810" y="484845"/>
                  </a:lnTo>
                  <a:lnTo>
                    <a:pt x="324552" y="490435"/>
                  </a:lnTo>
                  <a:lnTo>
                    <a:pt x="328503" y="495226"/>
                  </a:lnTo>
                  <a:lnTo>
                    <a:pt x="334035" y="499218"/>
                  </a:lnTo>
                  <a:lnTo>
                    <a:pt x="339568" y="502412"/>
                  </a:lnTo>
                  <a:lnTo>
                    <a:pt x="345100" y="505606"/>
                  </a:lnTo>
                  <a:lnTo>
                    <a:pt x="351422" y="506404"/>
                  </a:lnTo>
                  <a:lnTo>
                    <a:pt x="358535" y="508001"/>
                  </a:lnTo>
                  <a:lnTo>
                    <a:pt x="366438" y="508001"/>
                  </a:lnTo>
                  <a:lnTo>
                    <a:pt x="379083" y="507203"/>
                  </a:lnTo>
                  <a:lnTo>
                    <a:pt x="390938" y="502412"/>
                  </a:lnTo>
                  <a:lnTo>
                    <a:pt x="402793" y="496024"/>
                  </a:lnTo>
                  <a:lnTo>
                    <a:pt x="413857" y="488039"/>
                  </a:lnTo>
                  <a:lnTo>
                    <a:pt x="424131" y="476062"/>
                  </a:lnTo>
                  <a:lnTo>
                    <a:pt x="434405" y="462488"/>
                  </a:lnTo>
                  <a:lnTo>
                    <a:pt x="443889" y="445720"/>
                  </a:lnTo>
                  <a:lnTo>
                    <a:pt x="451792" y="427355"/>
                  </a:lnTo>
                  <a:lnTo>
                    <a:pt x="459695" y="407393"/>
                  </a:lnTo>
                  <a:lnTo>
                    <a:pt x="466017" y="389028"/>
                  </a:lnTo>
                  <a:lnTo>
                    <a:pt x="472340" y="372260"/>
                  </a:lnTo>
                  <a:lnTo>
                    <a:pt x="477082" y="355492"/>
                  </a:lnTo>
                  <a:lnTo>
                    <a:pt x="481033" y="340321"/>
                  </a:lnTo>
                  <a:lnTo>
                    <a:pt x="483404" y="325949"/>
                  </a:lnTo>
                  <a:lnTo>
                    <a:pt x="484195" y="313173"/>
                  </a:lnTo>
                  <a:lnTo>
                    <a:pt x="485775" y="301196"/>
                  </a:lnTo>
                  <a:lnTo>
                    <a:pt x="484195" y="288420"/>
                  </a:lnTo>
                  <a:lnTo>
                    <a:pt x="481824" y="277242"/>
                  </a:lnTo>
                  <a:lnTo>
                    <a:pt x="476292" y="266063"/>
                  </a:lnTo>
                  <a:lnTo>
                    <a:pt x="469969" y="256481"/>
                  </a:lnTo>
                  <a:lnTo>
                    <a:pt x="466017" y="253287"/>
                  </a:lnTo>
                  <a:lnTo>
                    <a:pt x="462066" y="249295"/>
                  </a:lnTo>
                  <a:lnTo>
                    <a:pt x="457324" y="246900"/>
                  </a:lnTo>
                  <a:lnTo>
                    <a:pt x="451792" y="243706"/>
                  </a:lnTo>
                  <a:lnTo>
                    <a:pt x="446260" y="242109"/>
                  </a:lnTo>
                  <a:lnTo>
                    <a:pt x="440727" y="240512"/>
                  </a:lnTo>
                  <a:lnTo>
                    <a:pt x="434405" y="239713"/>
                  </a:lnTo>
                  <a:close/>
                  <a:moveTo>
                    <a:pt x="427466" y="0"/>
                  </a:moveTo>
                  <a:lnTo>
                    <a:pt x="446535" y="0"/>
                  </a:lnTo>
                  <a:lnTo>
                    <a:pt x="464809" y="1588"/>
                  </a:lnTo>
                  <a:lnTo>
                    <a:pt x="483084" y="3175"/>
                  </a:lnTo>
                  <a:lnTo>
                    <a:pt x="501359" y="5556"/>
                  </a:lnTo>
                  <a:lnTo>
                    <a:pt x="518839" y="8731"/>
                  </a:lnTo>
                  <a:lnTo>
                    <a:pt x="536319" y="11906"/>
                  </a:lnTo>
                  <a:lnTo>
                    <a:pt x="553004" y="15875"/>
                  </a:lnTo>
                  <a:lnTo>
                    <a:pt x="569689" y="20638"/>
                  </a:lnTo>
                  <a:lnTo>
                    <a:pt x="584786" y="26194"/>
                  </a:lnTo>
                  <a:lnTo>
                    <a:pt x="600677" y="32544"/>
                  </a:lnTo>
                  <a:lnTo>
                    <a:pt x="614979" y="38894"/>
                  </a:lnTo>
                  <a:lnTo>
                    <a:pt x="630075" y="46038"/>
                  </a:lnTo>
                  <a:lnTo>
                    <a:pt x="644377" y="53975"/>
                  </a:lnTo>
                  <a:lnTo>
                    <a:pt x="657884" y="62706"/>
                  </a:lnTo>
                  <a:lnTo>
                    <a:pt x="672186" y="71438"/>
                  </a:lnTo>
                  <a:lnTo>
                    <a:pt x="684899" y="81756"/>
                  </a:lnTo>
                  <a:lnTo>
                    <a:pt x="709529" y="103981"/>
                  </a:lnTo>
                  <a:lnTo>
                    <a:pt x="730982" y="127794"/>
                  </a:lnTo>
                  <a:lnTo>
                    <a:pt x="750051" y="153988"/>
                  </a:lnTo>
                  <a:lnTo>
                    <a:pt x="765148" y="181769"/>
                  </a:lnTo>
                  <a:lnTo>
                    <a:pt x="777066" y="211138"/>
                  </a:lnTo>
                  <a:lnTo>
                    <a:pt x="785011" y="242094"/>
                  </a:lnTo>
                  <a:lnTo>
                    <a:pt x="789779" y="273844"/>
                  </a:lnTo>
                  <a:lnTo>
                    <a:pt x="792162" y="308769"/>
                  </a:lnTo>
                  <a:lnTo>
                    <a:pt x="790573" y="336550"/>
                  </a:lnTo>
                  <a:lnTo>
                    <a:pt x="787395" y="362744"/>
                  </a:lnTo>
                  <a:lnTo>
                    <a:pt x="781833" y="387350"/>
                  </a:lnTo>
                  <a:lnTo>
                    <a:pt x="774682" y="411956"/>
                  </a:lnTo>
                  <a:lnTo>
                    <a:pt x="765148" y="435769"/>
                  </a:lnTo>
                  <a:lnTo>
                    <a:pt x="753229" y="457994"/>
                  </a:lnTo>
                  <a:lnTo>
                    <a:pt x="739722" y="480219"/>
                  </a:lnTo>
                  <a:lnTo>
                    <a:pt x="723037" y="500063"/>
                  </a:lnTo>
                  <a:lnTo>
                    <a:pt x="715091" y="510381"/>
                  </a:lnTo>
                  <a:lnTo>
                    <a:pt x="705557" y="518319"/>
                  </a:lnTo>
                  <a:lnTo>
                    <a:pt x="697611" y="527844"/>
                  </a:lnTo>
                  <a:lnTo>
                    <a:pt x="688077" y="534988"/>
                  </a:lnTo>
                  <a:lnTo>
                    <a:pt x="679337" y="542131"/>
                  </a:lnTo>
                  <a:lnTo>
                    <a:pt x="669802" y="548481"/>
                  </a:lnTo>
                  <a:lnTo>
                    <a:pt x="661062" y="554038"/>
                  </a:lnTo>
                  <a:lnTo>
                    <a:pt x="650733" y="559594"/>
                  </a:lnTo>
                  <a:lnTo>
                    <a:pt x="640404" y="564356"/>
                  </a:lnTo>
                  <a:lnTo>
                    <a:pt x="631664" y="568325"/>
                  </a:lnTo>
                  <a:lnTo>
                    <a:pt x="621335" y="572294"/>
                  </a:lnTo>
                  <a:lnTo>
                    <a:pt x="611800" y="574675"/>
                  </a:lnTo>
                  <a:lnTo>
                    <a:pt x="600677" y="577056"/>
                  </a:lnTo>
                  <a:lnTo>
                    <a:pt x="590348" y="578644"/>
                  </a:lnTo>
                  <a:lnTo>
                    <a:pt x="579224" y="579438"/>
                  </a:lnTo>
                  <a:lnTo>
                    <a:pt x="568100" y="579438"/>
                  </a:lnTo>
                  <a:lnTo>
                    <a:pt x="557771" y="579438"/>
                  </a:lnTo>
                  <a:lnTo>
                    <a:pt x="547442" y="577850"/>
                  </a:lnTo>
                  <a:lnTo>
                    <a:pt x="537113" y="576263"/>
                  </a:lnTo>
                  <a:lnTo>
                    <a:pt x="528373" y="573088"/>
                  </a:lnTo>
                  <a:lnTo>
                    <a:pt x="519633" y="569913"/>
                  </a:lnTo>
                  <a:lnTo>
                    <a:pt x="512482" y="565150"/>
                  </a:lnTo>
                  <a:lnTo>
                    <a:pt x="505331" y="560388"/>
                  </a:lnTo>
                  <a:lnTo>
                    <a:pt x="498975" y="554038"/>
                  </a:lnTo>
                  <a:lnTo>
                    <a:pt x="488646" y="541338"/>
                  </a:lnTo>
                  <a:lnTo>
                    <a:pt x="481495" y="527844"/>
                  </a:lnTo>
                  <a:lnTo>
                    <a:pt x="476728" y="514350"/>
                  </a:lnTo>
                  <a:lnTo>
                    <a:pt x="475139" y="501650"/>
                  </a:lnTo>
                  <a:lnTo>
                    <a:pt x="475139" y="498475"/>
                  </a:lnTo>
                  <a:lnTo>
                    <a:pt x="475139" y="494506"/>
                  </a:lnTo>
                  <a:lnTo>
                    <a:pt x="475139" y="489744"/>
                  </a:lnTo>
                  <a:lnTo>
                    <a:pt x="475933" y="484188"/>
                  </a:lnTo>
                  <a:lnTo>
                    <a:pt x="471166" y="493713"/>
                  </a:lnTo>
                  <a:lnTo>
                    <a:pt x="465604" y="501650"/>
                  </a:lnTo>
                  <a:lnTo>
                    <a:pt x="461631" y="508794"/>
                  </a:lnTo>
                  <a:lnTo>
                    <a:pt x="456069" y="516731"/>
                  </a:lnTo>
                  <a:lnTo>
                    <a:pt x="450508" y="523875"/>
                  </a:lnTo>
                  <a:lnTo>
                    <a:pt x="444946" y="530225"/>
                  </a:lnTo>
                  <a:lnTo>
                    <a:pt x="439384" y="535781"/>
                  </a:lnTo>
                  <a:lnTo>
                    <a:pt x="433822" y="541338"/>
                  </a:lnTo>
                  <a:lnTo>
                    <a:pt x="422699" y="550069"/>
                  </a:lnTo>
                  <a:lnTo>
                    <a:pt x="411575" y="558006"/>
                  </a:lnTo>
                  <a:lnTo>
                    <a:pt x="399657" y="564356"/>
                  </a:lnTo>
                  <a:lnTo>
                    <a:pt x="387739" y="569913"/>
                  </a:lnTo>
                  <a:lnTo>
                    <a:pt x="375026" y="573088"/>
                  </a:lnTo>
                  <a:lnTo>
                    <a:pt x="362313" y="577056"/>
                  </a:lnTo>
                  <a:lnTo>
                    <a:pt x="348806" y="577850"/>
                  </a:lnTo>
                  <a:lnTo>
                    <a:pt x="333709" y="578644"/>
                  </a:lnTo>
                  <a:lnTo>
                    <a:pt x="319408" y="577850"/>
                  </a:lnTo>
                  <a:lnTo>
                    <a:pt x="305900" y="576263"/>
                  </a:lnTo>
                  <a:lnTo>
                    <a:pt x="291598" y="573088"/>
                  </a:lnTo>
                  <a:lnTo>
                    <a:pt x="278886" y="568325"/>
                  </a:lnTo>
                  <a:lnTo>
                    <a:pt x="266968" y="561975"/>
                  </a:lnTo>
                  <a:lnTo>
                    <a:pt x="255844" y="554831"/>
                  </a:lnTo>
                  <a:lnTo>
                    <a:pt x="245515" y="546894"/>
                  </a:lnTo>
                  <a:lnTo>
                    <a:pt x="235186" y="536575"/>
                  </a:lnTo>
                  <a:lnTo>
                    <a:pt x="225651" y="525463"/>
                  </a:lnTo>
                  <a:lnTo>
                    <a:pt x="217706" y="512763"/>
                  </a:lnTo>
                  <a:lnTo>
                    <a:pt x="210555" y="500063"/>
                  </a:lnTo>
                  <a:lnTo>
                    <a:pt x="204993" y="484981"/>
                  </a:lnTo>
                  <a:lnTo>
                    <a:pt x="200226" y="469900"/>
                  </a:lnTo>
                  <a:lnTo>
                    <a:pt x="197842" y="453231"/>
                  </a:lnTo>
                  <a:lnTo>
                    <a:pt x="195458" y="434975"/>
                  </a:lnTo>
                  <a:lnTo>
                    <a:pt x="194664" y="416719"/>
                  </a:lnTo>
                  <a:lnTo>
                    <a:pt x="195458" y="394494"/>
                  </a:lnTo>
                  <a:lnTo>
                    <a:pt x="198637" y="373856"/>
                  </a:lnTo>
                  <a:lnTo>
                    <a:pt x="203404" y="351631"/>
                  </a:lnTo>
                  <a:lnTo>
                    <a:pt x="210555" y="330994"/>
                  </a:lnTo>
                  <a:lnTo>
                    <a:pt x="218500" y="310356"/>
                  </a:lnTo>
                  <a:lnTo>
                    <a:pt x="228829" y="289719"/>
                  </a:lnTo>
                  <a:lnTo>
                    <a:pt x="241542" y="270669"/>
                  </a:lnTo>
                  <a:lnTo>
                    <a:pt x="255049" y="250031"/>
                  </a:lnTo>
                  <a:lnTo>
                    <a:pt x="262995" y="241300"/>
                  </a:lnTo>
                  <a:lnTo>
                    <a:pt x="270940" y="231775"/>
                  </a:lnTo>
                  <a:lnTo>
                    <a:pt x="278886" y="223838"/>
                  </a:lnTo>
                  <a:lnTo>
                    <a:pt x="287626" y="216694"/>
                  </a:lnTo>
                  <a:lnTo>
                    <a:pt x="295571" y="209550"/>
                  </a:lnTo>
                  <a:lnTo>
                    <a:pt x="305106" y="203200"/>
                  </a:lnTo>
                  <a:lnTo>
                    <a:pt x="313846" y="197644"/>
                  </a:lnTo>
                  <a:lnTo>
                    <a:pt x="323380" y="192881"/>
                  </a:lnTo>
                  <a:lnTo>
                    <a:pt x="332120" y="188119"/>
                  </a:lnTo>
                  <a:lnTo>
                    <a:pt x="342449" y="184150"/>
                  </a:lnTo>
                  <a:lnTo>
                    <a:pt x="351984" y="180975"/>
                  </a:lnTo>
                  <a:lnTo>
                    <a:pt x="362313" y="177800"/>
                  </a:lnTo>
                  <a:lnTo>
                    <a:pt x="372642" y="176213"/>
                  </a:lnTo>
                  <a:lnTo>
                    <a:pt x="382177" y="174625"/>
                  </a:lnTo>
                  <a:lnTo>
                    <a:pt x="393300" y="173038"/>
                  </a:lnTo>
                  <a:lnTo>
                    <a:pt x="404424" y="173038"/>
                  </a:lnTo>
                  <a:lnTo>
                    <a:pt x="417137" y="173038"/>
                  </a:lnTo>
                  <a:lnTo>
                    <a:pt x="428260" y="175419"/>
                  </a:lnTo>
                  <a:lnTo>
                    <a:pt x="439384" y="177006"/>
                  </a:lnTo>
                  <a:lnTo>
                    <a:pt x="450508" y="180975"/>
                  </a:lnTo>
                  <a:lnTo>
                    <a:pt x="459248" y="184150"/>
                  </a:lnTo>
                  <a:lnTo>
                    <a:pt x="468782" y="188913"/>
                  </a:lnTo>
                  <a:lnTo>
                    <a:pt x="476728" y="195263"/>
                  </a:lnTo>
                  <a:lnTo>
                    <a:pt x="483879" y="201613"/>
                  </a:lnTo>
                  <a:lnTo>
                    <a:pt x="489440" y="207169"/>
                  </a:lnTo>
                  <a:lnTo>
                    <a:pt x="494208" y="212725"/>
                  </a:lnTo>
                  <a:lnTo>
                    <a:pt x="498975" y="219075"/>
                  </a:lnTo>
                  <a:lnTo>
                    <a:pt x="502153" y="225425"/>
                  </a:lnTo>
                  <a:lnTo>
                    <a:pt x="505331" y="231775"/>
                  </a:lnTo>
                  <a:lnTo>
                    <a:pt x="509304" y="238125"/>
                  </a:lnTo>
                  <a:lnTo>
                    <a:pt x="511688" y="244475"/>
                  </a:lnTo>
                  <a:lnTo>
                    <a:pt x="513277" y="252413"/>
                  </a:lnTo>
                  <a:lnTo>
                    <a:pt x="530757" y="189706"/>
                  </a:lnTo>
                  <a:lnTo>
                    <a:pt x="624513" y="189706"/>
                  </a:lnTo>
                  <a:lnTo>
                    <a:pt x="560949" y="403225"/>
                  </a:lnTo>
                  <a:lnTo>
                    <a:pt x="557771" y="415131"/>
                  </a:lnTo>
                  <a:lnTo>
                    <a:pt x="554593" y="426244"/>
                  </a:lnTo>
                  <a:lnTo>
                    <a:pt x="552209" y="434181"/>
                  </a:lnTo>
                  <a:lnTo>
                    <a:pt x="549826" y="441325"/>
                  </a:lnTo>
                  <a:lnTo>
                    <a:pt x="549031" y="447675"/>
                  </a:lnTo>
                  <a:lnTo>
                    <a:pt x="548237" y="453231"/>
                  </a:lnTo>
                  <a:lnTo>
                    <a:pt x="547442" y="458788"/>
                  </a:lnTo>
                  <a:lnTo>
                    <a:pt x="547442" y="463550"/>
                  </a:lnTo>
                  <a:lnTo>
                    <a:pt x="548237" y="470694"/>
                  </a:lnTo>
                  <a:lnTo>
                    <a:pt x="549826" y="477838"/>
                  </a:lnTo>
                  <a:lnTo>
                    <a:pt x="553004" y="484188"/>
                  </a:lnTo>
                  <a:lnTo>
                    <a:pt x="557771" y="492125"/>
                  </a:lnTo>
                  <a:lnTo>
                    <a:pt x="560155" y="494506"/>
                  </a:lnTo>
                  <a:lnTo>
                    <a:pt x="562539" y="496888"/>
                  </a:lnTo>
                  <a:lnTo>
                    <a:pt x="566511" y="499269"/>
                  </a:lnTo>
                  <a:lnTo>
                    <a:pt x="570484" y="500856"/>
                  </a:lnTo>
                  <a:lnTo>
                    <a:pt x="573662" y="502444"/>
                  </a:lnTo>
                  <a:lnTo>
                    <a:pt x="578429" y="504031"/>
                  </a:lnTo>
                  <a:lnTo>
                    <a:pt x="583197" y="504825"/>
                  </a:lnTo>
                  <a:lnTo>
                    <a:pt x="588759" y="504825"/>
                  </a:lnTo>
                  <a:lnTo>
                    <a:pt x="599882" y="504031"/>
                  </a:lnTo>
                  <a:lnTo>
                    <a:pt x="609417" y="500856"/>
                  </a:lnTo>
                  <a:lnTo>
                    <a:pt x="620540" y="496888"/>
                  </a:lnTo>
                  <a:lnTo>
                    <a:pt x="630869" y="490538"/>
                  </a:lnTo>
                  <a:lnTo>
                    <a:pt x="641993" y="482600"/>
                  </a:lnTo>
                  <a:lnTo>
                    <a:pt x="651528" y="473869"/>
                  </a:lnTo>
                  <a:lnTo>
                    <a:pt x="662651" y="461963"/>
                  </a:lnTo>
                  <a:lnTo>
                    <a:pt x="672980" y="448469"/>
                  </a:lnTo>
                  <a:lnTo>
                    <a:pt x="682515" y="434181"/>
                  </a:lnTo>
                  <a:lnTo>
                    <a:pt x="691255" y="419100"/>
                  </a:lnTo>
                  <a:lnTo>
                    <a:pt x="698406" y="402431"/>
                  </a:lnTo>
                  <a:lnTo>
                    <a:pt x="704762" y="384969"/>
                  </a:lnTo>
                  <a:lnTo>
                    <a:pt x="709529" y="366713"/>
                  </a:lnTo>
                  <a:lnTo>
                    <a:pt x="712708" y="346075"/>
                  </a:lnTo>
                  <a:lnTo>
                    <a:pt x="715091" y="324644"/>
                  </a:lnTo>
                  <a:lnTo>
                    <a:pt x="715886" y="302419"/>
                  </a:lnTo>
                  <a:lnTo>
                    <a:pt x="714297" y="270669"/>
                  </a:lnTo>
                  <a:lnTo>
                    <a:pt x="708735" y="240506"/>
                  </a:lnTo>
                  <a:lnTo>
                    <a:pt x="699200" y="211931"/>
                  </a:lnTo>
                  <a:lnTo>
                    <a:pt x="686488" y="185738"/>
                  </a:lnTo>
                  <a:lnTo>
                    <a:pt x="670597" y="163513"/>
                  </a:lnTo>
                  <a:lnTo>
                    <a:pt x="650733" y="142081"/>
                  </a:lnTo>
                  <a:lnTo>
                    <a:pt x="626897" y="123825"/>
                  </a:lnTo>
                  <a:lnTo>
                    <a:pt x="599882" y="108744"/>
                  </a:lnTo>
                  <a:lnTo>
                    <a:pt x="590348" y="103981"/>
                  </a:lnTo>
                  <a:lnTo>
                    <a:pt x="581608" y="99219"/>
                  </a:lnTo>
                  <a:lnTo>
                    <a:pt x="572073" y="95250"/>
                  </a:lnTo>
                  <a:lnTo>
                    <a:pt x="561744" y="92075"/>
                  </a:lnTo>
                  <a:lnTo>
                    <a:pt x="552209" y="88900"/>
                  </a:lnTo>
                  <a:lnTo>
                    <a:pt x="542675" y="85725"/>
                  </a:lnTo>
                  <a:lnTo>
                    <a:pt x="532346" y="82550"/>
                  </a:lnTo>
                  <a:lnTo>
                    <a:pt x="522811" y="80169"/>
                  </a:lnTo>
                  <a:lnTo>
                    <a:pt x="512482" y="77788"/>
                  </a:lnTo>
                  <a:lnTo>
                    <a:pt x="501359" y="76200"/>
                  </a:lnTo>
                  <a:lnTo>
                    <a:pt x="491824" y="74613"/>
                  </a:lnTo>
                  <a:lnTo>
                    <a:pt x="480700" y="73819"/>
                  </a:lnTo>
                  <a:lnTo>
                    <a:pt x="469577" y="71438"/>
                  </a:lnTo>
                  <a:lnTo>
                    <a:pt x="458453" y="71438"/>
                  </a:lnTo>
                  <a:lnTo>
                    <a:pt x="446535" y="70644"/>
                  </a:lnTo>
                  <a:lnTo>
                    <a:pt x="435411" y="70644"/>
                  </a:lnTo>
                  <a:lnTo>
                    <a:pt x="415548" y="70644"/>
                  </a:lnTo>
                  <a:lnTo>
                    <a:pt x="395684" y="73025"/>
                  </a:lnTo>
                  <a:lnTo>
                    <a:pt x="375026" y="74613"/>
                  </a:lnTo>
                  <a:lnTo>
                    <a:pt x="356751" y="76994"/>
                  </a:lnTo>
                  <a:lnTo>
                    <a:pt x="337682" y="80963"/>
                  </a:lnTo>
                  <a:lnTo>
                    <a:pt x="320202" y="85725"/>
                  </a:lnTo>
                  <a:lnTo>
                    <a:pt x="301928" y="91281"/>
                  </a:lnTo>
                  <a:lnTo>
                    <a:pt x="285242" y="96838"/>
                  </a:lnTo>
                  <a:lnTo>
                    <a:pt x="269351" y="103981"/>
                  </a:lnTo>
                  <a:lnTo>
                    <a:pt x="252666" y="111125"/>
                  </a:lnTo>
                  <a:lnTo>
                    <a:pt x="236775" y="119063"/>
                  </a:lnTo>
                  <a:lnTo>
                    <a:pt x="222473" y="128588"/>
                  </a:lnTo>
                  <a:lnTo>
                    <a:pt x="207377" y="138906"/>
                  </a:lnTo>
                  <a:lnTo>
                    <a:pt x="193869" y="149225"/>
                  </a:lnTo>
                  <a:lnTo>
                    <a:pt x="180362" y="161131"/>
                  </a:lnTo>
                  <a:lnTo>
                    <a:pt x="167649" y="173038"/>
                  </a:lnTo>
                  <a:lnTo>
                    <a:pt x="146197" y="196850"/>
                  </a:lnTo>
                  <a:lnTo>
                    <a:pt x="127922" y="221456"/>
                  </a:lnTo>
                  <a:lnTo>
                    <a:pt x="112826" y="247650"/>
                  </a:lnTo>
                  <a:lnTo>
                    <a:pt x="99318" y="274638"/>
                  </a:lnTo>
                  <a:lnTo>
                    <a:pt x="89784" y="303213"/>
                  </a:lnTo>
                  <a:lnTo>
                    <a:pt x="82633" y="332581"/>
                  </a:lnTo>
                  <a:lnTo>
                    <a:pt x="78660" y="362744"/>
                  </a:lnTo>
                  <a:lnTo>
                    <a:pt x="77071" y="394494"/>
                  </a:lnTo>
                  <a:lnTo>
                    <a:pt x="78660" y="429419"/>
                  </a:lnTo>
                  <a:lnTo>
                    <a:pt x="83428" y="463550"/>
                  </a:lnTo>
                  <a:lnTo>
                    <a:pt x="91373" y="494506"/>
                  </a:lnTo>
                  <a:lnTo>
                    <a:pt x="103291" y="523875"/>
                  </a:lnTo>
                  <a:lnTo>
                    <a:pt x="119182" y="550863"/>
                  </a:lnTo>
                  <a:lnTo>
                    <a:pt x="137457" y="577056"/>
                  </a:lnTo>
                  <a:lnTo>
                    <a:pt x="158909" y="600869"/>
                  </a:lnTo>
                  <a:lnTo>
                    <a:pt x="183540" y="622300"/>
                  </a:lnTo>
                  <a:lnTo>
                    <a:pt x="195458" y="631825"/>
                  </a:lnTo>
                  <a:lnTo>
                    <a:pt x="208966" y="639763"/>
                  </a:lnTo>
                  <a:lnTo>
                    <a:pt x="220884" y="648494"/>
                  </a:lnTo>
                  <a:lnTo>
                    <a:pt x="234391" y="654844"/>
                  </a:lnTo>
                  <a:lnTo>
                    <a:pt x="247104" y="661988"/>
                  </a:lnTo>
                  <a:lnTo>
                    <a:pt x="260611" y="667544"/>
                  </a:lnTo>
                  <a:lnTo>
                    <a:pt x="274913" y="673100"/>
                  </a:lnTo>
                  <a:lnTo>
                    <a:pt x="289215" y="678656"/>
                  </a:lnTo>
                  <a:lnTo>
                    <a:pt x="303517" y="681831"/>
                  </a:lnTo>
                  <a:lnTo>
                    <a:pt x="318613" y="686594"/>
                  </a:lnTo>
                  <a:lnTo>
                    <a:pt x="333709" y="689769"/>
                  </a:lnTo>
                  <a:lnTo>
                    <a:pt x="349600" y="692150"/>
                  </a:lnTo>
                  <a:lnTo>
                    <a:pt x="365491" y="693738"/>
                  </a:lnTo>
                  <a:lnTo>
                    <a:pt x="381382" y="696119"/>
                  </a:lnTo>
                  <a:lnTo>
                    <a:pt x="398068" y="696913"/>
                  </a:lnTo>
                  <a:lnTo>
                    <a:pt x="414753" y="696913"/>
                  </a:lnTo>
                  <a:lnTo>
                    <a:pt x="426671" y="696913"/>
                  </a:lnTo>
                  <a:lnTo>
                    <a:pt x="437795" y="696119"/>
                  </a:lnTo>
                  <a:lnTo>
                    <a:pt x="449713" y="696119"/>
                  </a:lnTo>
                  <a:lnTo>
                    <a:pt x="460042" y="694531"/>
                  </a:lnTo>
                  <a:lnTo>
                    <a:pt x="471960" y="692944"/>
                  </a:lnTo>
                  <a:lnTo>
                    <a:pt x="483084" y="692150"/>
                  </a:lnTo>
                  <a:lnTo>
                    <a:pt x="494208" y="690563"/>
                  </a:lnTo>
                  <a:lnTo>
                    <a:pt x="505331" y="687388"/>
                  </a:lnTo>
                  <a:lnTo>
                    <a:pt x="516455" y="685800"/>
                  </a:lnTo>
                  <a:lnTo>
                    <a:pt x="527579" y="683419"/>
                  </a:lnTo>
                  <a:lnTo>
                    <a:pt x="537113" y="680244"/>
                  </a:lnTo>
                  <a:lnTo>
                    <a:pt x="548237" y="676275"/>
                  </a:lnTo>
                  <a:lnTo>
                    <a:pt x="558566" y="673894"/>
                  </a:lnTo>
                  <a:lnTo>
                    <a:pt x="569689" y="669925"/>
                  </a:lnTo>
                  <a:lnTo>
                    <a:pt x="579224" y="666750"/>
                  </a:lnTo>
                  <a:lnTo>
                    <a:pt x="589553" y="661988"/>
                  </a:lnTo>
                  <a:lnTo>
                    <a:pt x="600677" y="657225"/>
                  </a:lnTo>
                  <a:lnTo>
                    <a:pt x="611800" y="651669"/>
                  </a:lnTo>
                  <a:lnTo>
                    <a:pt x="622129" y="646113"/>
                  </a:lnTo>
                  <a:lnTo>
                    <a:pt x="634048" y="639763"/>
                  </a:lnTo>
                  <a:lnTo>
                    <a:pt x="645171" y="633413"/>
                  </a:lnTo>
                  <a:lnTo>
                    <a:pt x="657089" y="626269"/>
                  </a:lnTo>
                  <a:lnTo>
                    <a:pt x="669008" y="619125"/>
                  </a:lnTo>
                  <a:lnTo>
                    <a:pt x="680926" y="610394"/>
                  </a:lnTo>
                  <a:lnTo>
                    <a:pt x="692844" y="602456"/>
                  </a:lnTo>
                  <a:lnTo>
                    <a:pt x="728599" y="657225"/>
                  </a:lnTo>
                  <a:lnTo>
                    <a:pt x="719859" y="663575"/>
                  </a:lnTo>
                  <a:lnTo>
                    <a:pt x="711119" y="669925"/>
                  </a:lnTo>
                  <a:lnTo>
                    <a:pt x="702379" y="676275"/>
                  </a:lnTo>
                  <a:lnTo>
                    <a:pt x="692844" y="683419"/>
                  </a:lnTo>
                  <a:lnTo>
                    <a:pt x="684104" y="688181"/>
                  </a:lnTo>
                  <a:lnTo>
                    <a:pt x="674569" y="693738"/>
                  </a:lnTo>
                  <a:lnTo>
                    <a:pt x="665829" y="699294"/>
                  </a:lnTo>
                  <a:lnTo>
                    <a:pt x="656295" y="704850"/>
                  </a:lnTo>
                  <a:lnTo>
                    <a:pt x="645966" y="709613"/>
                  </a:lnTo>
                  <a:lnTo>
                    <a:pt x="637226" y="715169"/>
                  </a:lnTo>
                  <a:lnTo>
                    <a:pt x="626897" y="719931"/>
                  </a:lnTo>
                  <a:lnTo>
                    <a:pt x="618157" y="723900"/>
                  </a:lnTo>
                  <a:lnTo>
                    <a:pt x="607828" y="727869"/>
                  </a:lnTo>
                  <a:lnTo>
                    <a:pt x="597499" y="732631"/>
                  </a:lnTo>
                  <a:lnTo>
                    <a:pt x="587964" y="735806"/>
                  </a:lnTo>
                  <a:lnTo>
                    <a:pt x="577635" y="739775"/>
                  </a:lnTo>
                  <a:lnTo>
                    <a:pt x="567306" y="743744"/>
                  </a:lnTo>
                  <a:lnTo>
                    <a:pt x="557771" y="746125"/>
                  </a:lnTo>
                  <a:lnTo>
                    <a:pt x="547442" y="749300"/>
                  </a:lnTo>
                  <a:lnTo>
                    <a:pt x="536319" y="751681"/>
                  </a:lnTo>
                  <a:lnTo>
                    <a:pt x="525989" y="754063"/>
                  </a:lnTo>
                  <a:lnTo>
                    <a:pt x="515660" y="757238"/>
                  </a:lnTo>
                  <a:lnTo>
                    <a:pt x="505331" y="758825"/>
                  </a:lnTo>
                  <a:lnTo>
                    <a:pt x="494208" y="761206"/>
                  </a:lnTo>
                  <a:lnTo>
                    <a:pt x="483879" y="762794"/>
                  </a:lnTo>
                  <a:lnTo>
                    <a:pt x="473549" y="763588"/>
                  </a:lnTo>
                  <a:lnTo>
                    <a:pt x="462426" y="765175"/>
                  </a:lnTo>
                  <a:lnTo>
                    <a:pt x="452097" y="765969"/>
                  </a:lnTo>
                  <a:lnTo>
                    <a:pt x="440973" y="767556"/>
                  </a:lnTo>
                  <a:lnTo>
                    <a:pt x="429849" y="767556"/>
                  </a:lnTo>
                  <a:lnTo>
                    <a:pt x="419520" y="768350"/>
                  </a:lnTo>
                  <a:lnTo>
                    <a:pt x="408397" y="768350"/>
                  </a:lnTo>
                  <a:lnTo>
                    <a:pt x="383766" y="767556"/>
                  </a:lnTo>
                  <a:lnTo>
                    <a:pt x="359135" y="765969"/>
                  </a:lnTo>
                  <a:lnTo>
                    <a:pt x="335299" y="763588"/>
                  </a:lnTo>
                  <a:lnTo>
                    <a:pt x="312257" y="759619"/>
                  </a:lnTo>
                  <a:lnTo>
                    <a:pt x="290009" y="755650"/>
                  </a:lnTo>
                  <a:lnTo>
                    <a:pt x="267762" y="750094"/>
                  </a:lnTo>
                  <a:lnTo>
                    <a:pt x="247898" y="743744"/>
                  </a:lnTo>
                  <a:lnTo>
                    <a:pt x="228035" y="735806"/>
                  </a:lnTo>
                  <a:lnTo>
                    <a:pt x="208966" y="727869"/>
                  </a:lnTo>
                  <a:lnTo>
                    <a:pt x="189102" y="717550"/>
                  </a:lnTo>
                  <a:lnTo>
                    <a:pt x="171622" y="708025"/>
                  </a:lnTo>
                  <a:lnTo>
                    <a:pt x="154937" y="696913"/>
                  </a:lnTo>
                  <a:lnTo>
                    <a:pt x="138251" y="684213"/>
                  </a:lnTo>
                  <a:lnTo>
                    <a:pt x="121566" y="669925"/>
                  </a:lnTo>
                  <a:lnTo>
                    <a:pt x="107264" y="656431"/>
                  </a:lnTo>
                  <a:lnTo>
                    <a:pt x="92168" y="640556"/>
                  </a:lnTo>
                  <a:lnTo>
                    <a:pt x="70715" y="614363"/>
                  </a:lnTo>
                  <a:lnTo>
                    <a:pt x="52440" y="585788"/>
                  </a:lnTo>
                  <a:lnTo>
                    <a:pt x="36549" y="556419"/>
                  </a:lnTo>
                  <a:lnTo>
                    <a:pt x="23042" y="526256"/>
                  </a:lnTo>
                  <a:lnTo>
                    <a:pt x="12713" y="494506"/>
                  </a:lnTo>
                  <a:lnTo>
                    <a:pt x="5562" y="461963"/>
                  </a:lnTo>
                  <a:lnTo>
                    <a:pt x="1589" y="427831"/>
                  </a:lnTo>
                  <a:lnTo>
                    <a:pt x="0" y="392113"/>
                  </a:lnTo>
                  <a:lnTo>
                    <a:pt x="1589" y="352425"/>
                  </a:lnTo>
                  <a:lnTo>
                    <a:pt x="7151" y="314325"/>
                  </a:lnTo>
                  <a:lnTo>
                    <a:pt x="16686" y="278606"/>
                  </a:lnTo>
                  <a:lnTo>
                    <a:pt x="29398" y="242888"/>
                  </a:lnTo>
                  <a:lnTo>
                    <a:pt x="44495" y="209550"/>
                  </a:lnTo>
                  <a:lnTo>
                    <a:pt x="65153" y="177800"/>
                  </a:lnTo>
                  <a:lnTo>
                    <a:pt x="87400" y="147638"/>
                  </a:lnTo>
                  <a:lnTo>
                    <a:pt x="115209" y="119063"/>
                  </a:lnTo>
                  <a:lnTo>
                    <a:pt x="131100" y="104775"/>
                  </a:lnTo>
                  <a:lnTo>
                    <a:pt x="146991" y="91281"/>
                  </a:lnTo>
                  <a:lnTo>
                    <a:pt x="163677" y="79375"/>
                  </a:lnTo>
                  <a:lnTo>
                    <a:pt x="180362" y="67469"/>
                  </a:lnTo>
                  <a:lnTo>
                    <a:pt x="198637" y="56356"/>
                  </a:lnTo>
                  <a:lnTo>
                    <a:pt x="216911" y="46831"/>
                  </a:lnTo>
                  <a:lnTo>
                    <a:pt x="235186" y="38100"/>
                  </a:lnTo>
                  <a:lnTo>
                    <a:pt x="254255" y="29369"/>
                  </a:lnTo>
                  <a:lnTo>
                    <a:pt x="274913" y="23019"/>
                  </a:lnTo>
                  <a:lnTo>
                    <a:pt x="294777" y="16669"/>
                  </a:lnTo>
                  <a:lnTo>
                    <a:pt x="315435" y="11906"/>
                  </a:lnTo>
                  <a:lnTo>
                    <a:pt x="336888" y="7938"/>
                  </a:lnTo>
                  <a:lnTo>
                    <a:pt x="359135" y="4763"/>
                  </a:lnTo>
                  <a:lnTo>
                    <a:pt x="380588" y="2381"/>
                  </a:lnTo>
                  <a:lnTo>
                    <a:pt x="403629" y="1588"/>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grpSp>
          <p:nvGrpSpPr>
            <p:cNvPr id="246" name="Group 245"/>
            <p:cNvGrpSpPr/>
            <p:nvPr/>
          </p:nvGrpSpPr>
          <p:grpSpPr>
            <a:xfrm>
              <a:off x="1224341" y="2393865"/>
              <a:ext cx="181084" cy="156444"/>
              <a:chOff x="896533" y="785004"/>
              <a:chExt cx="684622" cy="591473"/>
            </a:xfrm>
            <a:solidFill>
              <a:schemeClr val="bg1">
                <a:lumMod val="50000"/>
              </a:schemeClr>
            </a:solidFill>
          </p:grpSpPr>
          <p:sp>
            <p:nvSpPr>
              <p:cNvPr id="247" name="Oval 246"/>
              <p:cNvSpPr>
                <a:spLocks noChangeArrowheads="1"/>
              </p:cNvSpPr>
              <p:nvPr/>
            </p:nvSpPr>
            <p:spPr bwMode="auto">
              <a:xfrm>
                <a:off x="1135915" y="785004"/>
                <a:ext cx="218444" cy="218810"/>
              </a:xfrm>
              <a:prstGeom prst="ellipse">
                <a:avLst/>
              </a:prstGeom>
              <a:grp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pPr>
                <a:endParaRPr lang="en-US" sz="2200" dirty="0">
                  <a:latin typeface="Segoe"/>
                </a:endParaRPr>
              </a:p>
            </p:txBody>
          </p:sp>
          <p:sp>
            <p:nvSpPr>
              <p:cNvPr id="248" name="Freeform 247"/>
              <p:cNvSpPr>
                <a:spLocks/>
              </p:cNvSpPr>
              <p:nvPr/>
            </p:nvSpPr>
            <p:spPr bwMode="auto">
              <a:xfrm>
                <a:off x="1046649" y="1029576"/>
                <a:ext cx="390806" cy="346901"/>
              </a:xfrm>
              <a:custGeom>
                <a:avLst/>
                <a:gdLst>
                  <a:gd name="T0" fmla="*/ 420 w 456"/>
                  <a:gd name="T1" fmla="*/ 125 h 405"/>
                  <a:gd name="T2" fmla="*/ 311 w 456"/>
                  <a:gd name="T3" fmla="*/ 0 h 405"/>
                  <a:gd name="T4" fmla="*/ 233 w 456"/>
                  <a:gd name="T5" fmla="*/ 97 h 405"/>
                  <a:gd name="T6" fmla="*/ 223 w 456"/>
                  <a:gd name="T7" fmla="*/ 97 h 405"/>
                  <a:gd name="T8" fmla="*/ 145 w 456"/>
                  <a:gd name="T9" fmla="*/ 0 h 405"/>
                  <a:gd name="T10" fmla="*/ 37 w 456"/>
                  <a:gd name="T11" fmla="*/ 125 h 405"/>
                  <a:gd name="T12" fmla="*/ 30 w 456"/>
                  <a:gd name="T13" fmla="*/ 307 h 405"/>
                  <a:gd name="T14" fmla="*/ 220 w 456"/>
                  <a:gd name="T15" fmla="*/ 405 h 405"/>
                  <a:gd name="T16" fmla="*/ 236 w 456"/>
                  <a:gd name="T17" fmla="*/ 405 h 405"/>
                  <a:gd name="T18" fmla="*/ 427 w 456"/>
                  <a:gd name="T19" fmla="*/ 307 h 405"/>
                  <a:gd name="T20" fmla="*/ 420 w 456"/>
                  <a:gd name="T21" fmla="*/ 125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6" h="405">
                    <a:moveTo>
                      <a:pt x="420" y="125"/>
                    </a:moveTo>
                    <a:cubicBezTo>
                      <a:pt x="369" y="38"/>
                      <a:pt x="327" y="0"/>
                      <a:pt x="311" y="0"/>
                    </a:cubicBezTo>
                    <a:cubicBezTo>
                      <a:pt x="296" y="0"/>
                      <a:pt x="247" y="97"/>
                      <a:pt x="233" y="97"/>
                    </a:cubicBezTo>
                    <a:cubicBezTo>
                      <a:pt x="223" y="97"/>
                      <a:pt x="223" y="97"/>
                      <a:pt x="223" y="97"/>
                    </a:cubicBezTo>
                    <a:cubicBezTo>
                      <a:pt x="210" y="97"/>
                      <a:pt x="161" y="0"/>
                      <a:pt x="145" y="0"/>
                    </a:cubicBezTo>
                    <a:cubicBezTo>
                      <a:pt x="130" y="0"/>
                      <a:pt x="88" y="38"/>
                      <a:pt x="37" y="125"/>
                    </a:cubicBezTo>
                    <a:cubicBezTo>
                      <a:pt x="13" y="165"/>
                      <a:pt x="0" y="251"/>
                      <a:pt x="30" y="307"/>
                    </a:cubicBezTo>
                    <a:cubicBezTo>
                      <a:pt x="64" y="372"/>
                      <a:pt x="149" y="405"/>
                      <a:pt x="220" y="405"/>
                    </a:cubicBezTo>
                    <a:cubicBezTo>
                      <a:pt x="236" y="405"/>
                      <a:pt x="236" y="405"/>
                      <a:pt x="236" y="405"/>
                    </a:cubicBezTo>
                    <a:cubicBezTo>
                      <a:pt x="308" y="405"/>
                      <a:pt x="393" y="372"/>
                      <a:pt x="427" y="307"/>
                    </a:cubicBezTo>
                    <a:cubicBezTo>
                      <a:pt x="456" y="251"/>
                      <a:pt x="444" y="165"/>
                      <a:pt x="420" y="125"/>
                    </a:cubicBezTo>
                    <a:close/>
                  </a:path>
                </a:pathLst>
              </a:custGeom>
              <a:grp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pPr>
                <a:endParaRPr lang="en-US" sz="2200" dirty="0">
                  <a:latin typeface="Segoe"/>
                </a:endParaRPr>
              </a:p>
            </p:txBody>
          </p:sp>
          <p:grpSp>
            <p:nvGrpSpPr>
              <p:cNvPr id="249" name="Group 248"/>
              <p:cNvGrpSpPr/>
              <p:nvPr/>
            </p:nvGrpSpPr>
            <p:grpSpPr>
              <a:xfrm>
                <a:off x="896533" y="873212"/>
                <a:ext cx="201231" cy="369680"/>
                <a:chOff x="851065" y="755975"/>
                <a:chExt cx="287391" cy="527971"/>
              </a:xfrm>
              <a:grpFill/>
            </p:grpSpPr>
            <p:sp>
              <p:nvSpPr>
                <p:cNvPr id="253" name="Oval 252"/>
                <p:cNvSpPr>
                  <a:spLocks noChangeArrowheads="1"/>
                </p:cNvSpPr>
                <p:nvPr/>
              </p:nvSpPr>
              <p:spPr bwMode="auto">
                <a:xfrm>
                  <a:off x="930896" y="755975"/>
                  <a:ext cx="194494" cy="195584"/>
                </a:xfrm>
                <a:prstGeom prst="ellipse">
                  <a:avLst/>
                </a:prstGeom>
                <a:grp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pPr>
                  <a:endParaRPr lang="en-US" sz="2200" dirty="0">
                    <a:latin typeface="Segoe"/>
                  </a:endParaRPr>
                </a:p>
              </p:txBody>
            </p:sp>
            <p:sp>
              <p:nvSpPr>
                <p:cNvPr id="254" name="Freeform 253"/>
                <p:cNvSpPr>
                  <a:spLocks/>
                </p:cNvSpPr>
                <p:nvPr/>
              </p:nvSpPr>
              <p:spPr bwMode="auto">
                <a:xfrm>
                  <a:off x="851065" y="973697"/>
                  <a:ext cx="287391" cy="310249"/>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grp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pPr>
                  <a:endParaRPr lang="en-US" sz="2200" dirty="0">
                    <a:latin typeface="Segoe"/>
                  </a:endParaRPr>
                </a:p>
              </p:txBody>
            </p:sp>
          </p:grpSp>
          <p:grpSp>
            <p:nvGrpSpPr>
              <p:cNvPr id="250" name="Group 249"/>
              <p:cNvGrpSpPr/>
              <p:nvPr/>
            </p:nvGrpSpPr>
            <p:grpSpPr>
              <a:xfrm flipH="1">
                <a:off x="1379924" y="873212"/>
                <a:ext cx="201231" cy="369680"/>
                <a:chOff x="851065" y="755975"/>
                <a:chExt cx="287391" cy="527971"/>
              </a:xfrm>
              <a:grpFill/>
            </p:grpSpPr>
            <p:sp>
              <p:nvSpPr>
                <p:cNvPr id="251" name="Oval 250"/>
                <p:cNvSpPr>
                  <a:spLocks noChangeArrowheads="1"/>
                </p:cNvSpPr>
                <p:nvPr/>
              </p:nvSpPr>
              <p:spPr bwMode="auto">
                <a:xfrm>
                  <a:off x="930896" y="755975"/>
                  <a:ext cx="194494" cy="195584"/>
                </a:xfrm>
                <a:prstGeom prst="ellipse">
                  <a:avLst/>
                </a:prstGeom>
                <a:grp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pPr>
                  <a:endParaRPr lang="en-US" sz="2200" dirty="0">
                    <a:latin typeface="Segoe"/>
                  </a:endParaRPr>
                </a:p>
              </p:txBody>
            </p:sp>
            <p:sp>
              <p:nvSpPr>
                <p:cNvPr id="252" name="Freeform 251"/>
                <p:cNvSpPr>
                  <a:spLocks/>
                </p:cNvSpPr>
                <p:nvPr/>
              </p:nvSpPr>
              <p:spPr bwMode="auto">
                <a:xfrm>
                  <a:off x="851065" y="973697"/>
                  <a:ext cx="287391" cy="310249"/>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grp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pPr>
                  <a:endParaRPr lang="en-US" sz="2200" dirty="0">
                    <a:latin typeface="Segoe"/>
                  </a:endParaRPr>
                </a:p>
              </p:txBody>
            </p:sp>
          </p:grpSp>
        </p:grpSp>
      </p:grpSp>
      <p:cxnSp>
        <p:nvCxnSpPr>
          <p:cNvPr id="257" name="Straight Arrow Connector 256"/>
          <p:cNvCxnSpPr/>
          <p:nvPr/>
        </p:nvCxnSpPr>
        <p:spPr>
          <a:xfrm flipV="1">
            <a:off x="4203301" y="3142863"/>
            <a:ext cx="0" cy="411576"/>
          </a:xfrm>
          <a:prstGeom prst="straightConnector1">
            <a:avLst/>
          </a:prstGeom>
          <a:ln w="19050">
            <a:solidFill>
              <a:schemeClr val="bg1">
                <a:lumMod val="50000"/>
              </a:schemeClr>
            </a:solidFill>
            <a:tailEnd type="triangle" w="lg" len="med"/>
          </a:ln>
        </p:spPr>
        <p:style>
          <a:lnRef idx="1">
            <a:schemeClr val="accent1"/>
          </a:lnRef>
          <a:fillRef idx="0">
            <a:schemeClr val="accent1"/>
          </a:fillRef>
          <a:effectRef idx="0">
            <a:schemeClr val="accent1"/>
          </a:effectRef>
          <a:fontRef idx="minor">
            <a:schemeClr val="tx1"/>
          </a:fontRef>
        </p:style>
      </p:cxnSp>
      <p:pic>
        <p:nvPicPr>
          <p:cNvPr id="259" name="Picture 258"/>
          <p:cNvPicPr>
            <a:picLocks noChangeAspect="1"/>
          </p:cNvPicPr>
          <p:nvPr/>
        </p:nvPicPr>
        <p:blipFill>
          <a:blip r:embed="rId18" cstate="screen">
            <a:duotone>
              <a:prstClr val="black"/>
              <a:schemeClr val="accent5">
                <a:tint val="45000"/>
                <a:satMod val="400000"/>
              </a:schemeClr>
            </a:duotone>
            <a:extLst>
              <a:ext uri="{BEBA8EAE-BF5A-486C-A8C5-ECC9F3942E4B}">
                <a14:imgProps xmlns:a14="http://schemas.microsoft.com/office/drawing/2010/main">
                  <a14:imgLayer r:embed="rId19">
                    <a14:imgEffect>
                      <a14:brightnessContrast bright="-20000" contrast="-20000"/>
                    </a14:imgEffect>
                  </a14:imgLayer>
                </a14:imgProps>
              </a:ext>
              <a:ext uri="{28A0092B-C50C-407E-A947-70E740481C1C}">
                <a14:useLocalDpi xmlns:a14="http://schemas.microsoft.com/office/drawing/2010/main"/>
              </a:ext>
            </a:extLst>
          </a:blip>
          <a:stretch>
            <a:fillRect/>
          </a:stretch>
        </p:blipFill>
        <p:spPr>
          <a:xfrm>
            <a:off x="4121819" y="2066649"/>
            <a:ext cx="431225" cy="431224"/>
          </a:xfrm>
          <a:prstGeom prst="rect">
            <a:avLst/>
          </a:prstGeom>
        </p:spPr>
      </p:pic>
      <p:sp>
        <p:nvSpPr>
          <p:cNvPr id="3" name="Slide Number Placeholder 2"/>
          <p:cNvSpPr>
            <a:spLocks noGrp="1"/>
          </p:cNvSpPr>
          <p:nvPr>
            <p:ph type="sldNum" sz="quarter" idx="15"/>
          </p:nvPr>
        </p:nvSpPr>
        <p:spPr/>
        <p:txBody>
          <a:bodyPr/>
          <a:lstStyle/>
          <a:p>
            <a:pPr defTabSz="1088105"/>
            <a:fld id="{FAADACFB-7C71-4E89-89D2-7BBA40B7BFA9}" type="slidenum">
              <a:rPr lang="en-US" smtClean="0">
                <a:solidFill>
                  <a:srgbClr val="505050"/>
                </a:solidFill>
              </a:rPr>
              <a:pPr defTabSz="1088105"/>
              <a:t>3</a:t>
            </a:fld>
            <a:endParaRPr lang="en-US" dirty="0">
              <a:solidFill>
                <a:srgbClr val="505050"/>
              </a:solidFill>
            </a:endParaRPr>
          </a:p>
        </p:txBody>
      </p:sp>
      <p:grpSp>
        <p:nvGrpSpPr>
          <p:cNvPr id="22" name="Group 21"/>
          <p:cNvGrpSpPr/>
          <p:nvPr/>
        </p:nvGrpSpPr>
        <p:grpSpPr>
          <a:xfrm>
            <a:off x="9531915" y="2925488"/>
            <a:ext cx="321697" cy="307752"/>
            <a:chOff x="9531915" y="2925488"/>
            <a:chExt cx="321697" cy="307752"/>
          </a:xfrm>
        </p:grpSpPr>
        <p:grpSp>
          <p:nvGrpSpPr>
            <p:cNvPr id="168" name="Group 167"/>
            <p:cNvGrpSpPr/>
            <p:nvPr/>
          </p:nvGrpSpPr>
          <p:grpSpPr>
            <a:xfrm>
              <a:off x="9531915" y="2925488"/>
              <a:ext cx="321697" cy="307752"/>
              <a:chOff x="9213056" y="2830838"/>
              <a:chExt cx="392885" cy="393322"/>
            </a:xfrm>
            <a:solidFill>
              <a:srgbClr val="7F7F7F"/>
            </a:solidFill>
          </p:grpSpPr>
          <p:sp>
            <p:nvSpPr>
              <p:cNvPr id="169" name="Rectangle 168"/>
              <p:cNvSpPr/>
              <p:nvPr/>
            </p:nvSpPr>
            <p:spPr>
              <a:xfrm>
                <a:off x="9213056" y="2830838"/>
                <a:ext cx="45719" cy="39288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198" name="Rectangle 197"/>
              <p:cNvSpPr/>
              <p:nvPr/>
            </p:nvSpPr>
            <p:spPr>
              <a:xfrm rot="16200000">
                <a:off x="9386639" y="3004858"/>
                <a:ext cx="45719" cy="39288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grpSp>
        <p:sp>
          <p:nvSpPr>
            <p:cNvPr id="199" name="Freeform 198"/>
            <p:cNvSpPr/>
            <p:nvPr/>
          </p:nvSpPr>
          <p:spPr>
            <a:xfrm>
              <a:off x="9594056" y="2928938"/>
              <a:ext cx="240507" cy="228600"/>
            </a:xfrm>
            <a:custGeom>
              <a:avLst/>
              <a:gdLst>
                <a:gd name="connsiteX0" fmla="*/ 0 w 240507"/>
                <a:gd name="connsiteY0" fmla="*/ 219075 h 228600"/>
                <a:gd name="connsiteX1" fmla="*/ 52388 w 240507"/>
                <a:gd name="connsiteY1" fmla="*/ 166687 h 228600"/>
                <a:gd name="connsiteX2" fmla="*/ 88107 w 240507"/>
                <a:gd name="connsiteY2" fmla="*/ 228600 h 228600"/>
                <a:gd name="connsiteX3" fmla="*/ 114300 w 240507"/>
                <a:gd name="connsiteY3" fmla="*/ 97631 h 228600"/>
                <a:gd name="connsiteX4" fmla="*/ 171450 w 240507"/>
                <a:gd name="connsiteY4" fmla="*/ 104775 h 228600"/>
                <a:gd name="connsiteX5" fmla="*/ 240507 w 240507"/>
                <a:gd name="connsiteY5" fmla="*/ 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0507" h="228600">
                  <a:moveTo>
                    <a:pt x="0" y="219075"/>
                  </a:moveTo>
                  <a:lnTo>
                    <a:pt x="52388" y="166687"/>
                  </a:lnTo>
                  <a:lnTo>
                    <a:pt x="88107" y="228600"/>
                  </a:lnTo>
                  <a:lnTo>
                    <a:pt x="114300" y="97631"/>
                  </a:lnTo>
                  <a:lnTo>
                    <a:pt x="171450" y="104775"/>
                  </a:lnTo>
                  <a:lnTo>
                    <a:pt x="240507" y="0"/>
                  </a:lnTo>
                </a:path>
              </a:pathLst>
            </a:custGeom>
            <a:noFill/>
            <a:ln>
              <a:solidFill>
                <a:srgbClr val="7F7F7F"/>
              </a:solidFill>
              <a:headEnd w="lg" len="med"/>
              <a:tailEnd type="triangle" w="med"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4" name="Picture 3"/>
          <p:cNvPicPr>
            <a:picLocks noChangeAspect="1"/>
          </p:cNvPicPr>
          <p:nvPr/>
        </p:nvPicPr>
        <p:blipFill>
          <a:blip r:embed="rId20"/>
          <a:stretch>
            <a:fillRect/>
          </a:stretch>
        </p:blipFill>
        <p:spPr>
          <a:xfrm>
            <a:off x="1017533" y="3194191"/>
            <a:ext cx="503767" cy="519675"/>
          </a:xfrm>
          <a:prstGeom prst="rect">
            <a:avLst/>
          </a:prstGeom>
        </p:spPr>
      </p:pic>
    </p:spTree>
    <p:extLst>
      <p:ext uri="{BB962C8B-B14F-4D97-AF65-F5344CB8AC3E}">
        <p14:creationId xmlns:p14="http://schemas.microsoft.com/office/powerpoint/2010/main" val="389626858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 name="Oval 209"/>
          <p:cNvSpPr/>
          <p:nvPr/>
        </p:nvSpPr>
        <p:spPr bwMode="auto">
          <a:xfrm>
            <a:off x="4619396" y="4415939"/>
            <a:ext cx="3939428" cy="1749880"/>
          </a:xfrm>
          <a:custGeom>
            <a:avLst/>
            <a:gdLst/>
            <a:ahLst/>
            <a:cxnLst/>
            <a:rect l="l" t="t" r="r" b="b"/>
            <a:pathLst>
              <a:path w="8803468" h="5170759">
                <a:moveTo>
                  <a:pt x="4909183" y="0"/>
                </a:moveTo>
                <a:cubicBezTo>
                  <a:pt x="6195616" y="0"/>
                  <a:pt x="7238475" y="1021136"/>
                  <a:pt x="7238475" y="2280772"/>
                </a:cubicBezTo>
                <a:cubicBezTo>
                  <a:pt x="7238475" y="2369141"/>
                  <a:pt x="7233343" y="2456337"/>
                  <a:pt x="7222091" y="2541933"/>
                </a:cubicBezTo>
                <a:cubicBezTo>
                  <a:pt x="7294788" y="2525239"/>
                  <a:pt x="7370149" y="2518684"/>
                  <a:pt x="7447004" y="2518684"/>
                </a:cubicBezTo>
                <a:cubicBezTo>
                  <a:pt x="8196160" y="2518684"/>
                  <a:pt x="8803468" y="3141396"/>
                  <a:pt x="8803468" y="3909552"/>
                </a:cubicBezTo>
                <a:cubicBezTo>
                  <a:pt x="8803468" y="4469014"/>
                  <a:pt x="8481324" y="4951325"/>
                  <a:pt x="8016221" y="5170759"/>
                </a:cubicBezTo>
                <a:lnTo>
                  <a:pt x="895411" y="5170759"/>
                </a:lnTo>
                <a:cubicBezTo>
                  <a:pt x="372663" y="4963354"/>
                  <a:pt x="0" y="4399621"/>
                  <a:pt x="0" y="3737717"/>
                </a:cubicBezTo>
                <a:cubicBezTo>
                  <a:pt x="0" y="2972099"/>
                  <a:pt x="498598" y="2337829"/>
                  <a:pt x="1150481" y="2231184"/>
                </a:cubicBezTo>
                <a:cubicBezTo>
                  <a:pt x="1172083" y="1693806"/>
                  <a:pt x="1604866" y="1266237"/>
                  <a:pt x="2135045" y="1266237"/>
                </a:cubicBezTo>
                <a:cubicBezTo>
                  <a:pt x="2360210" y="1266237"/>
                  <a:pt x="2567805" y="1343357"/>
                  <a:pt x="2731785" y="1476336"/>
                </a:cubicBezTo>
                <a:cubicBezTo>
                  <a:pt x="3061724" y="613163"/>
                  <a:pt x="3912322" y="0"/>
                  <a:pt x="4909183" y="0"/>
                </a:cubicBezTo>
                <a:close/>
              </a:path>
            </a:pathLst>
          </a:cu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850864">
              <a:defRPr/>
            </a:pPr>
            <a:endParaRPr lang="en-US" sz="1200" dirty="0">
              <a:solidFill>
                <a:srgbClr val="FFFFFF"/>
              </a:solidFill>
              <a:latin typeface="Segoe UI Semibold" panose="020B0702040204020203" pitchFamily="34" charset="0"/>
              <a:cs typeface="Segoe UI Semibold" panose="020B0702040204020203" pitchFamily="34" charset="0"/>
            </a:endParaRPr>
          </a:p>
        </p:txBody>
      </p:sp>
      <p:sp>
        <p:nvSpPr>
          <p:cNvPr id="170" name="Oval 209"/>
          <p:cNvSpPr/>
          <p:nvPr/>
        </p:nvSpPr>
        <p:spPr bwMode="auto">
          <a:xfrm>
            <a:off x="7104165" y="1244032"/>
            <a:ext cx="4361382" cy="2436287"/>
          </a:xfrm>
          <a:custGeom>
            <a:avLst/>
            <a:gdLst/>
            <a:ahLst/>
            <a:cxnLst/>
            <a:rect l="l" t="t" r="r" b="b"/>
            <a:pathLst>
              <a:path w="8803468" h="5170759">
                <a:moveTo>
                  <a:pt x="4909183" y="0"/>
                </a:moveTo>
                <a:cubicBezTo>
                  <a:pt x="6195616" y="0"/>
                  <a:pt x="7238475" y="1021136"/>
                  <a:pt x="7238475" y="2280772"/>
                </a:cubicBezTo>
                <a:cubicBezTo>
                  <a:pt x="7238475" y="2369141"/>
                  <a:pt x="7233343" y="2456337"/>
                  <a:pt x="7222091" y="2541933"/>
                </a:cubicBezTo>
                <a:cubicBezTo>
                  <a:pt x="7294788" y="2525239"/>
                  <a:pt x="7370149" y="2518684"/>
                  <a:pt x="7447004" y="2518684"/>
                </a:cubicBezTo>
                <a:cubicBezTo>
                  <a:pt x="8196160" y="2518684"/>
                  <a:pt x="8803468" y="3141396"/>
                  <a:pt x="8803468" y="3909552"/>
                </a:cubicBezTo>
                <a:cubicBezTo>
                  <a:pt x="8803468" y="4469014"/>
                  <a:pt x="8481324" y="4951325"/>
                  <a:pt x="8016221" y="5170759"/>
                </a:cubicBezTo>
                <a:lnTo>
                  <a:pt x="895411" y="5170759"/>
                </a:lnTo>
                <a:cubicBezTo>
                  <a:pt x="372663" y="4963354"/>
                  <a:pt x="0" y="4399621"/>
                  <a:pt x="0" y="3737717"/>
                </a:cubicBezTo>
                <a:cubicBezTo>
                  <a:pt x="0" y="2972099"/>
                  <a:pt x="498598" y="2337829"/>
                  <a:pt x="1150481" y="2231184"/>
                </a:cubicBezTo>
                <a:cubicBezTo>
                  <a:pt x="1172083" y="1693806"/>
                  <a:pt x="1604866" y="1266237"/>
                  <a:pt x="2135045" y="1266237"/>
                </a:cubicBezTo>
                <a:cubicBezTo>
                  <a:pt x="2360210" y="1266237"/>
                  <a:pt x="2567805" y="1343357"/>
                  <a:pt x="2731785" y="1476336"/>
                </a:cubicBezTo>
                <a:cubicBezTo>
                  <a:pt x="3061724" y="613163"/>
                  <a:pt x="3912322" y="0"/>
                  <a:pt x="4909183" y="0"/>
                </a:cubicBezTo>
                <a:close/>
              </a:path>
            </a:pathLst>
          </a:cu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850864">
              <a:defRPr/>
            </a:pPr>
            <a:endParaRPr lang="en-US" sz="1200" dirty="0">
              <a:solidFill>
                <a:srgbClr val="FFFFFF"/>
              </a:solidFill>
              <a:latin typeface="Segoe UI Semibold" panose="020B0702040204020203" pitchFamily="34" charset="0"/>
              <a:cs typeface="Segoe UI Semibold" panose="020B0702040204020203" pitchFamily="34" charset="0"/>
            </a:endParaRPr>
          </a:p>
        </p:txBody>
      </p:sp>
      <p:graphicFrame>
        <p:nvGraphicFramePr>
          <p:cNvPr id="13316" name="Object 1331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04" name="think-cell Slide" r:id="rId5" imgW="378" imgH="377" progId="TCLayout.ActiveDocument.1">
                  <p:embed/>
                </p:oleObj>
              </mc:Choice>
              <mc:Fallback>
                <p:oleObj name="think-cell Slide" r:id="rId5" imgW="378" imgH="377" progId="TCLayout.ActiveDocument.1">
                  <p:embed/>
                  <p:pic>
                    <p:nvPicPr>
                      <p:cNvPr id="13316" name="Object 1331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Technology Storyboard: Customer Analytics - PaaS</a:t>
            </a:r>
          </a:p>
        </p:txBody>
      </p:sp>
      <p:sp>
        <p:nvSpPr>
          <p:cNvPr id="66" name="Oval 209"/>
          <p:cNvSpPr/>
          <p:nvPr/>
        </p:nvSpPr>
        <p:spPr bwMode="auto">
          <a:xfrm>
            <a:off x="226231" y="898121"/>
            <a:ext cx="5129373" cy="2769860"/>
          </a:xfrm>
          <a:custGeom>
            <a:avLst/>
            <a:gdLst/>
            <a:ahLst/>
            <a:cxnLst/>
            <a:rect l="l" t="t" r="r" b="b"/>
            <a:pathLst>
              <a:path w="8803468" h="5170759">
                <a:moveTo>
                  <a:pt x="4909183" y="0"/>
                </a:moveTo>
                <a:cubicBezTo>
                  <a:pt x="6195616" y="0"/>
                  <a:pt x="7238475" y="1021136"/>
                  <a:pt x="7238475" y="2280772"/>
                </a:cubicBezTo>
                <a:cubicBezTo>
                  <a:pt x="7238475" y="2369141"/>
                  <a:pt x="7233343" y="2456337"/>
                  <a:pt x="7222091" y="2541933"/>
                </a:cubicBezTo>
                <a:cubicBezTo>
                  <a:pt x="7294788" y="2525239"/>
                  <a:pt x="7370149" y="2518684"/>
                  <a:pt x="7447004" y="2518684"/>
                </a:cubicBezTo>
                <a:cubicBezTo>
                  <a:pt x="8196160" y="2518684"/>
                  <a:pt x="8803468" y="3141396"/>
                  <a:pt x="8803468" y="3909552"/>
                </a:cubicBezTo>
                <a:cubicBezTo>
                  <a:pt x="8803468" y="4469014"/>
                  <a:pt x="8481324" y="4951325"/>
                  <a:pt x="8016221" y="5170759"/>
                </a:cubicBezTo>
                <a:lnTo>
                  <a:pt x="895411" y="5170759"/>
                </a:lnTo>
                <a:cubicBezTo>
                  <a:pt x="372663" y="4963354"/>
                  <a:pt x="0" y="4399621"/>
                  <a:pt x="0" y="3737717"/>
                </a:cubicBezTo>
                <a:cubicBezTo>
                  <a:pt x="0" y="2972099"/>
                  <a:pt x="498598" y="2337829"/>
                  <a:pt x="1150481" y="2231184"/>
                </a:cubicBezTo>
                <a:cubicBezTo>
                  <a:pt x="1172083" y="1693806"/>
                  <a:pt x="1604866" y="1266237"/>
                  <a:pt x="2135045" y="1266237"/>
                </a:cubicBezTo>
                <a:cubicBezTo>
                  <a:pt x="2360210" y="1266237"/>
                  <a:pt x="2567805" y="1343357"/>
                  <a:pt x="2731785" y="1476336"/>
                </a:cubicBezTo>
                <a:cubicBezTo>
                  <a:pt x="3061724" y="613163"/>
                  <a:pt x="3912322" y="0"/>
                  <a:pt x="4909183" y="0"/>
                </a:cubicBezTo>
                <a:close/>
              </a:path>
            </a:pathLst>
          </a:cu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850864">
              <a:defRPr/>
            </a:pPr>
            <a:endParaRPr lang="en-US" sz="1200" dirty="0">
              <a:solidFill>
                <a:srgbClr val="FFFFFF"/>
              </a:solidFill>
              <a:latin typeface="Segoe UI Semibold" panose="020B0702040204020203" pitchFamily="34" charset="0"/>
              <a:cs typeface="Segoe UI Semibold" panose="020B0702040204020203" pitchFamily="34" charset="0"/>
            </a:endParaRPr>
          </a:p>
        </p:txBody>
      </p:sp>
      <p:pic>
        <p:nvPicPr>
          <p:cNvPr id="95" name="Picture 94"/>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9141672" y="2095744"/>
            <a:ext cx="392625" cy="392625"/>
          </a:xfrm>
          <a:prstGeom prst="rect">
            <a:avLst/>
          </a:prstGeom>
        </p:spPr>
      </p:pic>
      <p:sp>
        <p:nvSpPr>
          <p:cNvPr id="96" name="TextBox 95"/>
          <p:cNvSpPr txBox="1"/>
          <p:nvPr/>
        </p:nvSpPr>
        <p:spPr>
          <a:xfrm>
            <a:off x="9045435" y="2534668"/>
            <a:ext cx="585097" cy="153888"/>
          </a:xfrm>
          <a:prstGeom prst="rect">
            <a:avLst/>
          </a:prstGeom>
        </p:spPr>
        <p:txBody>
          <a:bodyPr vert="horz" wrap="none" lIns="0" tIns="0" rIns="0" bIns="0" rtlCol="0" anchor="ctr">
            <a:noAutofit/>
          </a:bodyPr>
          <a:lstStyle>
            <a:defPPr>
              <a:defRPr lang="en-US"/>
            </a:defPPr>
            <a:lvl1pPr algn="ctr" defTabSz="1088105">
              <a:defRPr sz="12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r>
              <a:rPr lang="en-US" sz="1000" dirty="0" err="1"/>
              <a:t>HDInsight</a:t>
            </a:r>
            <a:endParaRPr lang="en-US" sz="1000" dirty="0"/>
          </a:p>
        </p:txBody>
      </p:sp>
      <p:pic>
        <p:nvPicPr>
          <p:cNvPr id="93" name="Picture 92"/>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10021915" y="2488369"/>
            <a:ext cx="340848" cy="340848"/>
          </a:xfrm>
          <a:prstGeom prst="rect">
            <a:avLst/>
          </a:prstGeom>
        </p:spPr>
      </p:pic>
      <p:sp>
        <p:nvSpPr>
          <p:cNvPr id="94" name="TextBox 93"/>
          <p:cNvSpPr txBox="1"/>
          <p:nvPr/>
        </p:nvSpPr>
        <p:spPr>
          <a:xfrm>
            <a:off x="9690298" y="2871221"/>
            <a:ext cx="1004081" cy="307777"/>
          </a:xfrm>
          <a:prstGeom prst="rect">
            <a:avLst/>
          </a:prstGeom>
        </p:spPr>
        <p:txBody>
          <a:bodyPr vert="horz" wrap="square" lIns="0" tIns="0" rIns="0" bIns="0" rtlCol="0" anchor="ctr">
            <a:noAutofit/>
          </a:bodyPr>
          <a:lstStyle>
            <a:defPPr>
              <a:defRPr lang="en-US"/>
            </a:defPPr>
            <a:lvl1pPr algn="ctr" defTabSz="1088105">
              <a:defRPr sz="12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r>
              <a:rPr lang="en-US" sz="1000" dirty="0">
                <a:solidFill>
                  <a:prstClr val="white"/>
                </a:solidFill>
              </a:rPr>
              <a:t>Azure Machine </a:t>
            </a:r>
            <a:br>
              <a:rPr lang="en-US" sz="1000" dirty="0">
                <a:solidFill>
                  <a:prstClr val="white"/>
                </a:solidFill>
              </a:rPr>
            </a:br>
            <a:r>
              <a:rPr lang="en-US" sz="1000" dirty="0">
                <a:solidFill>
                  <a:prstClr val="white"/>
                </a:solidFill>
              </a:rPr>
              <a:t>Learning</a:t>
            </a:r>
          </a:p>
        </p:txBody>
      </p:sp>
      <p:pic>
        <p:nvPicPr>
          <p:cNvPr id="87" name="Picture 86"/>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3154294" y="2524911"/>
            <a:ext cx="304808" cy="304807"/>
          </a:xfrm>
          <a:prstGeom prst="rect">
            <a:avLst/>
          </a:prstGeom>
        </p:spPr>
      </p:pic>
      <p:sp>
        <p:nvSpPr>
          <p:cNvPr id="88" name="TextBox 87"/>
          <p:cNvSpPr txBox="1"/>
          <p:nvPr/>
        </p:nvSpPr>
        <p:spPr>
          <a:xfrm>
            <a:off x="2922226" y="2881826"/>
            <a:ext cx="768944" cy="307777"/>
          </a:xfrm>
          <a:prstGeom prst="rect">
            <a:avLst/>
          </a:prstGeom>
        </p:spPr>
        <p:txBody>
          <a:bodyPr vert="horz" wrap="square" lIns="0" tIns="0" rIns="0" bIns="0" rtlCol="0" anchor="ctr">
            <a:noAutofit/>
          </a:bodyPr>
          <a:lstStyle>
            <a:defPPr>
              <a:defRPr lang="en-US"/>
            </a:defPPr>
            <a:lvl1pPr algn="ctr" defTabSz="1088105">
              <a:defRPr sz="12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r>
              <a:rPr lang="en-US" sz="1000" dirty="0">
                <a:solidFill>
                  <a:prstClr val="white"/>
                </a:solidFill>
              </a:rPr>
              <a:t>Azure</a:t>
            </a:r>
            <a:br>
              <a:rPr lang="en-US" sz="1000" dirty="0">
                <a:solidFill>
                  <a:prstClr val="white"/>
                </a:solidFill>
              </a:rPr>
            </a:br>
            <a:r>
              <a:rPr lang="en-US" sz="1000" dirty="0">
                <a:solidFill>
                  <a:prstClr val="white"/>
                </a:solidFill>
              </a:rPr>
              <a:t>Storage</a:t>
            </a:r>
          </a:p>
        </p:txBody>
      </p:sp>
      <p:sp>
        <p:nvSpPr>
          <p:cNvPr id="85" name="TextBox 84"/>
          <p:cNvSpPr txBox="1"/>
          <p:nvPr/>
        </p:nvSpPr>
        <p:spPr>
          <a:xfrm>
            <a:off x="8353390" y="2838233"/>
            <a:ext cx="672849" cy="307778"/>
          </a:xfrm>
          <a:prstGeom prst="rect">
            <a:avLst/>
          </a:prstGeom>
        </p:spPr>
        <p:txBody>
          <a:bodyPr vert="horz" wrap="square" lIns="0" tIns="0" rIns="0" bIns="0" rtlCol="0" anchor="ctr">
            <a:noAutofit/>
          </a:bodyPr>
          <a:lstStyle>
            <a:defPPr>
              <a:defRPr lang="en-US"/>
            </a:defPPr>
            <a:lvl1pPr algn="ctr" defTabSz="1088105">
              <a:defRPr sz="12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r>
              <a:rPr lang="en-US" sz="1000" dirty="0">
                <a:solidFill>
                  <a:prstClr val="white"/>
                </a:solidFill>
              </a:rPr>
              <a:t>Azure</a:t>
            </a:r>
            <a:br>
              <a:rPr lang="en-US" sz="1000" dirty="0">
                <a:solidFill>
                  <a:prstClr val="white"/>
                </a:solidFill>
              </a:rPr>
            </a:br>
            <a:r>
              <a:rPr lang="en-US" sz="1000" dirty="0">
                <a:solidFill>
                  <a:prstClr val="white"/>
                </a:solidFill>
              </a:rPr>
              <a:t>SQL DB</a:t>
            </a:r>
          </a:p>
        </p:txBody>
      </p:sp>
      <p:pic>
        <p:nvPicPr>
          <p:cNvPr id="86" name="Picture 85"/>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8494576" y="2456013"/>
            <a:ext cx="355419" cy="355419"/>
          </a:xfrm>
          <a:prstGeom prst="rect">
            <a:avLst/>
          </a:prstGeom>
        </p:spPr>
      </p:pic>
      <p:grpSp>
        <p:nvGrpSpPr>
          <p:cNvPr id="5" name="Group 4"/>
          <p:cNvGrpSpPr/>
          <p:nvPr/>
        </p:nvGrpSpPr>
        <p:grpSpPr>
          <a:xfrm>
            <a:off x="6841775" y="5020987"/>
            <a:ext cx="480901" cy="567578"/>
            <a:chOff x="5441768" y="4979317"/>
            <a:chExt cx="480901" cy="567578"/>
          </a:xfrm>
        </p:grpSpPr>
        <p:sp>
          <p:nvSpPr>
            <p:cNvPr id="77" name="TextBox 76"/>
            <p:cNvSpPr txBox="1"/>
            <p:nvPr/>
          </p:nvSpPr>
          <p:spPr>
            <a:xfrm>
              <a:off x="5441768" y="5393007"/>
              <a:ext cx="480901" cy="153888"/>
            </a:xfrm>
            <a:prstGeom prst="rect">
              <a:avLst/>
            </a:prstGeom>
          </p:spPr>
          <p:txBody>
            <a:bodyPr vert="horz" wrap="none" lIns="0" tIns="0" rIns="0" bIns="0" rtlCol="0" anchor="ctr">
              <a:noAutofit/>
            </a:bodyPr>
            <a:lstStyle/>
            <a:p>
              <a:pPr algn="ctr" defTabSz="1088105">
                <a:defRPr/>
              </a:pPr>
              <a:r>
                <a:rPr lang="en-US" sz="1000" dirty="0">
                  <a:solidFill>
                    <a:prstClr val="white"/>
                  </a:solidFill>
                  <a:latin typeface="Segoe UI Semibold" panose="020B0702040204020203" pitchFamily="34" charset="0"/>
                  <a:ea typeface="Segoe UI" pitchFamily="34" charset="0"/>
                  <a:cs typeface="Segoe UI Semibold" panose="020B0702040204020203" pitchFamily="34" charset="0"/>
                </a:rPr>
                <a:t>Power BI</a:t>
              </a:r>
            </a:p>
          </p:txBody>
        </p:sp>
        <p:pic>
          <p:nvPicPr>
            <p:cNvPr id="78" name="Picture 77"/>
            <p:cNvPicPr>
              <a:picLocks noChangeAspect="1"/>
            </p:cNvPicPr>
            <p:nvPr/>
          </p:nvPicPr>
          <p:blipFill rotWithShape="1">
            <a:blip r:embed="rId11" cstate="print">
              <a:extLst>
                <a:ext uri="{28A0092B-C50C-407E-A947-70E740481C1C}">
                  <a14:useLocalDpi xmlns:a14="http://schemas.microsoft.com/office/drawing/2010/main" val="0"/>
                </a:ext>
              </a:extLst>
            </a:blip>
            <a:srcRect t="-1" r="-9452" b="-4026"/>
            <a:stretch/>
          </p:blipFill>
          <p:spPr>
            <a:xfrm>
              <a:off x="5486820" y="4979317"/>
              <a:ext cx="402362" cy="390473"/>
            </a:xfrm>
            <a:prstGeom prst="rect">
              <a:avLst/>
            </a:prstGeom>
          </p:spPr>
        </p:pic>
      </p:grpSp>
      <p:grpSp>
        <p:nvGrpSpPr>
          <p:cNvPr id="237" name="Group 236"/>
          <p:cNvGrpSpPr/>
          <p:nvPr/>
        </p:nvGrpSpPr>
        <p:grpSpPr>
          <a:xfrm>
            <a:off x="1948138" y="1769012"/>
            <a:ext cx="694501" cy="835236"/>
            <a:chOff x="7754368" y="4570878"/>
            <a:chExt cx="694501" cy="835236"/>
          </a:xfrm>
        </p:grpSpPr>
        <p:sp>
          <p:nvSpPr>
            <p:cNvPr id="238" name="TextBox 237"/>
            <p:cNvSpPr txBox="1"/>
            <p:nvPr/>
          </p:nvSpPr>
          <p:spPr>
            <a:xfrm>
              <a:off x="7754368" y="5252226"/>
              <a:ext cx="694501" cy="153888"/>
            </a:xfrm>
            <a:prstGeom prst="rect">
              <a:avLst/>
            </a:prstGeom>
          </p:spPr>
          <p:txBody>
            <a:bodyPr vert="horz" wrap="square" lIns="0" tIns="0" rIns="0" bIns="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r>
                <a:rPr lang="en-US" dirty="0">
                  <a:solidFill>
                    <a:prstClr val="white"/>
                  </a:solidFill>
                </a:rPr>
                <a:t>CRM Customer Data</a:t>
              </a:r>
            </a:p>
          </p:txBody>
        </p:sp>
        <p:pic>
          <p:nvPicPr>
            <p:cNvPr id="239" name="Picture 238"/>
            <p:cNvPicPr>
              <a:picLocks noChangeAspect="1"/>
            </p:cNvPicPr>
            <p:nvPr/>
          </p:nvPicPr>
          <p:blipFill>
            <a:blip r:embed="rId12"/>
            <a:stretch>
              <a:fillRect/>
            </a:stretch>
          </p:blipFill>
          <p:spPr>
            <a:xfrm>
              <a:off x="7937067" y="4570878"/>
              <a:ext cx="327217" cy="387206"/>
            </a:xfrm>
            <a:prstGeom prst="rect">
              <a:avLst/>
            </a:prstGeom>
          </p:spPr>
        </p:pic>
      </p:grpSp>
      <p:grpSp>
        <p:nvGrpSpPr>
          <p:cNvPr id="240" name="Group 239"/>
          <p:cNvGrpSpPr/>
          <p:nvPr/>
        </p:nvGrpSpPr>
        <p:grpSpPr>
          <a:xfrm>
            <a:off x="726229" y="2501927"/>
            <a:ext cx="776564" cy="688487"/>
            <a:chOff x="8693741" y="4214448"/>
            <a:chExt cx="776564" cy="688487"/>
          </a:xfrm>
        </p:grpSpPr>
        <p:grpSp>
          <p:nvGrpSpPr>
            <p:cNvPr id="241" name="Group 240"/>
            <p:cNvGrpSpPr>
              <a:grpSpLocks noChangeAspect="1"/>
            </p:cNvGrpSpPr>
            <p:nvPr/>
          </p:nvGrpSpPr>
          <p:grpSpPr bwMode="black">
            <a:xfrm>
              <a:off x="8725281" y="4214448"/>
              <a:ext cx="621499" cy="469793"/>
              <a:chOff x="5152725" y="4450437"/>
              <a:chExt cx="311284" cy="235362"/>
            </a:xfrm>
            <a:solidFill>
              <a:srgbClr val="5E83BD"/>
            </a:solidFill>
          </p:grpSpPr>
          <p:sp>
            <p:nvSpPr>
              <p:cNvPr id="243" name="Freeform 168"/>
              <p:cNvSpPr>
                <a:spLocks noEditPoints="1"/>
              </p:cNvSpPr>
              <p:nvPr/>
            </p:nvSpPr>
            <p:spPr bwMode="black">
              <a:xfrm>
                <a:off x="5152725" y="4450437"/>
                <a:ext cx="212585" cy="199299"/>
              </a:xfrm>
              <a:custGeom>
                <a:avLst/>
                <a:gdLst/>
                <a:ahLst/>
                <a:cxnLst>
                  <a:cxn ang="0">
                    <a:pos x="215" y="24"/>
                  </a:cxn>
                  <a:cxn ang="0">
                    <a:pos x="127" y="0"/>
                  </a:cxn>
                  <a:cxn ang="0">
                    <a:pos x="39" y="24"/>
                  </a:cxn>
                  <a:cxn ang="0">
                    <a:pos x="0" y="89"/>
                  </a:cxn>
                  <a:cxn ang="0">
                    <a:pos x="42" y="155"/>
                  </a:cxn>
                  <a:cxn ang="0">
                    <a:pos x="34" y="197"/>
                  </a:cxn>
                  <a:cxn ang="0">
                    <a:pos x="27" y="231"/>
                  </a:cxn>
                  <a:cxn ang="0">
                    <a:pos x="25" y="240"/>
                  </a:cxn>
                  <a:cxn ang="0">
                    <a:pos x="31" y="233"/>
                  </a:cxn>
                  <a:cxn ang="0">
                    <a:pos x="55" y="207"/>
                  </a:cxn>
                  <a:cxn ang="0">
                    <a:pos x="87" y="173"/>
                  </a:cxn>
                  <a:cxn ang="0">
                    <a:pos x="127" y="178"/>
                  </a:cxn>
                  <a:cxn ang="0">
                    <a:pos x="215" y="153"/>
                  </a:cxn>
                  <a:cxn ang="0">
                    <a:pos x="255" y="89"/>
                  </a:cxn>
                  <a:cxn ang="0">
                    <a:pos x="215" y="24"/>
                  </a:cxn>
                  <a:cxn ang="0">
                    <a:pos x="59" y="149"/>
                  </a:cxn>
                  <a:cxn ang="0">
                    <a:pos x="59" y="147"/>
                  </a:cxn>
                  <a:cxn ang="0">
                    <a:pos x="57" y="147"/>
                  </a:cxn>
                  <a:cxn ang="0">
                    <a:pos x="15" y="89"/>
                  </a:cxn>
                  <a:cxn ang="0">
                    <a:pos x="127" y="15"/>
                  </a:cxn>
                  <a:cxn ang="0">
                    <a:pos x="240" y="89"/>
                  </a:cxn>
                  <a:cxn ang="0">
                    <a:pos x="127" y="163"/>
                  </a:cxn>
                  <a:cxn ang="0">
                    <a:pos x="83" y="157"/>
                  </a:cxn>
                  <a:cxn ang="0">
                    <a:pos x="82" y="156"/>
                  </a:cxn>
                  <a:cxn ang="0">
                    <a:pos x="81" y="158"/>
                  </a:cxn>
                  <a:cxn ang="0">
                    <a:pos x="50" y="191"/>
                  </a:cxn>
                  <a:cxn ang="0">
                    <a:pos x="59" y="149"/>
                  </a:cxn>
                </a:cxnLst>
                <a:rect l="0" t="0" r="r" b="b"/>
                <a:pathLst>
                  <a:path w="255" h="240">
                    <a:moveTo>
                      <a:pt x="215" y="24"/>
                    </a:moveTo>
                    <a:cubicBezTo>
                      <a:pt x="192" y="8"/>
                      <a:pt x="160" y="0"/>
                      <a:pt x="127" y="0"/>
                    </a:cubicBezTo>
                    <a:cubicBezTo>
                      <a:pt x="94" y="0"/>
                      <a:pt x="63" y="8"/>
                      <a:pt x="39" y="24"/>
                    </a:cubicBezTo>
                    <a:cubicBezTo>
                      <a:pt x="14" y="41"/>
                      <a:pt x="0" y="64"/>
                      <a:pt x="0" y="89"/>
                    </a:cubicBezTo>
                    <a:cubicBezTo>
                      <a:pt x="0" y="114"/>
                      <a:pt x="15" y="138"/>
                      <a:pt x="42" y="155"/>
                    </a:cubicBezTo>
                    <a:cubicBezTo>
                      <a:pt x="34" y="197"/>
                      <a:pt x="34" y="197"/>
                      <a:pt x="34" y="197"/>
                    </a:cubicBezTo>
                    <a:cubicBezTo>
                      <a:pt x="27" y="231"/>
                      <a:pt x="27" y="231"/>
                      <a:pt x="27" y="231"/>
                    </a:cubicBezTo>
                    <a:cubicBezTo>
                      <a:pt x="25" y="240"/>
                      <a:pt x="25" y="240"/>
                      <a:pt x="25" y="240"/>
                    </a:cubicBezTo>
                    <a:cubicBezTo>
                      <a:pt x="31" y="233"/>
                      <a:pt x="31" y="233"/>
                      <a:pt x="31" y="233"/>
                    </a:cubicBezTo>
                    <a:cubicBezTo>
                      <a:pt x="55" y="207"/>
                      <a:pt x="55" y="207"/>
                      <a:pt x="55" y="207"/>
                    </a:cubicBezTo>
                    <a:cubicBezTo>
                      <a:pt x="87" y="173"/>
                      <a:pt x="87" y="173"/>
                      <a:pt x="87" y="173"/>
                    </a:cubicBezTo>
                    <a:cubicBezTo>
                      <a:pt x="100" y="176"/>
                      <a:pt x="113" y="178"/>
                      <a:pt x="127" y="178"/>
                    </a:cubicBezTo>
                    <a:cubicBezTo>
                      <a:pt x="160" y="178"/>
                      <a:pt x="192" y="169"/>
                      <a:pt x="215" y="153"/>
                    </a:cubicBezTo>
                    <a:cubicBezTo>
                      <a:pt x="241" y="136"/>
                      <a:pt x="255" y="113"/>
                      <a:pt x="255" y="89"/>
                    </a:cubicBezTo>
                    <a:cubicBezTo>
                      <a:pt x="255" y="64"/>
                      <a:pt x="241" y="41"/>
                      <a:pt x="215" y="24"/>
                    </a:cubicBezTo>
                    <a:close/>
                    <a:moveTo>
                      <a:pt x="59" y="149"/>
                    </a:moveTo>
                    <a:cubicBezTo>
                      <a:pt x="59" y="147"/>
                      <a:pt x="59" y="147"/>
                      <a:pt x="59" y="147"/>
                    </a:cubicBezTo>
                    <a:cubicBezTo>
                      <a:pt x="57" y="147"/>
                      <a:pt x="57" y="147"/>
                      <a:pt x="57" y="147"/>
                    </a:cubicBezTo>
                    <a:cubicBezTo>
                      <a:pt x="30" y="132"/>
                      <a:pt x="15" y="111"/>
                      <a:pt x="15" y="89"/>
                    </a:cubicBezTo>
                    <a:cubicBezTo>
                      <a:pt x="15" y="48"/>
                      <a:pt x="65" y="15"/>
                      <a:pt x="127" y="15"/>
                    </a:cubicBezTo>
                    <a:cubicBezTo>
                      <a:pt x="189" y="15"/>
                      <a:pt x="240" y="48"/>
                      <a:pt x="240" y="89"/>
                    </a:cubicBezTo>
                    <a:cubicBezTo>
                      <a:pt x="240" y="129"/>
                      <a:pt x="189" y="163"/>
                      <a:pt x="127" y="163"/>
                    </a:cubicBezTo>
                    <a:cubicBezTo>
                      <a:pt x="112" y="163"/>
                      <a:pt x="97" y="161"/>
                      <a:pt x="83" y="157"/>
                    </a:cubicBezTo>
                    <a:cubicBezTo>
                      <a:pt x="82" y="156"/>
                      <a:pt x="82" y="156"/>
                      <a:pt x="82" y="156"/>
                    </a:cubicBezTo>
                    <a:cubicBezTo>
                      <a:pt x="81" y="158"/>
                      <a:pt x="81" y="158"/>
                      <a:pt x="81" y="158"/>
                    </a:cubicBezTo>
                    <a:cubicBezTo>
                      <a:pt x="50" y="191"/>
                      <a:pt x="50" y="191"/>
                      <a:pt x="50" y="191"/>
                    </a:cubicBezTo>
                    <a:lnTo>
                      <a:pt x="59" y="149"/>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z="1900" spc="-122">
                  <a:solidFill>
                    <a:srgbClr val="FFFFFF">
                      <a:lumMod val="50000"/>
                    </a:srgbClr>
                  </a:solidFill>
                  <a:latin typeface="Segoe Light" pitchFamily="34" charset="0"/>
                </a:endParaRPr>
              </a:p>
            </p:txBody>
          </p:sp>
          <p:sp>
            <p:nvSpPr>
              <p:cNvPr id="244" name="Freeform 169"/>
              <p:cNvSpPr>
                <a:spLocks/>
              </p:cNvSpPr>
              <p:nvPr/>
            </p:nvSpPr>
            <p:spPr bwMode="black">
              <a:xfrm>
                <a:off x="5295080" y="4518768"/>
                <a:ext cx="168929" cy="167031"/>
              </a:xfrm>
              <a:custGeom>
                <a:avLst/>
                <a:gdLst/>
                <a:ahLst/>
                <a:cxnLst>
                  <a:cxn ang="0">
                    <a:pos x="203" y="74"/>
                  </a:cxn>
                  <a:cxn ang="0">
                    <a:pos x="170" y="20"/>
                  </a:cxn>
                  <a:cxn ang="0">
                    <a:pos x="98" y="0"/>
                  </a:cxn>
                  <a:cxn ang="0">
                    <a:pos x="95" y="0"/>
                  </a:cxn>
                  <a:cxn ang="0">
                    <a:pos x="95" y="3"/>
                  </a:cxn>
                  <a:cxn ang="0">
                    <a:pos x="96" y="11"/>
                  </a:cxn>
                  <a:cxn ang="0">
                    <a:pos x="96" y="13"/>
                  </a:cxn>
                  <a:cxn ang="0">
                    <a:pos x="99" y="13"/>
                  </a:cxn>
                  <a:cxn ang="0">
                    <a:pos x="190" y="74"/>
                  </a:cxn>
                  <a:cxn ang="0">
                    <a:pos x="155" y="121"/>
                  </a:cxn>
                  <a:cxn ang="0">
                    <a:pos x="153" y="122"/>
                  </a:cxn>
                  <a:cxn ang="0">
                    <a:pos x="153" y="124"/>
                  </a:cxn>
                  <a:cxn ang="0">
                    <a:pos x="160" y="157"/>
                  </a:cxn>
                  <a:cxn ang="0">
                    <a:pos x="136" y="130"/>
                  </a:cxn>
                  <a:cxn ang="0">
                    <a:pos x="134" y="129"/>
                  </a:cxn>
                  <a:cxn ang="0">
                    <a:pos x="133" y="130"/>
                  </a:cxn>
                  <a:cxn ang="0">
                    <a:pos x="97" y="134"/>
                  </a:cxn>
                  <a:cxn ang="0">
                    <a:pos x="15" y="102"/>
                  </a:cxn>
                  <a:cxn ang="0">
                    <a:pos x="14" y="100"/>
                  </a:cxn>
                  <a:cxn ang="0">
                    <a:pos x="12" y="101"/>
                  </a:cxn>
                  <a:cxn ang="0">
                    <a:pos x="4" y="103"/>
                  </a:cxn>
                  <a:cxn ang="0">
                    <a:pos x="0" y="104"/>
                  </a:cxn>
                  <a:cxn ang="0">
                    <a:pos x="2" y="107"/>
                  </a:cxn>
                  <a:cxn ang="0">
                    <a:pos x="24" y="127"/>
                  </a:cxn>
                  <a:cxn ang="0">
                    <a:pos x="97" y="148"/>
                  </a:cxn>
                  <a:cxn ang="0">
                    <a:pos x="130" y="144"/>
                  </a:cxn>
                  <a:cxn ang="0">
                    <a:pos x="156" y="172"/>
                  </a:cxn>
                  <a:cxn ang="0">
                    <a:pos x="176" y="194"/>
                  </a:cxn>
                  <a:cxn ang="0">
                    <a:pos x="182" y="200"/>
                  </a:cxn>
                  <a:cxn ang="0">
                    <a:pos x="180" y="192"/>
                  </a:cxn>
                  <a:cxn ang="0">
                    <a:pos x="175" y="163"/>
                  </a:cxn>
                  <a:cxn ang="0">
                    <a:pos x="168" y="129"/>
                  </a:cxn>
                  <a:cxn ang="0">
                    <a:pos x="203" y="74"/>
                  </a:cxn>
                </a:cxnLst>
                <a:rect l="0" t="0" r="r" b="b"/>
                <a:pathLst>
                  <a:path w="203" h="200">
                    <a:moveTo>
                      <a:pt x="203" y="74"/>
                    </a:moveTo>
                    <a:cubicBezTo>
                      <a:pt x="203" y="53"/>
                      <a:pt x="191" y="34"/>
                      <a:pt x="170" y="20"/>
                    </a:cubicBezTo>
                    <a:cubicBezTo>
                      <a:pt x="151" y="7"/>
                      <a:pt x="125" y="0"/>
                      <a:pt x="98" y="0"/>
                    </a:cubicBezTo>
                    <a:cubicBezTo>
                      <a:pt x="95" y="0"/>
                      <a:pt x="95" y="0"/>
                      <a:pt x="95" y="0"/>
                    </a:cubicBezTo>
                    <a:cubicBezTo>
                      <a:pt x="95" y="3"/>
                      <a:pt x="95" y="3"/>
                      <a:pt x="95" y="3"/>
                    </a:cubicBezTo>
                    <a:cubicBezTo>
                      <a:pt x="96" y="5"/>
                      <a:pt x="96" y="8"/>
                      <a:pt x="96" y="11"/>
                    </a:cubicBezTo>
                    <a:cubicBezTo>
                      <a:pt x="96" y="13"/>
                      <a:pt x="96" y="13"/>
                      <a:pt x="96" y="13"/>
                    </a:cubicBezTo>
                    <a:cubicBezTo>
                      <a:pt x="99" y="13"/>
                      <a:pt x="99" y="13"/>
                      <a:pt x="99" y="13"/>
                    </a:cubicBezTo>
                    <a:cubicBezTo>
                      <a:pt x="149" y="14"/>
                      <a:pt x="190" y="41"/>
                      <a:pt x="190" y="74"/>
                    </a:cubicBezTo>
                    <a:cubicBezTo>
                      <a:pt x="190" y="92"/>
                      <a:pt x="177" y="110"/>
                      <a:pt x="155" y="121"/>
                    </a:cubicBezTo>
                    <a:cubicBezTo>
                      <a:pt x="153" y="122"/>
                      <a:pt x="153" y="122"/>
                      <a:pt x="153" y="122"/>
                    </a:cubicBezTo>
                    <a:cubicBezTo>
                      <a:pt x="153" y="124"/>
                      <a:pt x="153" y="124"/>
                      <a:pt x="153" y="124"/>
                    </a:cubicBezTo>
                    <a:cubicBezTo>
                      <a:pt x="160" y="157"/>
                      <a:pt x="160" y="157"/>
                      <a:pt x="160" y="157"/>
                    </a:cubicBezTo>
                    <a:cubicBezTo>
                      <a:pt x="136" y="130"/>
                      <a:pt x="136" y="130"/>
                      <a:pt x="136" y="130"/>
                    </a:cubicBezTo>
                    <a:cubicBezTo>
                      <a:pt x="134" y="129"/>
                      <a:pt x="134" y="129"/>
                      <a:pt x="134" y="129"/>
                    </a:cubicBezTo>
                    <a:cubicBezTo>
                      <a:pt x="133" y="130"/>
                      <a:pt x="133" y="130"/>
                      <a:pt x="133" y="130"/>
                    </a:cubicBezTo>
                    <a:cubicBezTo>
                      <a:pt x="122" y="133"/>
                      <a:pt x="109" y="134"/>
                      <a:pt x="97" y="134"/>
                    </a:cubicBezTo>
                    <a:cubicBezTo>
                      <a:pt x="62" y="134"/>
                      <a:pt x="31" y="122"/>
                      <a:pt x="15" y="102"/>
                    </a:cubicBezTo>
                    <a:cubicBezTo>
                      <a:pt x="14" y="100"/>
                      <a:pt x="14" y="100"/>
                      <a:pt x="14" y="100"/>
                    </a:cubicBezTo>
                    <a:cubicBezTo>
                      <a:pt x="12" y="101"/>
                      <a:pt x="12" y="101"/>
                      <a:pt x="12" y="101"/>
                    </a:cubicBezTo>
                    <a:cubicBezTo>
                      <a:pt x="10" y="102"/>
                      <a:pt x="7" y="102"/>
                      <a:pt x="4" y="103"/>
                    </a:cubicBezTo>
                    <a:cubicBezTo>
                      <a:pt x="0" y="104"/>
                      <a:pt x="0" y="104"/>
                      <a:pt x="0" y="104"/>
                    </a:cubicBezTo>
                    <a:cubicBezTo>
                      <a:pt x="2" y="107"/>
                      <a:pt x="2" y="107"/>
                      <a:pt x="2" y="107"/>
                    </a:cubicBezTo>
                    <a:cubicBezTo>
                      <a:pt x="8" y="115"/>
                      <a:pt x="15" y="121"/>
                      <a:pt x="24" y="127"/>
                    </a:cubicBezTo>
                    <a:cubicBezTo>
                      <a:pt x="44" y="141"/>
                      <a:pt x="70" y="148"/>
                      <a:pt x="97" y="148"/>
                    </a:cubicBezTo>
                    <a:cubicBezTo>
                      <a:pt x="108" y="148"/>
                      <a:pt x="119" y="147"/>
                      <a:pt x="130" y="144"/>
                    </a:cubicBezTo>
                    <a:cubicBezTo>
                      <a:pt x="156" y="172"/>
                      <a:pt x="156" y="172"/>
                      <a:pt x="156" y="172"/>
                    </a:cubicBezTo>
                    <a:cubicBezTo>
                      <a:pt x="176" y="194"/>
                      <a:pt x="176" y="194"/>
                      <a:pt x="176" y="194"/>
                    </a:cubicBezTo>
                    <a:cubicBezTo>
                      <a:pt x="182" y="200"/>
                      <a:pt x="182" y="200"/>
                      <a:pt x="182" y="200"/>
                    </a:cubicBezTo>
                    <a:cubicBezTo>
                      <a:pt x="180" y="192"/>
                      <a:pt x="180" y="192"/>
                      <a:pt x="180" y="192"/>
                    </a:cubicBezTo>
                    <a:cubicBezTo>
                      <a:pt x="175" y="163"/>
                      <a:pt x="175" y="163"/>
                      <a:pt x="175" y="163"/>
                    </a:cubicBezTo>
                    <a:cubicBezTo>
                      <a:pt x="168" y="129"/>
                      <a:pt x="168" y="129"/>
                      <a:pt x="168" y="129"/>
                    </a:cubicBezTo>
                    <a:cubicBezTo>
                      <a:pt x="190" y="115"/>
                      <a:pt x="203" y="95"/>
                      <a:pt x="203" y="74"/>
                    </a:cubicBezTo>
                    <a:close/>
                  </a:path>
                </a:pathLst>
              </a:custGeom>
              <a:solidFill>
                <a:schemeClr val="bg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z="1900" spc="-122">
                  <a:solidFill>
                    <a:srgbClr val="FFFFFF">
                      <a:lumMod val="50000"/>
                    </a:srgbClr>
                  </a:solidFill>
                  <a:latin typeface="Segoe Light" pitchFamily="34" charset="0"/>
                </a:endParaRPr>
              </a:p>
            </p:txBody>
          </p:sp>
        </p:grpSp>
        <p:sp>
          <p:nvSpPr>
            <p:cNvPr id="242" name="TextBox 241"/>
            <p:cNvSpPr txBox="1"/>
            <p:nvPr/>
          </p:nvSpPr>
          <p:spPr>
            <a:xfrm>
              <a:off x="8693741" y="4765819"/>
              <a:ext cx="776564" cy="137116"/>
            </a:xfrm>
            <a:prstGeom prst="rect">
              <a:avLst/>
            </a:prstGeom>
          </p:spPr>
          <p:txBody>
            <a:bodyPr vert="horz" wrap="square" lIns="0" tIns="0" rIns="0" bIns="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r>
                <a:rPr lang="en-US" dirty="0">
                  <a:solidFill>
                    <a:prstClr val="white"/>
                  </a:solidFill>
                </a:rPr>
                <a:t>Social Media</a:t>
              </a:r>
            </a:p>
          </p:txBody>
        </p:sp>
      </p:grpSp>
      <p:sp>
        <p:nvSpPr>
          <p:cNvPr id="156" name="Rectangle 155"/>
          <p:cNvSpPr/>
          <p:nvPr/>
        </p:nvSpPr>
        <p:spPr>
          <a:xfrm>
            <a:off x="1007113" y="3714458"/>
            <a:ext cx="3539522" cy="248038"/>
          </a:xfrm>
          <a:prstGeom prst="rect">
            <a:avLst/>
          </a:prstGeom>
          <a:noFill/>
          <a:ln w="6350" cap="flat" cmpd="sng" algn="ctr">
            <a:noFill/>
            <a:prstDash val="solid"/>
          </a:ln>
          <a:effectLst/>
        </p:spPr>
        <p:txBody>
          <a:bodyPr wrap="none" lIns="0" tIns="0" rIns="0" bIns="0" rtlCol="0" anchor="ctr">
            <a:noAutofit/>
          </a:bodyPr>
          <a:lstStyle/>
          <a:p>
            <a:pPr marL="0" lvl="1" algn="ctr" defTabSz="1218106" fontAlgn="base">
              <a:spcBef>
                <a:spcPts val="200"/>
              </a:spcBef>
              <a:buClr>
                <a:srgbClr val="FFFF99"/>
              </a:buClr>
              <a:buSzPct val="90000"/>
              <a:defRPr/>
            </a:pPr>
            <a:r>
              <a:rPr lang="en-US" sz="1600" dirty="0">
                <a:solidFill>
                  <a:schemeClr val="bg2"/>
                </a:solidFill>
                <a:latin typeface="Segoe UI Semibold" panose="020B0702040204020203" pitchFamily="34" charset="0"/>
                <a:ea typeface="Segoe UI" pitchFamily="34" charset="0"/>
                <a:cs typeface="Segoe UI" pitchFamily="34" charset="0"/>
              </a:rPr>
              <a:t>Azure Cloud Data Collection</a:t>
            </a:r>
          </a:p>
        </p:txBody>
      </p:sp>
      <p:sp>
        <p:nvSpPr>
          <p:cNvPr id="174" name="Rectangle 173"/>
          <p:cNvSpPr/>
          <p:nvPr/>
        </p:nvSpPr>
        <p:spPr>
          <a:xfrm>
            <a:off x="7581963" y="3766749"/>
            <a:ext cx="3539522" cy="248038"/>
          </a:xfrm>
          <a:prstGeom prst="rect">
            <a:avLst/>
          </a:prstGeom>
          <a:noFill/>
          <a:ln w="6350" cap="flat" cmpd="sng" algn="ctr">
            <a:noFill/>
            <a:prstDash val="solid"/>
          </a:ln>
          <a:effectLst/>
        </p:spPr>
        <p:txBody>
          <a:bodyPr wrap="none" lIns="0" tIns="0" rIns="0" bIns="0" rtlCol="0" anchor="ctr">
            <a:noAutofit/>
          </a:bodyPr>
          <a:lstStyle/>
          <a:p>
            <a:pPr marL="0" lvl="1" algn="ctr" defTabSz="1218106" fontAlgn="base">
              <a:spcBef>
                <a:spcPts val="200"/>
              </a:spcBef>
              <a:buClr>
                <a:srgbClr val="FFFF99"/>
              </a:buClr>
              <a:buSzPct val="90000"/>
              <a:defRPr/>
            </a:pPr>
            <a:r>
              <a:rPr lang="en-US" sz="1600" dirty="0">
                <a:solidFill>
                  <a:schemeClr val="bg2"/>
                </a:solidFill>
                <a:latin typeface="Segoe UI Semibold" panose="020B0702040204020203" pitchFamily="34" charset="0"/>
                <a:ea typeface="Segoe UI" pitchFamily="34" charset="0"/>
                <a:cs typeface="Segoe UI" pitchFamily="34" charset="0"/>
              </a:rPr>
              <a:t>Azure Cloud Data Processing</a:t>
            </a:r>
          </a:p>
        </p:txBody>
      </p:sp>
      <p:sp>
        <p:nvSpPr>
          <p:cNvPr id="175" name="Rectangle 174"/>
          <p:cNvSpPr/>
          <p:nvPr/>
        </p:nvSpPr>
        <p:spPr>
          <a:xfrm>
            <a:off x="5015668" y="6238295"/>
            <a:ext cx="3539522" cy="248038"/>
          </a:xfrm>
          <a:prstGeom prst="rect">
            <a:avLst/>
          </a:prstGeom>
          <a:noFill/>
          <a:ln w="6350" cap="flat" cmpd="sng" algn="ctr">
            <a:noFill/>
            <a:prstDash val="solid"/>
          </a:ln>
          <a:effectLst/>
        </p:spPr>
        <p:txBody>
          <a:bodyPr wrap="none" lIns="0" tIns="0" rIns="0" bIns="0" rtlCol="0" anchor="ctr">
            <a:noAutofit/>
          </a:bodyPr>
          <a:lstStyle/>
          <a:p>
            <a:pPr marL="0" lvl="1" algn="ctr" defTabSz="1218106" fontAlgn="base">
              <a:spcBef>
                <a:spcPts val="200"/>
              </a:spcBef>
              <a:buClr>
                <a:srgbClr val="FFFF99"/>
              </a:buClr>
              <a:buSzPct val="90000"/>
              <a:defRPr/>
            </a:pPr>
            <a:r>
              <a:rPr lang="en-US" sz="1600" dirty="0">
                <a:solidFill>
                  <a:schemeClr val="bg2"/>
                </a:solidFill>
                <a:latin typeface="Segoe UI Semibold" panose="020B0702040204020203" pitchFamily="34" charset="0"/>
                <a:ea typeface="Segoe UI" pitchFamily="34" charset="0"/>
                <a:cs typeface="Segoe UI" pitchFamily="34" charset="0"/>
              </a:rPr>
              <a:t>Azure Cloud Data Presentation</a:t>
            </a:r>
          </a:p>
        </p:txBody>
      </p:sp>
      <p:pic>
        <p:nvPicPr>
          <p:cNvPr id="8" name="Picture 7"/>
          <p:cNvPicPr>
            <a:picLocks noChangeAspect="1"/>
          </p:cNvPicPr>
          <p:nvPr/>
        </p:nvPicPr>
        <p:blipFill>
          <a:blip r:embed="rId13"/>
          <a:stretch>
            <a:fillRect/>
          </a:stretch>
        </p:blipFill>
        <p:spPr>
          <a:xfrm>
            <a:off x="5977226" y="2019201"/>
            <a:ext cx="406400" cy="392925"/>
          </a:xfrm>
          <a:prstGeom prst="rect">
            <a:avLst/>
          </a:prstGeom>
        </p:spPr>
      </p:pic>
      <p:sp>
        <p:nvSpPr>
          <p:cNvPr id="176" name="TextBox 175"/>
          <p:cNvSpPr txBox="1"/>
          <p:nvPr/>
        </p:nvSpPr>
        <p:spPr>
          <a:xfrm>
            <a:off x="5833176" y="2567241"/>
            <a:ext cx="694501" cy="153888"/>
          </a:xfrm>
          <a:prstGeom prst="rect">
            <a:avLst/>
          </a:prstGeom>
        </p:spPr>
        <p:txBody>
          <a:bodyPr vert="horz" wrap="square" lIns="0" tIns="0" rIns="0" bIns="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r>
              <a:rPr lang="en-US" dirty="0">
                <a:solidFill>
                  <a:schemeClr val="tx2"/>
                </a:solidFill>
              </a:rPr>
              <a:t>Microsoft R Open Client</a:t>
            </a:r>
          </a:p>
        </p:txBody>
      </p:sp>
      <p:pic>
        <p:nvPicPr>
          <p:cNvPr id="177" name="Picture 176"/>
          <p:cNvPicPr>
            <a:picLocks noChangeAspect="1"/>
          </p:cNvPicPr>
          <p:nvPr/>
        </p:nvPicPr>
        <p:blipFill>
          <a:blip r:embed="rId13"/>
          <a:stretch>
            <a:fillRect/>
          </a:stretch>
        </p:blipFill>
        <p:spPr>
          <a:xfrm>
            <a:off x="6019663" y="3040984"/>
            <a:ext cx="406400" cy="392925"/>
          </a:xfrm>
          <a:prstGeom prst="rect">
            <a:avLst/>
          </a:prstGeom>
        </p:spPr>
      </p:pic>
      <p:sp>
        <p:nvSpPr>
          <p:cNvPr id="178" name="TextBox 177"/>
          <p:cNvSpPr txBox="1"/>
          <p:nvPr/>
        </p:nvSpPr>
        <p:spPr>
          <a:xfrm>
            <a:off x="5850149" y="3711804"/>
            <a:ext cx="694501" cy="153888"/>
          </a:xfrm>
          <a:prstGeom prst="rect">
            <a:avLst/>
          </a:prstGeom>
        </p:spPr>
        <p:txBody>
          <a:bodyPr vert="horz" wrap="square" lIns="0" tIns="0" rIns="0" bIns="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r>
              <a:rPr lang="en-US" dirty="0">
                <a:solidFill>
                  <a:schemeClr val="tx2"/>
                </a:solidFill>
              </a:rPr>
              <a:t>Microsoft Power BI Desktop Client</a:t>
            </a:r>
          </a:p>
        </p:txBody>
      </p:sp>
      <p:pic>
        <p:nvPicPr>
          <p:cNvPr id="67590" name="Picture 6" descr="http://www.menioglobal.com/wp-content/uploads/2015/09/Clover-Station.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348700" y="1544451"/>
            <a:ext cx="528491" cy="528491"/>
          </a:xfrm>
          <a:prstGeom prst="rect">
            <a:avLst/>
          </a:prstGeom>
          <a:noFill/>
          <a:extLst>
            <a:ext uri="{909E8E84-426E-40DD-AFC4-6F175D3DCCD1}">
              <a14:hiddenFill xmlns:a14="http://schemas.microsoft.com/office/drawing/2010/main">
                <a:solidFill>
                  <a:srgbClr val="FFFFFF"/>
                </a:solidFill>
              </a14:hiddenFill>
            </a:ext>
          </a:extLst>
        </p:spPr>
      </p:pic>
      <p:sp>
        <p:nvSpPr>
          <p:cNvPr id="181" name="TextBox 180"/>
          <p:cNvSpPr txBox="1"/>
          <p:nvPr/>
        </p:nvSpPr>
        <p:spPr>
          <a:xfrm>
            <a:off x="3257674" y="2042088"/>
            <a:ext cx="694501" cy="153888"/>
          </a:xfrm>
          <a:prstGeom prst="rect">
            <a:avLst/>
          </a:prstGeom>
        </p:spPr>
        <p:txBody>
          <a:bodyPr vert="horz" wrap="square" lIns="0" tIns="0" rIns="0" bIns="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r>
              <a:rPr lang="en-US" dirty="0">
                <a:solidFill>
                  <a:prstClr val="white"/>
                </a:solidFill>
              </a:rPr>
              <a:t>POS Data</a:t>
            </a:r>
          </a:p>
        </p:txBody>
      </p:sp>
      <p:pic>
        <p:nvPicPr>
          <p:cNvPr id="13" name="Picture 12"/>
          <p:cNvPicPr>
            <a:picLocks noChangeAspect="1"/>
          </p:cNvPicPr>
          <p:nvPr/>
        </p:nvPicPr>
        <p:blipFill>
          <a:blip r:embed="rId15"/>
          <a:stretch>
            <a:fillRect/>
          </a:stretch>
        </p:blipFill>
        <p:spPr>
          <a:xfrm>
            <a:off x="4366160" y="2725982"/>
            <a:ext cx="575733" cy="439400"/>
          </a:xfrm>
          <a:prstGeom prst="rect">
            <a:avLst/>
          </a:prstGeom>
          <a:ln>
            <a:solidFill>
              <a:schemeClr val="bg1"/>
            </a:solidFill>
          </a:ln>
        </p:spPr>
      </p:pic>
      <p:sp>
        <p:nvSpPr>
          <p:cNvPr id="182" name="TextBox 181"/>
          <p:cNvSpPr txBox="1"/>
          <p:nvPr/>
        </p:nvSpPr>
        <p:spPr>
          <a:xfrm>
            <a:off x="4198788" y="3183106"/>
            <a:ext cx="925385" cy="307777"/>
          </a:xfrm>
          <a:prstGeom prst="rect">
            <a:avLst/>
          </a:prstGeom>
        </p:spPr>
        <p:txBody>
          <a:bodyPr vert="horz" wrap="square" lIns="0" tIns="0" rIns="0" bIns="0" rtlCol="0" anchor="ctr">
            <a:noAutofit/>
          </a:bodyPr>
          <a:lstStyle>
            <a:defPPr>
              <a:defRPr lang="en-US"/>
            </a:defPPr>
            <a:lvl1pPr algn="ctr" defTabSz="1088105">
              <a:defRPr sz="12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r>
              <a:rPr lang="en-US" sz="1000" dirty="0">
                <a:solidFill>
                  <a:prstClr val="white"/>
                </a:solidFill>
              </a:rPr>
              <a:t>Azure</a:t>
            </a:r>
            <a:br>
              <a:rPr lang="en-US" sz="1000" dirty="0">
                <a:solidFill>
                  <a:prstClr val="white"/>
                </a:solidFill>
              </a:rPr>
            </a:br>
            <a:r>
              <a:rPr lang="en-US" sz="1000" dirty="0">
                <a:solidFill>
                  <a:prstClr val="white"/>
                </a:solidFill>
              </a:rPr>
              <a:t>Data Factory</a:t>
            </a:r>
          </a:p>
        </p:txBody>
      </p:sp>
      <p:pic>
        <p:nvPicPr>
          <p:cNvPr id="183" name="Picture 182"/>
          <p:cNvPicPr>
            <a:picLocks noChangeAspect="1"/>
          </p:cNvPicPr>
          <p:nvPr/>
        </p:nvPicPr>
        <p:blipFill>
          <a:blip r:embed="rId15"/>
          <a:stretch>
            <a:fillRect/>
          </a:stretch>
        </p:blipFill>
        <p:spPr>
          <a:xfrm>
            <a:off x="7571776" y="2757289"/>
            <a:ext cx="575733" cy="439400"/>
          </a:xfrm>
          <a:prstGeom prst="rect">
            <a:avLst/>
          </a:prstGeom>
          <a:ln>
            <a:solidFill>
              <a:schemeClr val="bg1"/>
            </a:solidFill>
          </a:ln>
        </p:spPr>
      </p:pic>
      <p:sp>
        <p:nvSpPr>
          <p:cNvPr id="184" name="TextBox 183"/>
          <p:cNvSpPr txBox="1"/>
          <p:nvPr/>
        </p:nvSpPr>
        <p:spPr>
          <a:xfrm>
            <a:off x="7404404" y="3214413"/>
            <a:ext cx="925385" cy="307777"/>
          </a:xfrm>
          <a:prstGeom prst="rect">
            <a:avLst/>
          </a:prstGeom>
        </p:spPr>
        <p:txBody>
          <a:bodyPr vert="horz" wrap="square" lIns="0" tIns="0" rIns="0" bIns="0" rtlCol="0" anchor="ctr">
            <a:noAutofit/>
          </a:bodyPr>
          <a:lstStyle>
            <a:defPPr>
              <a:defRPr lang="en-US"/>
            </a:defPPr>
            <a:lvl1pPr algn="ctr" defTabSz="1088105">
              <a:defRPr sz="12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r>
              <a:rPr lang="en-US" sz="1000" dirty="0">
                <a:solidFill>
                  <a:prstClr val="white"/>
                </a:solidFill>
              </a:rPr>
              <a:t>Azure</a:t>
            </a:r>
            <a:br>
              <a:rPr lang="en-US" sz="1000" dirty="0">
                <a:solidFill>
                  <a:prstClr val="white"/>
                </a:solidFill>
              </a:rPr>
            </a:br>
            <a:r>
              <a:rPr lang="en-US" sz="1000" dirty="0">
                <a:solidFill>
                  <a:prstClr val="white"/>
                </a:solidFill>
              </a:rPr>
              <a:t>Data Factory</a:t>
            </a:r>
          </a:p>
        </p:txBody>
      </p:sp>
      <p:cxnSp>
        <p:nvCxnSpPr>
          <p:cNvPr id="15" name="Straight Arrow Connector 14"/>
          <p:cNvCxnSpPr>
            <a:stCxn id="13" idx="3"/>
            <a:endCxn id="183" idx="1"/>
          </p:cNvCxnSpPr>
          <p:nvPr/>
        </p:nvCxnSpPr>
        <p:spPr>
          <a:xfrm>
            <a:off x="4941893" y="2945682"/>
            <a:ext cx="2629883" cy="31307"/>
          </a:xfrm>
          <a:prstGeom prst="straightConnector1">
            <a:avLst/>
          </a:prstGeom>
          <a:ln>
            <a:headEnd type="triangle"/>
            <a:tailEnd type="triangle"/>
          </a:ln>
        </p:spPr>
        <p:style>
          <a:lnRef idx="3">
            <a:schemeClr val="accent4"/>
          </a:lnRef>
          <a:fillRef idx="0">
            <a:schemeClr val="accent4"/>
          </a:fillRef>
          <a:effectRef idx="2">
            <a:schemeClr val="accent4"/>
          </a:effectRef>
          <a:fontRef idx="minor">
            <a:schemeClr val="tx1"/>
          </a:fontRef>
        </p:style>
      </p:cxnSp>
      <p:cxnSp>
        <p:nvCxnSpPr>
          <p:cNvPr id="185" name="Straight Arrow Connector 184"/>
          <p:cNvCxnSpPr/>
          <p:nvPr/>
        </p:nvCxnSpPr>
        <p:spPr>
          <a:xfrm flipV="1">
            <a:off x="7404404" y="3711805"/>
            <a:ext cx="462692" cy="757190"/>
          </a:xfrm>
          <a:prstGeom prst="straightConnector1">
            <a:avLst/>
          </a:prstGeom>
          <a:ln>
            <a:headEnd type="triangle"/>
            <a:tailEnd type="triangle"/>
          </a:ln>
        </p:spPr>
        <p:style>
          <a:lnRef idx="3">
            <a:schemeClr val="accent4"/>
          </a:lnRef>
          <a:fillRef idx="0">
            <a:schemeClr val="accent4"/>
          </a:fillRef>
          <a:effectRef idx="2">
            <a:schemeClr val="accent4"/>
          </a:effectRef>
          <a:fontRef idx="minor">
            <a:schemeClr val="tx1"/>
          </a:fontRef>
        </p:style>
      </p:cxnSp>
      <p:pic>
        <p:nvPicPr>
          <p:cNvPr id="18" name="Picture 17"/>
          <p:cNvPicPr>
            <a:picLocks noChangeAspect="1"/>
          </p:cNvPicPr>
          <p:nvPr/>
        </p:nvPicPr>
        <p:blipFill>
          <a:blip r:embed="rId16"/>
          <a:stretch>
            <a:fillRect/>
          </a:stretch>
        </p:blipFill>
        <p:spPr>
          <a:xfrm>
            <a:off x="5333100" y="5515680"/>
            <a:ext cx="388361" cy="406504"/>
          </a:xfrm>
          <a:prstGeom prst="rect">
            <a:avLst/>
          </a:prstGeom>
        </p:spPr>
      </p:pic>
      <p:grpSp>
        <p:nvGrpSpPr>
          <p:cNvPr id="186" name="Group 185"/>
          <p:cNvGrpSpPr/>
          <p:nvPr/>
        </p:nvGrpSpPr>
        <p:grpSpPr>
          <a:xfrm>
            <a:off x="1966279" y="5056847"/>
            <a:ext cx="2040623" cy="1196958"/>
            <a:chOff x="4700356" y="1726494"/>
            <a:chExt cx="2739376" cy="1546702"/>
          </a:xfrm>
        </p:grpSpPr>
        <p:sp>
          <p:nvSpPr>
            <p:cNvPr id="194" name="Rectangle 193"/>
            <p:cNvSpPr/>
            <p:nvPr/>
          </p:nvSpPr>
          <p:spPr>
            <a:xfrm>
              <a:off x="4700356" y="2955031"/>
              <a:ext cx="2739376" cy="318165"/>
            </a:xfrm>
            <a:prstGeom prst="rect">
              <a:avLst/>
            </a:prstGeom>
            <a:noFill/>
            <a:ln w="6350" cap="flat" cmpd="sng" algn="ctr">
              <a:noFill/>
              <a:prstDash val="solid"/>
            </a:ln>
            <a:effectLst/>
          </p:spPr>
          <p:txBody>
            <a:bodyPr wrap="none" lIns="0" tIns="0" rIns="0" bIns="0" rtlCol="0" anchor="ctr">
              <a:noAutofit/>
            </a:bodyPr>
            <a:lstStyle/>
            <a:p>
              <a:pPr marL="0" lvl="1" algn="ctr" defTabSz="1218106" fontAlgn="base">
                <a:spcBef>
                  <a:spcPts val="200"/>
                </a:spcBef>
                <a:buClr>
                  <a:srgbClr val="FFFF99"/>
                </a:buClr>
                <a:buSzPct val="90000"/>
                <a:defRPr/>
              </a:pPr>
              <a:r>
                <a:rPr lang="en-US" sz="1600" dirty="0">
                  <a:solidFill>
                    <a:srgbClr val="0072C6"/>
                  </a:solidFill>
                  <a:latin typeface="Segoe UI Semibold" panose="020B0702040204020203" pitchFamily="34" charset="0"/>
                  <a:ea typeface="Segoe UI" pitchFamily="34" charset="0"/>
                  <a:cs typeface="Segoe UI" pitchFamily="34" charset="0"/>
                </a:rPr>
                <a:t>Demographic </a:t>
              </a:r>
              <a:br>
                <a:rPr lang="en-US" sz="1600" dirty="0">
                  <a:solidFill>
                    <a:srgbClr val="0072C6"/>
                  </a:solidFill>
                  <a:latin typeface="Segoe UI Semibold" panose="020B0702040204020203" pitchFamily="34" charset="0"/>
                  <a:ea typeface="Segoe UI" pitchFamily="34" charset="0"/>
                  <a:cs typeface="Segoe UI" pitchFamily="34" charset="0"/>
                </a:rPr>
              </a:br>
              <a:r>
                <a:rPr lang="en-US" sz="1600" dirty="0">
                  <a:solidFill>
                    <a:srgbClr val="0072C6"/>
                  </a:solidFill>
                  <a:latin typeface="Segoe UI Semibold" panose="020B0702040204020203" pitchFamily="34" charset="0"/>
                  <a:ea typeface="Segoe UI" pitchFamily="34" charset="0"/>
                  <a:cs typeface="Segoe UI" pitchFamily="34" charset="0"/>
                </a:rPr>
                <a:t>Insights</a:t>
              </a:r>
            </a:p>
          </p:txBody>
        </p:sp>
        <p:grpSp>
          <p:nvGrpSpPr>
            <p:cNvPr id="195" name="Group 194"/>
            <p:cNvGrpSpPr/>
            <p:nvPr/>
          </p:nvGrpSpPr>
          <p:grpSpPr>
            <a:xfrm>
              <a:off x="5248288" y="1726494"/>
              <a:ext cx="1765162" cy="1097722"/>
              <a:chOff x="5052739" y="1973963"/>
              <a:chExt cx="2140012" cy="1356468"/>
            </a:xfrm>
          </p:grpSpPr>
          <p:grpSp>
            <p:nvGrpSpPr>
              <p:cNvPr id="196" name="Group 195"/>
              <p:cNvGrpSpPr/>
              <p:nvPr/>
            </p:nvGrpSpPr>
            <p:grpSpPr>
              <a:xfrm>
                <a:off x="5525547" y="2031814"/>
                <a:ext cx="1159335" cy="1143828"/>
                <a:chOff x="6134873" y="1906158"/>
                <a:chExt cx="635117" cy="626622"/>
              </a:xfrm>
            </p:grpSpPr>
            <p:sp>
              <p:nvSpPr>
                <p:cNvPr id="203" name="Freeform 35"/>
                <p:cNvSpPr>
                  <a:spLocks noChangeAspect="1"/>
                </p:cNvSpPr>
                <p:nvPr/>
              </p:nvSpPr>
              <p:spPr bwMode="auto">
                <a:xfrm>
                  <a:off x="6134873" y="1906158"/>
                  <a:ext cx="635117" cy="626622"/>
                </a:xfrm>
                <a:custGeom>
                  <a:avLst/>
                  <a:gdLst/>
                  <a:ahLst/>
                  <a:cxnLst/>
                  <a:rect l="l" t="t" r="r" b="b"/>
                  <a:pathLst>
                    <a:path w="4302474" h="4244921">
                      <a:moveTo>
                        <a:pt x="662474" y="3031306"/>
                      </a:moveTo>
                      <a:lnTo>
                        <a:pt x="1339698" y="3086511"/>
                      </a:lnTo>
                      <a:lnTo>
                        <a:pt x="1189316" y="3212867"/>
                      </a:lnTo>
                      <a:cubicBezTo>
                        <a:pt x="1361738" y="3339494"/>
                        <a:pt x="1899676" y="3610086"/>
                        <a:pt x="2421111" y="3521876"/>
                      </a:cubicBezTo>
                      <a:lnTo>
                        <a:pt x="2206882" y="3794685"/>
                      </a:lnTo>
                      <a:lnTo>
                        <a:pt x="2512604" y="4104137"/>
                      </a:lnTo>
                      <a:cubicBezTo>
                        <a:pt x="1778146" y="4225364"/>
                        <a:pt x="1188060" y="3987486"/>
                        <a:pt x="709988" y="3532493"/>
                      </a:cubicBezTo>
                      <a:lnTo>
                        <a:pt x="551662" y="3684753"/>
                      </a:lnTo>
                      <a:close/>
                      <a:moveTo>
                        <a:pt x="3525512" y="2472932"/>
                      </a:moveTo>
                      <a:lnTo>
                        <a:pt x="3736350" y="2855417"/>
                      </a:lnTo>
                      <a:lnTo>
                        <a:pt x="4067130" y="2735505"/>
                      </a:lnTo>
                      <a:cubicBezTo>
                        <a:pt x="3910343" y="3276383"/>
                        <a:pt x="3434822" y="3814468"/>
                        <a:pt x="2761327" y="4046261"/>
                      </a:cubicBezTo>
                      <a:lnTo>
                        <a:pt x="2775115" y="4244921"/>
                      </a:lnTo>
                      <a:lnTo>
                        <a:pt x="2336714" y="3800527"/>
                      </a:lnTo>
                      <a:lnTo>
                        <a:pt x="2699735" y="3292318"/>
                      </a:lnTo>
                      <a:lnTo>
                        <a:pt x="2716265" y="3448052"/>
                      </a:lnTo>
                      <a:cubicBezTo>
                        <a:pt x="2913217" y="3364543"/>
                        <a:pt x="3450254" y="3000009"/>
                        <a:pt x="3525512" y="2472932"/>
                      </a:cubicBezTo>
                      <a:close/>
                      <a:moveTo>
                        <a:pt x="647776" y="1318635"/>
                      </a:moveTo>
                      <a:lnTo>
                        <a:pt x="912024" y="1889568"/>
                      </a:lnTo>
                      <a:lnTo>
                        <a:pt x="724354" y="1824308"/>
                      </a:lnTo>
                      <a:cubicBezTo>
                        <a:pt x="680520" y="2033694"/>
                        <a:pt x="670035" y="2536527"/>
                        <a:pt x="988263" y="2969836"/>
                      </a:cubicBezTo>
                      <a:lnTo>
                        <a:pt x="578667" y="2940790"/>
                      </a:lnTo>
                      <a:lnTo>
                        <a:pt x="519757" y="3323386"/>
                      </a:lnTo>
                      <a:cubicBezTo>
                        <a:pt x="142529" y="2837302"/>
                        <a:pt x="74113" y="2104852"/>
                        <a:pt x="196686" y="1642899"/>
                      </a:cubicBezTo>
                      <a:lnTo>
                        <a:pt x="0" y="1594841"/>
                      </a:lnTo>
                      <a:close/>
                      <a:moveTo>
                        <a:pt x="3620260" y="730478"/>
                      </a:moveTo>
                      <a:cubicBezTo>
                        <a:pt x="4033733" y="1098029"/>
                        <a:pt x="4275138" y="1844086"/>
                        <a:pt x="4120540" y="2491437"/>
                      </a:cubicBezTo>
                      <a:lnTo>
                        <a:pt x="4302474" y="2563960"/>
                      </a:lnTo>
                      <a:lnTo>
                        <a:pt x="3798677" y="2749109"/>
                      </a:lnTo>
                      <a:lnTo>
                        <a:pt x="3472387" y="2208919"/>
                      </a:lnTo>
                      <a:lnTo>
                        <a:pt x="3585155" y="2254985"/>
                      </a:lnTo>
                      <a:cubicBezTo>
                        <a:pt x="3611001" y="1852129"/>
                        <a:pt x="3432844" y="1328610"/>
                        <a:pt x="3114005" y="1104075"/>
                      </a:cubicBezTo>
                      <a:lnTo>
                        <a:pt x="3585698" y="1050994"/>
                      </a:lnTo>
                      <a:close/>
                      <a:moveTo>
                        <a:pt x="1892533" y="133349"/>
                      </a:moveTo>
                      <a:cubicBezTo>
                        <a:pt x="2384988" y="60439"/>
                        <a:pt x="2955319" y="178992"/>
                        <a:pt x="3438386" y="560947"/>
                      </a:cubicBezTo>
                      <a:lnTo>
                        <a:pt x="3550393" y="467694"/>
                      </a:lnTo>
                      <a:lnTo>
                        <a:pt x="3502246" y="970368"/>
                      </a:lnTo>
                      <a:cubicBezTo>
                        <a:pt x="3271583" y="1000546"/>
                        <a:pt x="3040920" y="1015483"/>
                        <a:pt x="2810256" y="1038041"/>
                      </a:cubicBezTo>
                      <a:lnTo>
                        <a:pt x="2933313" y="934789"/>
                      </a:lnTo>
                      <a:cubicBezTo>
                        <a:pt x="2656424" y="758977"/>
                        <a:pt x="2363689" y="669355"/>
                        <a:pt x="1969181" y="705095"/>
                      </a:cubicBezTo>
                      <a:lnTo>
                        <a:pt x="2154737" y="335131"/>
                      </a:lnTo>
                      <a:close/>
                      <a:moveTo>
                        <a:pt x="1460851" y="0"/>
                      </a:moveTo>
                      <a:cubicBezTo>
                        <a:pt x="1609533" y="83809"/>
                        <a:pt x="1867446" y="214583"/>
                        <a:pt x="2054478" y="354019"/>
                      </a:cubicBezTo>
                      <a:lnTo>
                        <a:pt x="1741070" y="954311"/>
                      </a:lnTo>
                      <a:lnTo>
                        <a:pt x="1656922" y="757789"/>
                      </a:lnTo>
                      <a:cubicBezTo>
                        <a:pt x="1340856" y="892862"/>
                        <a:pt x="931601" y="1317770"/>
                        <a:pt x="856671" y="1587702"/>
                      </a:cubicBezTo>
                      <a:lnTo>
                        <a:pt x="694928" y="1212887"/>
                      </a:lnTo>
                      <a:lnTo>
                        <a:pt x="269556" y="1396576"/>
                      </a:lnTo>
                      <a:cubicBezTo>
                        <a:pt x="520909" y="684763"/>
                        <a:pt x="1206237" y="294700"/>
                        <a:pt x="1528653" y="200296"/>
                      </a:cubicBezTo>
                      <a:close/>
                    </a:path>
                  </a:pathLst>
                </a:custGeom>
                <a:solidFill>
                  <a:schemeClr val="bg1">
                    <a:lumMod val="50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eaLnBrk="0" fontAlgn="base" hangingPunct="0">
                    <a:spcBef>
                      <a:spcPct val="0"/>
                    </a:spcBef>
                    <a:spcAft>
                      <a:spcPct val="0"/>
                    </a:spcAft>
                  </a:pPr>
                  <a:endParaRPr lang="en-US">
                    <a:solidFill>
                      <a:srgbClr val="505050"/>
                    </a:solidFill>
                    <a:latin typeface="Arial" charset="0"/>
                  </a:endParaRPr>
                </a:p>
              </p:txBody>
            </p:sp>
            <p:sp>
              <p:nvSpPr>
                <p:cNvPr id="204" name="Trapezoid 3"/>
                <p:cNvSpPr/>
                <p:nvPr/>
              </p:nvSpPr>
              <p:spPr>
                <a:xfrm>
                  <a:off x="6397062" y="2049127"/>
                  <a:ext cx="185674" cy="338939"/>
                </a:xfrm>
                <a:custGeom>
                  <a:avLst/>
                  <a:gdLst>
                    <a:gd name="connsiteX0" fmla="*/ 2052754 w 6499195"/>
                    <a:gd name="connsiteY0" fmla="*/ 2902312 h 3498714"/>
                    <a:gd name="connsiteX1" fmla="*/ 4707054 w 6499195"/>
                    <a:gd name="connsiteY1" fmla="*/ 2902312 h 3498714"/>
                    <a:gd name="connsiteX2" fmla="*/ 4818179 w 6499195"/>
                    <a:gd name="connsiteY2" fmla="*/ 3013437 h 3498714"/>
                    <a:gd name="connsiteX3" fmla="*/ 4707054 w 6499195"/>
                    <a:gd name="connsiteY3" fmla="*/ 3124562 h 3498714"/>
                    <a:gd name="connsiteX4" fmla="*/ 4545125 w 6499195"/>
                    <a:gd name="connsiteY4" fmla="*/ 3124562 h 3498714"/>
                    <a:gd name="connsiteX5" fmla="*/ 4545125 w 6499195"/>
                    <a:gd name="connsiteY5" fmla="*/ 3361625 h 3498714"/>
                    <a:gd name="connsiteX6" fmla="*/ 4436113 w 6499195"/>
                    <a:gd name="connsiteY6" fmla="*/ 3470637 h 3498714"/>
                    <a:gd name="connsiteX7" fmla="*/ 4235039 w 6499195"/>
                    <a:gd name="connsiteY7" fmla="*/ 3470637 h 3498714"/>
                    <a:gd name="connsiteX8" fmla="*/ 4126027 w 6499195"/>
                    <a:gd name="connsiteY8" fmla="*/ 3361625 h 3498714"/>
                    <a:gd name="connsiteX9" fmla="*/ 4126027 w 6499195"/>
                    <a:gd name="connsiteY9" fmla="*/ 3124562 h 3498714"/>
                    <a:gd name="connsiteX10" fmla="*/ 2589325 w 6499195"/>
                    <a:gd name="connsiteY10" fmla="*/ 3124562 h 3498714"/>
                    <a:gd name="connsiteX11" fmla="*/ 2589325 w 6499195"/>
                    <a:gd name="connsiteY11" fmla="*/ 3361625 h 3498714"/>
                    <a:gd name="connsiteX12" fmla="*/ 2480313 w 6499195"/>
                    <a:gd name="connsiteY12" fmla="*/ 3470637 h 3498714"/>
                    <a:gd name="connsiteX13" fmla="*/ 2279239 w 6499195"/>
                    <a:gd name="connsiteY13" fmla="*/ 3470637 h 3498714"/>
                    <a:gd name="connsiteX14" fmla="*/ 2170227 w 6499195"/>
                    <a:gd name="connsiteY14" fmla="*/ 3361625 h 3498714"/>
                    <a:gd name="connsiteX15" fmla="*/ 2170227 w 6499195"/>
                    <a:gd name="connsiteY15" fmla="*/ 3124562 h 3498714"/>
                    <a:gd name="connsiteX16" fmla="*/ 2052754 w 6499195"/>
                    <a:gd name="connsiteY16" fmla="*/ 3124562 h 3498714"/>
                    <a:gd name="connsiteX17" fmla="*/ 1941629 w 6499195"/>
                    <a:gd name="connsiteY17" fmla="*/ 3013437 h 3498714"/>
                    <a:gd name="connsiteX18" fmla="*/ 2052754 w 6499195"/>
                    <a:gd name="connsiteY18" fmla="*/ 2902312 h 3498714"/>
                    <a:gd name="connsiteX19" fmla="*/ 4492583 w 6499195"/>
                    <a:gd name="connsiteY19" fmla="*/ 2089512 h 3498714"/>
                    <a:gd name="connsiteX20" fmla="*/ 4311608 w 6499195"/>
                    <a:gd name="connsiteY20" fmla="*/ 2270487 h 3498714"/>
                    <a:gd name="connsiteX21" fmla="*/ 4492583 w 6499195"/>
                    <a:gd name="connsiteY21" fmla="*/ 2451462 h 3498714"/>
                    <a:gd name="connsiteX22" fmla="*/ 6498753 w 6499195"/>
                    <a:gd name="connsiteY22" fmla="*/ 2404799 h 3498714"/>
                    <a:gd name="connsiteX23" fmla="*/ 4673558 w 6499195"/>
                    <a:gd name="connsiteY23" fmla="*/ 2270487 h 3498714"/>
                    <a:gd name="connsiteX24" fmla="*/ 4492583 w 6499195"/>
                    <a:gd name="connsiteY24" fmla="*/ 2089512 h 3498714"/>
                    <a:gd name="connsiteX25" fmla="*/ 2979061 w 6499195"/>
                    <a:gd name="connsiteY25" fmla="*/ 2089512 h 3498714"/>
                    <a:gd name="connsiteX26" fmla="*/ 2671086 w 6499195"/>
                    <a:gd name="connsiteY26" fmla="*/ 2397487 h 3498714"/>
                    <a:gd name="connsiteX27" fmla="*/ 2671086 w 6499195"/>
                    <a:gd name="connsiteY27" fmla="*/ 2584811 h 3498714"/>
                    <a:gd name="connsiteX28" fmla="*/ 4083961 w 6499195"/>
                    <a:gd name="connsiteY28" fmla="*/ 2584811 h 3498714"/>
                    <a:gd name="connsiteX29" fmla="*/ 4083961 w 6499195"/>
                    <a:gd name="connsiteY29" fmla="*/ 2397487 h 3498714"/>
                    <a:gd name="connsiteX30" fmla="*/ 3775986 w 6499195"/>
                    <a:gd name="connsiteY30" fmla="*/ 2089512 h 3498714"/>
                    <a:gd name="connsiteX31" fmla="*/ 2979061 w 6499195"/>
                    <a:gd name="connsiteY31" fmla="*/ 2089512 h 3498714"/>
                    <a:gd name="connsiteX32" fmla="*/ 2251033 w 6499195"/>
                    <a:gd name="connsiteY32" fmla="*/ 2089512 h 3498714"/>
                    <a:gd name="connsiteX33" fmla="*/ 2070058 w 6499195"/>
                    <a:gd name="connsiteY33" fmla="*/ 2270487 h 3498714"/>
                    <a:gd name="connsiteX34" fmla="*/ 2251033 w 6499195"/>
                    <a:gd name="connsiteY34" fmla="*/ 2451462 h 3498714"/>
                    <a:gd name="connsiteX35" fmla="*/ 2432008 w 6499195"/>
                    <a:gd name="connsiteY35" fmla="*/ 2270487 h 3498714"/>
                    <a:gd name="connsiteX36" fmla="*/ 2251033 w 6499195"/>
                    <a:gd name="connsiteY36" fmla="*/ 2089512 h 3498714"/>
                    <a:gd name="connsiteX37" fmla="*/ 2651061 w 6499195"/>
                    <a:gd name="connsiteY37" fmla="*/ 1167548 h 3498714"/>
                    <a:gd name="connsiteX38" fmla="*/ 2392797 w 6499195"/>
                    <a:gd name="connsiteY38" fmla="*/ 1878907 h 3498714"/>
                    <a:gd name="connsiteX39" fmla="*/ 2478781 w 6499195"/>
                    <a:gd name="connsiteY39" fmla="*/ 1920808 h 3498714"/>
                    <a:gd name="connsiteX40" fmla="*/ 2842751 w 6499195"/>
                    <a:gd name="connsiteY40" fmla="*/ 1749356 h 3498714"/>
                    <a:gd name="connsiteX41" fmla="*/ 3912296 w 6499195"/>
                    <a:gd name="connsiteY41" fmla="*/ 1749356 h 3498714"/>
                    <a:gd name="connsiteX42" fmla="*/ 4277738 w 6499195"/>
                    <a:gd name="connsiteY42" fmla="*/ 1922593 h 3498714"/>
                    <a:gd name="connsiteX43" fmla="*/ 4370569 w 6499195"/>
                    <a:gd name="connsiteY43" fmla="*/ 1877441 h 3498714"/>
                    <a:gd name="connsiteX44" fmla="*/ 4112835 w 6499195"/>
                    <a:gd name="connsiteY44" fmla="*/ 1167548 h 3498714"/>
                    <a:gd name="connsiteX45" fmla="*/ 2651061 w 6499195"/>
                    <a:gd name="connsiteY45" fmla="*/ 1167548 h 3498714"/>
                    <a:gd name="connsiteX46" fmla="*/ 2534724 w 6499195"/>
                    <a:gd name="connsiteY46" fmla="*/ 982297 h 3498714"/>
                    <a:gd name="connsiteX47" fmla="*/ 4229172 w 6499195"/>
                    <a:gd name="connsiteY47" fmla="*/ 982297 h 3498714"/>
                    <a:gd name="connsiteX48" fmla="*/ 4546612 w 6499195"/>
                    <a:gd name="connsiteY48" fmla="*/ 1856643 h 3498714"/>
                    <a:gd name="connsiteX49" fmla="*/ 4936448 w 6499195"/>
                    <a:gd name="connsiteY49" fmla="*/ 2279217 h 3498714"/>
                    <a:gd name="connsiteX50" fmla="*/ 4802103 w 6499195"/>
                    <a:gd name="connsiteY50" fmla="*/ 2588456 h 3498714"/>
                    <a:gd name="connsiteX51" fmla="*/ 4904699 w 6499195"/>
                    <a:gd name="connsiteY51" fmla="*/ 2705462 h 3498714"/>
                    <a:gd name="connsiteX52" fmla="*/ 4904698 w 6499195"/>
                    <a:gd name="connsiteY52" fmla="*/ 2705462 h 3498714"/>
                    <a:gd name="connsiteX53" fmla="*/ 4784047 w 6499195"/>
                    <a:gd name="connsiteY53" fmla="*/ 2826113 h 3498714"/>
                    <a:gd name="connsiteX54" fmla="*/ 1970999 w 6499195"/>
                    <a:gd name="connsiteY54" fmla="*/ 2826112 h 3498714"/>
                    <a:gd name="connsiteX55" fmla="*/ 1850348 w 6499195"/>
                    <a:gd name="connsiteY55" fmla="*/ 2705462 h 3498714"/>
                    <a:gd name="connsiteX56" fmla="*/ 1956769 w 6499195"/>
                    <a:gd name="connsiteY56" fmla="*/ 2587684 h 3498714"/>
                    <a:gd name="connsiteX57" fmla="*/ 1823360 w 6499195"/>
                    <a:gd name="connsiteY57" fmla="*/ 2279217 h 3498714"/>
                    <a:gd name="connsiteX58" fmla="*/ 2217440 w 6499195"/>
                    <a:gd name="connsiteY58" fmla="*/ 1856216 h 3498714"/>
                    <a:gd name="connsiteX59" fmla="*/ 2534724 w 6499195"/>
                    <a:gd name="connsiteY59" fmla="*/ 982297 h 3498714"/>
                    <a:gd name="connsiteX60" fmla="*/ 358791 w 6499195"/>
                    <a:gd name="connsiteY60" fmla="*/ 644545 h 3498714"/>
                    <a:gd name="connsiteX61" fmla="*/ 1006774 w 6499195"/>
                    <a:gd name="connsiteY61" fmla="*/ 644545 h 3498714"/>
                    <a:gd name="connsiteX62" fmla="*/ 1542636 w 6499195"/>
                    <a:gd name="connsiteY62" fmla="*/ 1193969 h 3498714"/>
                    <a:gd name="connsiteX63" fmla="*/ 1929878 w 6499195"/>
                    <a:gd name="connsiteY63" fmla="*/ 1193970 h 3498714"/>
                    <a:gd name="connsiteX64" fmla="*/ 2070059 w 6499195"/>
                    <a:gd name="connsiteY64" fmla="*/ 1334152 h 3498714"/>
                    <a:gd name="connsiteX65" fmla="*/ 1929878 w 6499195"/>
                    <a:gd name="connsiteY65" fmla="*/ 1474333 h 3498714"/>
                    <a:gd name="connsiteX66" fmla="*/ 1520943 w 6499195"/>
                    <a:gd name="connsiteY66" fmla="*/ 1470388 h 3498714"/>
                    <a:gd name="connsiteX67" fmla="*/ 1332825 w 6499195"/>
                    <a:gd name="connsiteY67" fmla="*/ 1367201 h 3498714"/>
                    <a:gd name="connsiteX68" fmla="*/ 1106501 w 6499195"/>
                    <a:gd name="connsiteY68" fmla="*/ 1098289 h 3498714"/>
                    <a:gd name="connsiteX69" fmla="*/ 1101049 w 6499195"/>
                    <a:gd name="connsiteY69" fmla="*/ 1092836 h 3498714"/>
                    <a:gd name="connsiteX70" fmla="*/ 1046523 w 6499195"/>
                    <a:gd name="connsiteY70" fmla="*/ 1092836 h 3498714"/>
                    <a:gd name="connsiteX71" fmla="*/ 1041071 w 6499195"/>
                    <a:gd name="connsiteY71" fmla="*/ 1098289 h 3498714"/>
                    <a:gd name="connsiteX72" fmla="*/ 1042136 w 6499195"/>
                    <a:gd name="connsiteY72" fmla="*/ 1419754 h 3498714"/>
                    <a:gd name="connsiteX73" fmla="*/ 1042136 w 6499195"/>
                    <a:gd name="connsiteY73" fmla="*/ 3337652 h 3498714"/>
                    <a:gd name="connsiteX74" fmla="*/ 881075 w 6499195"/>
                    <a:gd name="connsiteY74" fmla="*/ 3498714 h 3498714"/>
                    <a:gd name="connsiteX75" fmla="*/ 720012 w 6499195"/>
                    <a:gd name="connsiteY75" fmla="*/ 3337652 h 3498714"/>
                    <a:gd name="connsiteX76" fmla="*/ 720012 w 6499195"/>
                    <a:gd name="connsiteY76" fmla="*/ 2125717 h 3498714"/>
                    <a:gd name="connsiteX77" fmla="*/ 718947 w 6499195"/>
                    <a:gd name="connsiteY77" fmla="*/ 2033194 h 3498714"/>
                    <a:gd name="connsiteX78" fmla="*/ 714162 w 6499195"/>
                    <a:gd name="connsiteY78" fmla="*/ 2028410 h 3498714"/>
                    <a:gd name="connsiteX79" fmla="*/ 654759 w 6499195"/>
                    <a:gd name="connsiteY79" fmla="*/ 2028410 h 3498714"/>
                    <a:gd name="connsiteX80" fmla="*/ 649974 w 6499195"/>
                    <a:gd name="connsiteY80" fmla="*/ 2033194 h 3498714"/>
                    <a:gd name="connsiteX81" fmla="*/ 649974 w 6499195"/>
                    <a:gd name="connsiteY81" fmla="*/ 2125717 h 3498714"/>
                    <a:gd name="connsiteX82" fmla="*/ 649574 w 6499195"/>
                    <a:gd name="connsiteY82" fmla="*/ 3337652 h 3498714"/>
                    <a:gd name="connsiteX83" fmla="*/ 488511 w 6499195"/>
                    <a:gd name="connsiteY83" fmla="*/ 3498714 h 3498714"/>
                    <a:gd name="connsiteX84" fmla="*/ 327450 w 6499195"/>
                    <a:gd name="connsiteY84" fmla="*/ 3337652 h 3498714"/>
                    <a:gd name="connsiteX85" fmla="*/ 327450 w 6499195"/>
                    <a:gd name="connsiteY85" fmla="*/ 1458216 h 3498714"/>
                    <a:gd name="connsiteX86" fmla="*/ 322427 w 6499195"/>
                    <a:gd name="connsiteY86" fmla="*/ 1098205 h 3498714"/>
                    <a:gd name="connsiteX87" fmla="*/ 317058 w 6499195"/>
                    <a:gd name="connsiteY87" fmla="*/ 1092836 h 3498714"/>
                    <a:gd name="connsiteX88" fmla="*/ 263371 w 6499195"/>
                    <a:gd name="connsiteY88" fmla="*/ 1092836 h 3498714"/>
                    <a:gd name="connsiteX89" fmla="*/ 258001 w 6499195"/>
                    <a:gd name="connsiteY89" fmla="*/ 1098205 h 3498714"/>
                    <a:gd name="connsiteX90" fmla="*/ 258001 w 6499195"/>
                    <a:gd name="connsiteY90" fmla="*/ 1444446 h 3498714"/>
                    <a:gd name="connsiteX91" fmla="*/ 257700 w 6499195"/>
                    <a:gd name="connsiteY91" fmla="*/ 1444370 h 3498714"/>
                    <a:gd name="connsiteX92" fmla="*/ 257700 w 6499195"/>
                    <a:gd name="connsiteY92" fmla="*/ 1912573 h 3498714"/>
                    <a:gd name="connsiteX93" fmla="*/ 128850 w 6499195"/>
                    <a:gd name="connsiteY93" fmla="*/ 2041423 h 3498714"/>
                    <a:gd name="connsiteX94" fmla="*/ 0 w 6499195"/>
                    <a:gd name="connsiteY94" fmla="*/ 1912573 h 3498714"/>
                    <a:gd name="connsiteX95" fmla="*/ 0 w 6499195"/>
                    <a:gd name="connsiteY95" fmla="*/ 1101802 h 3498714"/>
                    <a:gd name="connsiteX96" fmla="*/ 0 w 6499195"/>
                    <a:gd name="connsiteY96" fmla="*/ 1003338 h 3498714"/>
                    <a:gd name="connsiteX97" fmla="*/ 0 w 6499195"/>
                    <a:gd name="connsiteY97" fmla="*/ 982486 h 3498714"/>
                    <a:gd name="connsiteX98" fmla="*/ 12733 w 6499195"/>
                    <a:gd name="connsiteY98" fmla="*/ 894663 h 3498714"/>
                    <a:gd name="connsiteX99" fmla="*/ 20539 w 6499195"/>
                    <a:gd name="connsiteY99" fmla="*/ 868773 h 3498714"/>
                    <a:gd name="connsiteX100" fmla="*/ 358791 w 6499195"/>
                    <a:gd name="connsiteY100" fmla="*/ 644545 h 3498714"/>
                    <a:gd name="connsiteX101" fmla="*/ 682782 w 6499195"/>
                    <a:gd name="connsiteY101" fmla="*/ 0 h 3498714"/>
                    <a:gd name="connsiteX102" fmla="*/ 966919 w 6499195"/>
                    <a:gd name="connsiteY102" fmla="*/ 284138 h 3498714"/>
                    <a:gd name="connsiteX103" fmla="*/ 682782 w 6499195"/>
                    <a:gd name="connsiteY103" fmla="*/ 568275 h 3498714"/>
                    <a:gd name="connsiteX104" fmla="*/ 398645 w 6499195"/>
                    <a:gd name="connsiteY104" fmla="*/ 284138 h 3498714"/>
                    <a:gd name="connsiteX105" fmla="*/ 682782 w 6499195"/>
                    <a:gd name="connsiteY105" fmla="*/ 0 h 3498714"/>
                    <a:gd name="connsiteX0" fmla="*/ 2052754 w 6499473"/>
                    <a:gd name="connsiteY0" fmla="*/ 2902312 h 3498714"/>
                    <a:gd name="connsiteX1" fmla="*/ 4707054 w 6499473"/>
                    <a:gd name="connsiteY1" fmla="*/ 2902312 h 3498714"/>
                    <a:gd name="connsiteX2" fmla="*/ 4818179 w 6499473"/>
                    <a:gd name="connsiteY2" fmla="*/ 3013437 h 3498714"/>
                    <a:gd name="connsiteX3" fmla="*/ 4707054 w 6499473"/>
                    <a:gd name="connsiteY3" fmla="*/ 3124562 h 3498714"/>
                    <a:gd name="connsiteX4" fmla="*/ 4545125 w 6499473"/>
                    <a:gd name="connsiteY4" fmla="*/ 3124562 h 3498714"/>
                    <a:gd name="connsiteX5" fmla="*/ 4545125 w 6499473"/>
                    <a:gd name="connsiteY5" fmla="*/ 3361625 h 3498714"/>
                    <a:gd name="connsiteX6" fmla="*/ 4436113 w 6499473"/>
                    <a:gd name="connsiteY6" fmla="*/ 3470637 h 3498714"/>
                    <a:gd name="connsiteX7" fmla="*/ 4235039 w 6499473"/>
                    <a:gd name="connsiteY7" fmla="*/ 3470637 h 3498714"/>
                    <a:gd name="connsiteX8" fmla="*/ 4126027 w 6499473"/>
                    <a:gd name="connsiteY8" fmla="*/ 3361625 h 3498714"/>
                    <a:gd name="connsiteX9" fmla="*/ 4126027 w 6499473"/>
                    <a:gd name="connsiteY9" fmla="*/ 3124562 h 3498714"/>
                    <a:gd name="connsiteX10" fmla="*/ 2589325 w 6499473"/>
                    <a:gd name="connsiteY10" fmla="*/ 3124562 h 3498714"/>
                    <a:gd name="connsiteX11" fmla="*/ 2589325 w 6499473"/>
                    <a:gd name="connsiteY11" fmla="*/ 3361625 h 3498714"/>
                    <a:gd name="connsiteX12" fmla="*/ 2480313 w 6499473"/>
                    <a:gd name="connsiteY12" fmla="*/ 3470637 h 3498714"/>
                    <a:gd name="connsiteX13" fmla="*/ 2279239 w 6499473"/>
                    <a:gd name="connsiteY13" fmla="*/ 3470637 h 3498714"/>
                    <a:gd name="connsiteX14" fmla="*/ 2170227 w 6499473"/>
                    <a:gd name="connsiteY14" fmla="*/ 3361625 h 3498714"/>
                    <a:gd name="connsiteX15" fmla="*/ 2170227 w 6499473"/>
                    <a:gd name="connsiteY15" fmla="*/ 3124562 h 3498714"/>
                    <a:gd name="connsiteX16" fmla="*/ 2052754 w 6499473"/>
                    <a:gd name="connsiteY16" fmla="*/ 3124562 h 3498714"/>
                    <a:gd name="connsiteX17" fmla="*/ 1941629 w 6499473"/>
                    <a:gd name="connsiteY17" fmla="*/ 3013437 h 3498714"/>
                    <a:gd name="connsiteX18" fmla="*/ 2052754 w 6499473"/>
                    <a:gd name="connsiteY18" fmla="*/ 2902312 h 3498714"/>
                    <a:gd name="connsiteX19" fmla="*/ 4492583 w 6499473"/>
                    <a:gd name="connsiteY19" fmla="*/ 2089512 h 3498714"/>
                    <a:gd name="connsiteX20" fmla="*/ 4311608 w 6499473"/>
                    <a:gd name="connsiteY20" fmla="*/ 2270487 h 3498714"/>
                    <a:gd name="connsiteX21" fmla="*/ 4492583 w 6499473"/>
                    <a:gd name="connsiteY21" fmla="*/ 2451462 h 3498714"/>
                    <a:gd name="connsiteX22" fmla="*/ 6498753 w 6499473"/>
                    <a:gd name="connsiteY22" fmla="*/ 2404799 h 3498714"/>
                    <a:gd name="connsiteX23" fmla="*/ 5268722 w 6499473"/>
                    <a:gd name="connsiteY23" fmla="*/ 1972085 h 3498714"/>
                    <a:gd name="connsiteX24" fmla="*/ 4492583 w 6499473"/>
                    <a:gd name="connsiteY24" fmla="*/ 2089512 h 3498714"/>
                    <a:gd name="connsiteX25" fmla="*/ 2979061 w 6499473"/>
                    <a:gd name="connsiteY25" fmla="*/ 2089512 h 3498714"/>
                    <a:gd name="connsiteX26" fmla="*/ 2671086 w 6499473"/>
                    <a:gd name="connsiteY26" fmla="*/ 2397487 h 3498714"/>
                    <a:gd name="connsiteX27" fmla="*/ 2671086 w 6499473"/>
                    <a:gd name="connsiteY27" fmla="*/ 2584811 h 3498714"/>
                    <a:gd name="connsiteX28" fmla="*/ 4083961 w 6499473"/>
                    <a:gd name="connsiteY28" fmla="*/ 2584811 h 3498714"/>
                    <a:gd name="connsiteX29" fmla="*/ 4083961 w 6499473"/>
                    <a:gd name="connsiteY29" fmla="*/ 2397487 h 3498714"/>
                    <a:gd name="connsiteX30" fmla="*/ 3775986 w 6499473"/>
                    <a:gd name="connsiteY30" fmla="*/ 2089512 h 3498714"/>
                    <a:gd name="connsiteX31" fmla="*/ 2979061 w 6499473"/>
                    <a:gd name="connsiteY31" fmla="*/ 2089512 h 3498714"/>
                    <a:gd name="connsiteX32" fmla="*/ 2251033 w 6499473"/>
                    <a:gd name="connsiteY32" fmla="*/ 2089512 h 3498714"/>
                    <a:gd name="connsiteX33" fmla="*/ 2070058 w 6499473"/>
                    <a:gd name="connsiteY33" fmla="*/ 2270487 h 3498714"/>
                    <a:gd name="connsiteX34" fmla="*/ 2251033 w 6499473"/>
                    <a:gd name="connsiteY34" fmla="*/ 2451462 h 3498714"/>
                    <a:gd name="connsiteX35" fmla="*/ 2432008 w 6499473"/>
                    <a:gd name="connsiteY35" fmla="*/ 2270487 h 3498714"/>
                    <a:gd name="connsiteX36" fmla="*/ 2251033 w 6499473"/>
                    <a:gd name="connsiteY36" fmla="*/ 2089512 h 3498714"/>
                    <a:gd name="connsiteX37" fmla="*/ 2651061 w 6499473"/>
                    <a:gd name="connsiteY37" fmla="*/ 1167548 h 3498714"/>
                    <a:gd name="connsiteX38" fmla="*/ 2392797 w 6499473"/>
                    <a:gd name="connsiteY38" fmla="*/ 1878907 h 3498714"/>
                    <a:gd name="connsiteX39" fmla="*/ 2478781 w 6499473"/>
                    <a:gd name="connsiteY39" fmla="*/ 1920808 h 3498714"/>
                    <a:gd name="connsiteX40" fmla="*/ 2842751 w 6499473"/>
                    <a:gd name="connsiteY40" fmla="*/ 1749356 h 3498714"/>
                    <a:gd name="connsiteX41" fmla="*/ 3912296 w 6499473"/>
                    <a:gd name="connsiteY41" fmla="*/ 1749356 h 3498714"/>
                    <a:gd name="connsiteX42" fmla="*/ 4277738 w 6499473"/>
                    <a:gd name="connsiteY42" fmla="*/ 1922593 h 3498714"/>
                    <a:gd name="connsiteX43" fmla="*/ 4370569 w 6499473"/>
                    <a:gd name="connsiteY43" fmla="*/ 1877441 h 3498714"/>
                    <a:gd name="connsiteX44" fmla="*/ 4112835 w 6499473"/>
                    <a:gd name="connsiteY44" fmla="*/ 1167548 h 3498714"/>
                    <a:gd name="connsiteX45" fmla="*/ 2651061 w 6499473"/>
                    <a:gd name="connsiteY45" fmla="*/ 1167548 h 3498714"/>
                    <a:gd name="connsiteX46" fmla="*/ 2534724 w 6499473"/>
                    <a:gd name="connsiteY46" fmla="*/ 982297 h 3498714"/>
                    <a:gd name="connsiteX47" fmla="*/ 4229172 w 6499473"/>
                    <a:gd name="connsiteY47" fmla="*/ 982297 h 3498714"/>
                    <a:gd name="connsiteX48" fmla="*/ 4546612 w 6499473"/>
                    <a:gd name="connsiteY48" fmla="*/ 1856643 h 3498714"/>
                    <a:gd name="connsiteX49" fmla="*/ 4936448 w 6499473"/>
                    <a:gd name="connsiteY49" fmla="*/ 2279217 h 3498714"/>
                    <a:gd name="connsiteX50" fmla="*/ 4802103 w 6499473"/>
                    <a:gd name="connsiteY50" fmla="*/ 2588456 h 3498714"/>
                    <a:gd name="connsiteX51" fmla="*/ 4904699 w 6499473"/>
                    <a:gd name="connsiteY51" fmla="*/ 2705462 h 3498714"/>
                    <a:gd name="connsiteX52" fmla="*/ 4904698 w 6499473"/>
                    <a:gd name="connsiteY52" fmla="*/ 2705462 h 3498714"/>
                    <a:gd name="connsiteX53" fmla="*/ 4784047 w 6499473"/>
                    <a:gd name="connsiteY53" fmla="*/ 2826113 h 3498714"/>
                    <a:gd name="connsiteX54" fmla="*/ 1970999 w 6499473"/>
                    <a:gd name="connsiteY54" fmla="*/ 2826112 h 3498714"/>
                    <a:gd name="connsiteX55" fmla="*/ 1850348 w 6499473"/>
                    <a:gd name="connsiteY55" fmla="*/ 2705462 h 3498714"/>
                    <a:gd name="connsiteX56" fmla="*/ 1956769 w 6499473"/>
                    <a:gd name="connsiteY56" fmla="*/ 2587684 h 3498714"/>
                    <a:gd name="connsiteX57" fmla="*/ 1823360 w 6499473"/>
                    <a:gd name="connsiteY57" fmla="*/ 2279217 h 3498714"/>
                    <a:gd name="connsiteX58" fmla="*/ 2217440 w 6499473"/>
                    <a:gd name="connsiteY58" fmla="*/ 1856216 h 3498714"/>
                    <a:gd name="connsiteX59" fmla="*/ 2534724 w 6499473"/>
                    <a:gd name="connsiteY59" fmla="*/ 982297 h 3498714"/>
                    <a:gd name="connsiteX60" fmla="*/ 358791 w 6499473"/>
                    <a:gd name="connsiteY60" fmla="*/ 644545 h 3498714"/>
                    <a:gd name="connsiteX61" fmla="*/ 1006774 w 6499473"/>
                    <a:gd name="connsiteY61" fmla="*/ 644545 h 3498714"/>
                    <a:gd name="connsiteX62" fmla="*/ 1542636 w 6499473"/>
                    <a:gd name="connsiteY62" fmla="*/ 1193969 h 3498714"/>
                    <a:gd name="connsiteX63" fmla="*/ 1929878 w 6499473"/>
                    <a:gd name="connsiteY63" fmla="*/ 1193970 h 3498714"/>
                    <a:gd name="connsiteX64" fmla="*/ 2070059 w 6499473"/>
                    <a:gd name="connsiteY64" fmla="*/ 1334152 h 3498714"/>
                    <a:gd name="connsiteX65" fmla="*/ 1929878 w 6499473"/>
                    <a:gd name="connsiteY65" fmla="*/ 1474333 h 3498714"/>
                    <a:gd name="connsiteX66" fmla="*/ 1520943 w 6499473"/>
                    <a:gd name="connsiteY66" fmla="*/ 1470388 h 3498714"/>
                    <a:gd name="connsiteX67" fmla="*/ 1332825 w 6499473"/>
                    <a:gd name="connsiteY67" fmla="*/ 1367201 h 3498714"/>
                    <a:gd name="connsiteX68" fmla="*/ 1106501 w 6499473"/>
                    <a:gd name="connsiteY68" fmla="*/ 1098289 h 3498714"/>
                    <a:gd name="connsiteX69" fmla="*/ 1101049 w 6499473"/>
                    <a:gd name="connsiteY69" fmla="*/ 1092836 h 3498714"/>
                    <a:gd name="connsiteX70" fmla="*/ 1046523 w 6499473"/>
                    <a:gd name="connsiteY70" fmla="*/ 1092836 h 3498714"/>
                    <a:gd name="connsiteX71" fmla="*/ 1041071 w 6499473"/>
                    <a:gd name="connsiteY71" fmla="*/ 1098289 h 3498714"/>
                    <a:gd name="connsiteX72" fmla="*/ 1042136 w 6499473"/>
                    <a:gd name="connsiteY72" fmla="*/ 1419754 h 3498714"/>
                    <a:gd name="connsiteX73" fmla="*/ 1042136 w 6499473"/>
                    <a:gd name="connsiteY73" fmla="*/ 3337652 h 3498714"/>
                    <a:gd name="connsiteX74" fmla="*/ 881075 w 6499473"/>
                    <a:gd name="connsiteY74" fmla="*/ 3498714 h 3498714"/>
                    <a:gd name="connsiteX75" fmla="*/ 720012 w 6499473"/>
                    <a:gd name="connsiteY75" fmla="*/ 3337652 h 3498714"/>
                    <a:gd name="connsiteX76" fmla="*/ 720012 w 6499473"/>
                    <a:gd name="connsiteY76" fmla="*/ 2125717 h 3498714"/>
                    <a:gd name="connsiteX77" fmla="*/ 718947 w 6499473"/>
                    <a:gd name="connsiteY77" fmla="*/ 2033194 h 3498714"/>
                    <a:gd name="connsiteX78" fmla="*/ 714162 w 6499473"/>
                    <a:gd name="connsiteY78" fmla="*/ 2028410 h 3498714"/>
                    <a:gd name="connsiteX79" fmla="*/ 654759 w 6499473"/>
                    <a:gd name="connsiteY79" fmla="*/ 2028410 h 3498714"/>
                    <a:gd name="connsiteX80" fmla="*/ 649974 w 6499473"/>
                    <a:gd name="connsiteY80" fmla="*/ 2033194 h 3498714"/>
                    <a:gd name="connsiteX81" fmla="*/ 649974 w 6499473"/>
                    <a:gd name="connsiteY81" fmla="*/ 2125717 h 3498714"/>
                    <a:gd name="connsiteX82" fmla="*/ 649574 w 6499473"/>
                    <a:gd name="connsiteY82" fmla="*/ 3337652 h 3498714"/>
                    <a:gd name="connsiteX83" fmla="*/ 488511 w 6499473"/>
                    <a:gd name="connsiteY83" fmla="*/ 3498714 h 3498714"/>
                    <a:gd name="connsiteX84" fmla="*/ 327450 w 6499473"/>
                    <a:gd name="connsiteY84" fmla="*/ 3337652 h 3498714"/>
                    <a:gd name="connsiteX85" fmla="*/ 327450 w 6499473"/>
                    <a:gd name="connsiteY85" fmla="*/ 1458216 h 3498714"/>
                    <a:gd name="connsiteX86" fmla="*/ 322427 w 6499473"/>
                    <a:gd name="connsiteY86" fmla="*/ 1098205 h 3498714"/>
                    <a:gd name="connsiteX87" fmla="*/ 317058 w 6499473"/>
                    <a:gd name="connsiteY87" fmla="*/ 1092836 h 3498714"/>
                    <a:gd name="connsiteX88" fmla="*/ 263371 w 6499473"/>
                    <a:gd name="connsiteY88" fmla="*/ 1092836 h 3498714"/>
                    <a:gd name="connsiteX89" fmla="*/ 258001 w 6499473"/>
                    <a:gd name="connsiteY89" fmla="*/ 1098205 h 3498714"/>
                    <a:gd name="connsiteX90" fmla="*/ 258001 w 6499473"/>
                    <a:gd name="connsiteY90" fmla="*/ 1444446 h 3498714"/>
                    <a:gd name="connsiteX91" fmla="*/ 257700 w 6499473"/>
                    <a:gd name="connsiteY91" fmla="*/ 1444370 h 3498714"/>
                    <a:gd name="connsiteX92" fmla="*/ 257700 w 6499473"/>
                    <a:gd name="connsiteY92" fmla="*/ 1912573 h 3498714"/>
                    <a:gd name="connsiteX93" fmla="*/ 128850 w 6499473"/>
                    <a:gd name="connsiteY93" fmla="*/ 2041423 h 3498714"/>
                    <a:gd name="connsiteX94" fmla="*/ 0 w 6499473"/>
                    <a:gd name="connsiteY94" fmla="*/ 1912573 h 3498714"/>
                    <a:gd name="connsiteX95" fmla="*/ 0 w 6499473"/>
                    <a:gd name="connsiteY95" fmla="*/ 1101802 h 3498714"/>
                    <a:gd name="connsiteX96" fmla="*/ 0 w 6499473"/>
                    <a:gd name="connsiteY96" fmla="*/ 1003338 h 3498714"/>
                    <a:gd name="connsiteX97" fmla="*/ 0 w 6499473"/>
                    <a:gd name="connsiteY97" fmla="*/ 982486 h 3498714"/>
                    <a:gd name="connsiteX98" fmla="*/ 12733 w 6499473"/>
                    <a:gd name="connsiteY98" fmla="*/ 894663 h 3498714"/>
                    <a:gd name="connsiteX99" fmla="*/ 20539 w 6499473"/>
                    <a:gd name="connsiteY99" fmla="*/ 868773 h 3498714"/>
                    <a:gd name="connsiteX100" fmla="*/ 358791 w 6499473"/>
                    <a:gd name="connsiteY100" fmla="*/ 644545 h 3498714"/>
                    <a:gd name="connsiteX101" fmla="*/ 682782 w 6499473"/>
                    <a:gd name="connsiteY101" fmla="*/ 0 h 3498714"/>
                    <a:gd name="connsiteX102" fmla="*/ 966919 w 6499473"/>
                    <a:gd name="connsiteY102" fmla="*/ 284138 h 3498714"/>
                    <a:gd name="connsiteX103" fmla="*/ 682782 w 6499473"/>
                    <a:gd name="connsiteY103" fmla="*/ 568275 h 3498714"/>
                    <a:gd name="connsiteX104" fmla="*/ 398645 w 6499473"/>
                    <a:gd name="connsiteY104" fmla="*/ 284138 h 3498714"/>
                    <a:gd name="connsiteX105" fmla="*/ 682782 w 6499473"/>
                    <a:gd name="connsiteY105" fmla="*/ 0 h 3498714"/>
                    <a:gd name="connsiteX0" fmla="*/ 2052754 w 6499257"/>
                    <a:gd name="connsiteY0" fmla="*/ 2902312 h 3498714"/>
                    <a:gd name="connsiteX1" fmla="*/ 4707054 w 6499257"/>
                    <a:gd name="connsiteY1" fmla="*/ 2902312 h 3498714"/>
                    <a:gd name="connsiteX2" fmla="*/ 4818179 w 6499257"/>
                    <a:gd name="connsiteY2" fmla="*/ 3013437 h 3498714"/>
                    <a:gd name="connsiteX3" fmla="*/ 4707054 w 6499257"/>
                    <a:gd name="connsiteY3" fmla="*/ 3124562 h 3498714"/>
                    <a:gd name="connsiteX4" fmla="*/ 4545125 w 6499257"/>
                    <a:gd name="connsiteY4" fmla="*/ 3124562 h 3498714"/>
                    <a:gd name="connsiteX5" fmla="*/ 4545125 w 6499257"/>
                    <a:gd name="connsiteY5" fmla="*/ 3361625 h 3498714"/>
                    <a:gd name="connsiteX6" fmla="*/ 4436113 w 6499257"/>
                    <a:gd name="connsiteY6" fmla="*/ 3470637 h 3498714"/>
                    <a:gd name="connsiteX7" fmla="*/ 4235039 w 6499257"/>
                    <a:gd name="connsiteY7" fmla="*/ 3470637 h 3498714"/>
                    <a:gd name="connsiteX8" fmla="*/ 4126027 w 6499257"/>
                    <a:gd name="connsiteY8" fmla="*/ 3361625 h 3498714"/>
                    <a:gd name="connsiteX9" fmla="*/ 4126027 w 6499257"/>
                    <a:gd name="connsiteY9" fmla="*/ 3124562 h 3498714"/>
                    <a:gd name="connsiteX10" fmla="*/ 2589325 w 6499257"/>
                    <a:gd name="connsiteY10" fmla="*/ 3124562 h 3498714"/>
                    <a:gd name="connsiteX11" fmla="*/ 2589325 w 6499257"/>
                    <a:gd name="connsiteY11" fmla="*/ 3361625 h 3498714"/>
                    <a:gd name="connsiteX12" fmla="*/ 2480313 w 6499257"/>
                    <a:gd name="connsiteY12" fmla="*/ 3470637 h 3498714"/>
                    <a:gd name="connsiteX13" fmla="*/ 2279239 w 6499257"/>
                    <a:gd name="connsiteY13" fmla="*/ 3470637 h 3498714"/>
                    <a:gd name="connsiteX14" fmla="*/ 2170227 w 6499257"/>
                    <a:gd name="connsiteY14" fmla="*/ 3361625 h 3498714"/>
                    <a:gd name="connsiteX15" fmla="*/ 2170227 w 6499257"/>
                    <a:gd name="connsiteY15" fmla="*/ 3124562 h 3498714"/>
                    <a:gd name="connsiteX16" fmla="*/ 2052754 w 6499257"/>
                    <a:gd name="connsiteY16" fmla="*/ 3124562 h 3498714"/>
                    <a:gd name="connsiteX17" fmla="*/ 1941629 w 6499257"/>
                    <a:gd name="connsiteY17" fmla="*/ 3013437 h 3498714"/>
                    <a:gd name="connsiteX18" fmla="*/ 2052754 w 6499257"/>
                    <a:gd name="connsiteY18" fmla="*/ 2902312 h 3498714"/>
                    <a:gd name="connsiteX19" fmla="*/ 4492583 w 6499257"/>
                    <a:gd name="connsiteY19" fmla="*/ 2089512 h 3498714"/>
                    <a:gd name="connsiteX20" fmla="*/ 4311608 w 6499257"/>
                    <a:gd name="connsiteY20" fmla="*/ 2270487 h 3498714"/>
                    <a:gd name="connsiteX21" fmla="*/ 4492583 w 6499257"/>
                    <a:gd name="connsiteY21" fmla="*/ 2451462 h 3498714"/>
                    <a:gd name="connsiteX22" fmla="*/ 5407618 w 6499257"/>
                    <a:gd name="connsiteY22" fmla="*/ 2468742 h 3498714"/>
                    <a:gd name="connsiteX23" fmla="*/ 6498753 w 6499257"/>
                    <a:gd name="connsiteY23" fmla="*/ 2404799 h 3498714"/>
                    <a:gd name="connsiteX24" fmla="*/ 5268722 w 6499257"/>
                    <a:gd name="connsiteY24" fmla="*/ 1972085 h 3498714"/>
                    <a:gd name="connsiteX25" fmla="*/ 4492583 w 6499257"/>
                    <a:gd name="connsiteY25" fmla="*/ 2089512 h 3498714"/>
                    <a:gd name="connsiteX26" fmla="*/ 2979061 w 6499257"/>
                    <a:gd name="connsiteY26" fmla="*/ 2089512 h 3498714"/>
                    <a:gd name="connsiteX27" fmla="*/ 2671086 w 6499257"/>
                    <a:gd name="connsiteY27" fmla="*/ 2397487 h 3498714"/>
                    <a:gd name="connsiteX28" fmla="*/ 2671086 w 6499257"/>
                    <a:gd name="connsiteY28" fmla="*/ 2584811 h 3498714"/>
                    <a:gd name="connsiteX29" fmla="*/ 4083961 w 6499257"/>
                    <a:gd name="connsiteY29" fmla="*/ 2584811 h 3498714"/>
                    <a:gd name="connsiteX30" fmla="*/ 4083961 w 6499257"/>
                    <a:gd name="connsiteY30" fmla="*/ 2397487 h 3498714"/>
                    <a:gd name="connsiteX31" fmla="*/ 3775986 w 6499257"/>
                    <a:gd name="connsiteY31" fmla="*/ 2089512 h 3498714"/>
                    <a:gd name="connsiteX32" fmla="*/ 2979061 w 6499257"/>
                    <a:gd name="connsiteY32" fmla="*/ 2089512 h 3498714"/>
                    <a:gd name="connsiteX33" fmla="*/ 2251033 w 6499257"/>
                    <a:gd name="connsiteY33" fmla="*/ 2089512 h 3498714"/>
                    <a:gd name="connsiteX34" fmla="*/ 2070058 w 6499257"/>
                    <a:gd name="connsiteY34" fmla="*/ 2270487 h 3498714"/>
                    <a:gd name="connsiteX35" fmla="*/ 2251033 w 6499257"/>
                    <a:gd name="connsiteY35" fmla="*/ 2451462 h 3498714"/>
                    <a:gd name="connsiteX36" fmla="*/ 2432008 w 6499257"/>
                    <a:gd name="connsiteY36" fmla="*/ 2270487 h 3498714"/>
                    <a:gd name="connsiteX37" fmla="*/ 2251033 w 6499257"/>
                    <a:gd name="connsiteY37" fmla="*/ 2089512 h 3498714"/>
                    <a:gd name="connsiteX38" fmla="*/ 2651061 w 6499257"/>
                    <a:gd name="connsiteY38" fmla="*/ 1167548 h 3498714"/>
                    <a:gd name="connsiteX39" fmla="*/ 2392797 w 6499257"/>
                    <a:gd name="connsiteY39" fmla="*/ 1878907 h 3498714"/>
                    <a:gd name="connsiteX40" fmla="*/ 2478781 w 6499257"/>
                    <a:gd name="connsiteY40" fmla="*/ 1920808 h 3498714"/>
                    <a:gd name="connsiteX41" fmla="*/ 2842751 w 6499257"/>
                    <a:gd name="connsiteY41" fmla="*/ 1749356 h 3498714"/>
                    <a:gd name="connsiteX42" fmla="*/ 3912296 w 6499257"/>
                    <a:gd name="connsiteY42" fmla="*/ 1749356 h 3498714"/>
                    <a:gd name="connsiteX43" fmla="*/ 4277738 w 6499257"/>
                    <a:gd name="connsiteY43" fmla="*/ 1922593 h 3498714"/>
                    <a:gd name="connsiteX44" fmla="*/ 4370569 w 6499257"/>
                    <a:gd name="connsiteY44" fmla="*/ 1877441 h 3498714"/>
                    <a:gd name="connsiteX45" fmla="*/ 4112835 w 6499257"/>
                    <a:gd name="connsiteY45" fmla="*/ 1167548 h 3498714"/>
                    <a:gd name="connsiteX46" fmla="*/ 2651061 w 6499257"/>
                    <a:gd name="connsiteY46" fmla="*/ 1167548 h 3498714"/>
                    <a:gd name="connsiteX47" fmla="*/ 2534724 w 6499257"/>
                    <a:gd name="connsiteY47" fmla="*/ 982297 h 3498714"/>
                    <a:gd name="connsiteX48" fmla="*/ 4229172 w 6499257"/>
                    <a:gd name="connsiteY48" fmla="*/ 982297 h 3498714"/>
                    <a:gd name="connsiteX49" fmla="*/ 4546612 w 6499257"/>
                    <a:gd name="connsiteY49" fmla="*/ 1856643 h 3498714"/>
                    <a:gd name="connsiteX50" fmla="*/ 4936448 w 6499257"/>
                    <a:gd name="connsiteY50" fmla="*/ 2279217 h 3498714"/>
                    <a:gd name="connsiteX51" fmla="*/ 4802103 w 6499257"/>
                    <a:gd name="connsiteY51" fmla="*/ 2588456 h 3498714"/>
                    <a:gd name="connsiteX52" fmla="*/ 4904699 w 6499257"/>
                    <a:gd name="connsiteY52" fmla="*/ 2705462 h 3498714"/>
                    <a:gd name="connsiteX53" fmla="*/ 4904698 w 6499257"/>
                    <a:gd name="connsiteY53" fmla="*/ 2705462 h 3498714"/>
                    <a:gd name="connsiteX54" fmla="*/ 4784047 w 6499257"/>
                    <a:gd name="connsiteY54" fmla="*/ 2826113 h 3498714"/>
                    <a:gd name="connsiteX55" fmla="*/ 1970999 w 6499257"/>
                    <a:gd name="connsiteY55" fmla="*/ 2826112 h 3498714"/>
                    <a:gd name="connsiteX56" fmla="*/ 1850348 w 6499257"/>
                    <a:gd name="connsiteY56" fmla="*/ 2705462 h 3498714"/>
                    <a:gd name="connsiteX57" fmla="*/ 1956769 w 6499257"/>
                    <a:gd name="connsiteY57" fmla="*/ 2587684 h 3498714"/>
                    <a:gd name="connsiteX58" fmla="*/ 1823360 w 6499257"/>
                    <a:gd name="connsiteY58" fmla="*/ 2279217 h 3498714"/>
                    <a:gd name="connsiteX59" fmla="*/ 2217440 w 6499257"/>
                    <a:gd name="connsiteY59" fmla="*/ 1856216 h 3498714"/>
                    <a:gd name="connsiteX60" fmla="*/ 2534724 w 6499257"/>
                    <a:gd name="connsiteY60" fmla="*/ 982297 h 3498714"/>
                    <a:gd name="connsiteX61" fmla="*/ 358791 w 6499257"/>
                    <a:gd name="connsiteY61" fmla="*/ 644545 h 3498714"/>
                    <a:gd name="connsiteX62" fmla="*/ 1006774 w 6499257"/>
                    <a:gd name="connsiteY62" fmla="*/ 644545 h 3498714"/>
                    <a:gd name="connsiteX63" fmla="*/ 1542636 w 6499257"/>
                    <a:gd name="connsiteY63" fmla="*/ 1193969 h 3498714"/>
                    <a:gd name="connsiteX64" fmla="*/ 1929878 w 6499257"/>
                    <a:gd name="connsiteY64" fmla="*/ 1193970 h 3498714"/>
                    <a:gd name="connsiteX65" fmla="*/ 2070059 w 6499257"/>
                    <a:gd name="connsiteY65" fmla="*/ 1334152 h 3498714"/>
                    <a:gd name="connsiteX66" fmla="*/ 1929878 w 6499257"/>
                    <a:gd name="connsiteY66" fmla="*/ 1474333 h 3498714"/>
                    <a:gd name="connsiteX67" fmla="*/ 1520943 w 6499257"/>
                    <a:gd name="connsiteY67" fmla="*/ 1470388 h 3498714"/>
                    <a:gd name="connsiteX68" fmla="*/ 1332825 w 6499257"/>
                    <a:gd name="connsiteY68" fmla="*/ 1367201 h 3498714"/>
                    <a:gd name="connsiteX69" fmla="*/ 1106501 w 6499257"/>
                    <a:gd name="connsiteY69" fmla="*/ 1098289 h 3498714"/>
                    <a:gd name="connsiteX70" fmla="*/ 1101049 w 6499257"/>
                    <a:gd name="connsiteY70" fmla="*/ 1092836 h 3498714"/>
                    <a:gd name="connsiteX71" fmla="*/ 1046523 w 6499257"/>
                    <a:gd name="connsiteY71" fmla="*/ 1092836 h 3498714"/>
                    <a:gd name="connsiteX72" fmla="*/ 1041071 w 6499257"/>
                    <a:gd name="connsiteY72" fmla="*/ 1098289 h 3498714"/>
                    <a:gd name="connsiteX73" fmla="*/ 1042136 w 6499257"/>
                    <a:gd name="connsiteY73" fmla="*/ 1419754 h 3498714"/>
                    <a:gd name="connsiteX74" fmla="*/ 1042136 w 6499257"/>
                    <a:gd name="connsiteY74" fmla="*/ 3337652 h 3498714"/>
                    <a:gd name="connsiteX75" fmla="*/ 881075 w 6499257"/>
                    <a:gd name="connsiteY75" fmla="*/ 3498714 h 3498714"/>
                    <a:gd name="connsiteX76" fmla="*/ 720012 w 6499257"/>
                    <a:gd name="connsiteY76" fmla="*/ 3337652 h 3498714"/>
                    <a:gd name="connsiteX77" fmla="*/ 720012 w 6499257"/>
                    <a:gd name="connsiteY77" fmla="*/ 2125717 h 3498714"/>
                    <a:gd name="connsiteX78" fmla="*/ 718947 w 6499257"/>
                    <a:gd name="connsiteY78" fmla="*/ 2033194 h 3498714"/>
                    <a:gd name="connsiteX79" fmla="*/ 714162 w 6499257"/>
                    <a:gd name="connsiteY79" fmla="*/ 2028410 h 3498714"/>
                    <a:gd name="connsiteX80" fmla="*/ 654759 w 6499257"/>
                    <a:gd name="connsiteY80" fmla="*/ 2028410 h 3498714"/>
                    <a:gd name="connsiteX81" fmla="*/ 649974 w 6499257"/>
                    <a:gd name="connsiteY81" fmla="*/ 2033194 h 3498714"/>
                    <a:gd name="connsiteX82" fmla="*/ 649974 w 6499257"/>
                    <a:gd name="connsiteY82" fmla="*/ 2125717 h 3498714"/>
                    <a:gd name="connsiteX83" fmla="*/ 649574 w 6499257"/>
                    <a:gd name="connsiteY83" fmla="*/ 3337652 h 3498714"/>
                    <a:gd name="connsiteX84" fmla="*/ 488511 w 6499257"/>
                    <a:gd name="connsiteY84" fmla="*/ 3498714 h 3498714"/>
                    <a:gd name="connsiteX85" fmla="*/ 327450 w 6499257"/>
                    <a:gd name="connsiteY85" fmla="*/ 3337652 h 3498714"/>
                    <a:gd name="connsiteX86" fmla="*/ 327450 w 6499257"/>
                    <a:gd name="connsiteY86" fmla="*/ 1458216 h 3498714"/>
                    <a:gd name="connsiteX87" fmla="*/ 322427 w 6499257"/>
                    <a:gd name="connsiteY87" fmla="*/ 1098205 h 3498714"/>
                    <a:gd name="connsiteX88" fmla="*/ 317058 w 6499257"/>
                    <a:gd name="connsiteY88" fmla="*/ 1092836 h 3498714"/>
                    <a:gd name="connsiteX89" fmla="*/ 263371 w 6499257"/>
                    <a:gd name="connsiteY89" fmla="*/ 1092836 h 3498714"/>
                    <a:gd name="connsiteX90" fmla="*/ 258001 w 6499257"/>
                    <a:gd name="connsiteY90" fmla="*/ 1098205 h 3498714"/>
                    <a:gd name="connsiteX91" fmla="*/ 258001 w 6499257"/>
                    <a:gd name="connsiteY91" fmla="*/ 1444446 h 3498714"/>
                    <a:gd name="connsiteX92" fmla="*/ 257700 w 6499257"/>
                    <a:gd name="connsiteY92" fmla="*/ 1444370 h 3498714"/>
                    <a:gd name="connsiteX93" fmla="*/ 257700 w 6499257"/>
                    <a:gd name="connsiteY93" fmla="*/ 1912573 h 3498714"/>
                    <a:gd name="connsiteX94" fmla="*/ 128850 w 6499257"/>
                    <a:gd name="connsiteY94" fmla="*/ 2041423 h 3498714"/>
                    <a:gd name="connsiteX95" fmla="*/ 0 w 6499257"/>
                    <a:gd name="connsiteY95" fmla="*/ 1912573 h 3498714"/>
                    <a:gd name="connsiteX96" fmla="*/ 0 w 6499257"/>
                    <a:gd name="connsiteY96" fmla="*/ 1101802 h 3498714"/>
                    <a:gd name="connsiteX97" fmla="*/ 0 w 6499257"/>
                    <a:gd name="connsiteY97" fmla="*/ 1003338 h 3498714"/>
                    <a:gd name="connsiteX98" fmla="*/ 0 w 6499257"/>
                    <a:gd name="connsiteY98" fmla="*/ 982486 h 3498714"/>
                    <a:gd name="connsiteX99" fmla="*/ 12733 w 6499257"/>
                    <a:gd name="connsiteY99" fmla="*/ 894663 h 3498714"/>
                    <a:gd name="connsiteX100" fmla="*/ 20539 w 6499257"/>
                    <a:gd name="connsiteY100" fmla="*/ 868773 h 3498714"/>
                    <a:gd name="connsiteX101" fmla="*/ 358791 w 6499257"/>
                    <a:gd name="connsiteY101" fmla="*/ 644545 h 3498714"/>
                    <a:gd name="connsiteX102" fmla="*/ 682782 w 6499257"/>
                    <a:gd name="connsiteY102" fmla="*/ 0 h 3498714"/>
                    <a:gd name="connsiteX103" fmla="*/ 966919 w 6499257"/>
                    <a:gd name="connsiteY103" fmla="*/ 284138 h 3498714"/>
                    <a:gd name="connsiteX104" fmla="*/ 682782 w 6499257"/>
                    <a:gd name="connsiteY104" fmla="*/ 568275 h 3498714"/>
                    <a:gd name="connsiteX105" fmla="*/ 398645 w 6499257"/>
                    <a:gd name="connsiteY105" fmla="*/ 284138 h 3498714"/>
                    <a:gd name="connsiteX106" fmla="*/ 682782 w 6499257"/>
                    <a:gd name="connsiteY106" fmla="*/ 0 h 3498714"/>
                    <a:gd name="connsiteX0" fmla="*/ 2052754 w 6499257"/>
                    <a:gd name="connsiteY0" fmla="*/ 2902312 h 3498714"/>
                    <a:gd name="connsiteX1" fmla="*/ 4707054 w 6499257"/>
                    <a:gd name="connsiteY1" fmla="*/ 2902312 h 3498714"/>
                    <a:gd name="connsiteX2" fmla="*/ 4818179 w 6499257"/>
                    <a:gd name="connsiteY2" fmla="*/ 3013437 h 3498714"/>
                    <a:gd name="connsiteX3" fmla="*/ 4707054 w 6499257"/>
                    <a:gd name="connsiteY3" fmla="*/ 3124562 h 3498714"/>
                    <a:gd name="connsiteX4" fmla="*/ 4545125 w 6499257"/>
                    <a:gd name="connsiteY4" fmla="*/ 3124562 h 3498714"/>
                    <a:gd name="connsiteX5" fmla="*/ 4545125 w 6499257"/>
                    <a:gd name="connsiteY5" fmla="*/ 3361625 h 3498714"/>
                    <a:gd name="connsiteX6" fmla="*/ 4436113 w 6499257"/>
                    <a:gd name="connsiteY6" fmla="*/ 3470637 h 3498714"/>
                    <a:gd name="connsiteX7" fmla="*/ 4235039 w 6499257"/>
                    <a:gd name="connsiteY7" fmla="*/ 3470637 h 3498714"/>
                    <a:gd name="connsiteX8" fmla="*/ 4126027 w 6499257"/>
                    <a:gd name="connsiteY8" fmla="*/ 3361625 h 3498714"/>
                    <a:gd name="connsiteX9" fmla="*/ 4126027 w 6499257"/>
                    <a:gd name="connsiteY9" fmla="*/ 3124562 h 3498714"/>
                    <a:gd name="connsiteX10" fmla="*/ 2589325 w 6499257"/>
                    <a:gd name="connsiteY10" fmla="*/ 3124562 h 3498714"/>
                    <a:gd name="connsiteX11" fmla="*/ 2589325 w 6499257"/>
                    <a:gd name="connsiteY11" fmla="*/ 3361625 h 3498714"/>
                    <a:gd name="connsiteX12" fmla="*/ 2480313 w 6499257"/>
                    <a:gd name="connsiteY12" fmla="*/ 3470637 h 3498714"/>
                    <a:gd name="connsiteX13" fmla="*/ 2279239 w 6499257"/>
                    <a:gd name="connsiteY13" fmla="*/ 3470637 h 3498714"/>
                    <a:gd name="connsiteX14" fmla="*/ 2170227 w 6499257"/>
                    <a:gd name="connsiteY14" fmla="*/ 3361625 h 3498714"/>
                    <a:gd name="connsiteX15" fmla="*/ 2170227 w 6499257"/>
                    <a:gd name="connsiteY15" fmla="*/ 3124562 h 3498714"/>
                    <a:gd name="connsiteX16" fmla="*/ 2052754 w 6499257"/>
                    <a:gd name="connsiteY16" fmla="*/ 3124562 h 3498714"/>
                    <a:gd name="connsiteX17" fmla="*/ 1941629 w 6499257"/>
                    <a:gd name="connsiteY17" fmla="*/ 3013437 h 3498714"/>
                    <a:gd name="connsiteX18" fmla="*/ 2052754 w 6499257"/>
                    <a:gd name="connsiteY18" fmla="*/ 2902312 h 3498714"/>
                    <a:gd name="connsiteX19" fmla="*/ 4492583 w 6499257"/>
                    <a:gd name="connsiteY19" fmla="*/ 2089512 h 3498714"/>
                    <a:gd name="connsiteX20" fmla="*/ 4311608 w 6499257"/>
                    <a:gd name="connsiteY20" fmla="*/ 2270487 h 3498714"/>
                    <a:gd name="connsiteX21" fmla="*/ 4492583 w 6499257"/>
                    <a:gd name="connsiteY21" fmla="*/ 2451462 h 3498714"/>
                    <a:gd name="connsiteX22" fmla="*/ 5407618 w 6499257"/>
                    <a:gd name="connsiteY22" fmla="*/ 2468742 h 3498714"/>
                    <a:gd name="connsiteX23" fmla="*/ 6498753 w 6499257"/>
                    <a:gd name="connsiteY23" fmla="*/ 2404799 h 3498714"/>
                    <a:gd name="connsiteX24" fmla="*/ 5268722 w 6499257"/>
                    <a:gd name="connsiteY24" fmla="*/ 1972085 h 3498714"/>
                    <a:gd name="connsiteX25" fmla="*/ 4492583 w 6499257"/>
                    <a:gd name="connsiteY25" fmla="*/ 2089512 h 3498714"/>
                    <a:gd name="connsiteX26" fmla="*/ 2979061 w 6499257"/>
                    <a:gd name="connsiteY26" fmla="*/ 2089512 h 3498714"/>
                    <a:gd name="connsiteX27" fmla="*/ 2671086 w 6499257"/>
                    <a:gd name="connsiteY27" fmla="*/ 2397487 h 3498714"/>
                    <a:gd name="connsiteX28" fmla="*/ 2671086 w 6499257"/>
                    <a:gd name="connsiteY28" fmla="*/ 2584811 h 3498714"/>
                    <a:gd name="connsiteX29" fmla="*/ 4083961 w 6499257"/>
                    <a:gd name="connsiteY29" fmla="*/ 2584811 h 3498714"/>
                    <a:gd name="connsiteX30" fmla="*/ 4083961 w 6499257"/>
                    <a:gd name="connsiteY30" fmla="*/ 2397487 h 3498714"/>
                    <a:gd name="connsiteX31" fmla="*/ 3775986 w 6499257"/>
                    <a:gd name="connsiteY31" fmla="*/ 2089512 h 3498714"/>
                    <a:gd name="connsiteX32" fmla="*/ 2979061 w 6499257"/>
                    <a:gd name="connsiteY32" fmla="*/ 2089512 h 3498714"/>
                    <a:gd name="connsiteX33" fmla="*/ 2251033 w 6499257"/>
                    <a:gd name="connsiteY33" fmla="*/ 2089512 h 3498714"/>
                    <a:gd name="connsiteX34" fmla="*/ 2070058 w 6499257"/>
                    <a:gd name="connsiteY34" fmla="*/ 2270487 h 3498714"/>
                    <a:gd name="connsiteX35" fmla="*/ 2251033 w 6499257"/>
                    <a:gd name="connsiteY35" fmla="*/ 2451462 h 3498714"/>
                    <a:gd name="connsiteX36" fmla="*/ 2432008 w 6499257"/>
                    <a:gd name="connsiteY36" fmla="*/ 2270487 h 3498714"/>
                    <a:gd name="connsiteX37" fmla="*/ 2251033 w 6499257"/>
                    <a:gd name="connsiteY37" fmla="*/ 2089512 h 3498714"/>
                    <a:gd name="connsiteX38" fmla="*/ 2651061 w 6499257"/>
                    <a:gd name="connsiteY38" fmla="*/ 1167548 h 3498714"/>
                    <a:gd name="connsiteX39" fmla="*/ 2392797 w 6499257"/>
                    <a:gd name="connsiteY39" fmla="*/ 1878907 h 3498714"/>
                    <a:gd name="connsiteX40" fmla="*/ 2478781 w 6499257"/>
                    <a:gd name="connsiteY40" fmla="*/ 1920808 h 3498714"/>
                    <a:gd name="connsiteX41" fmla="*/ 2842751 w 6499257"/>
                    <a:gd name="connsiteY41" fmla="*/ 1749356 h 3498714"/>
                    <a:gd name="connsiteX42" fmla="*/ 3912296 w 6499257"/>
                    <a:gd name="connsiteY42" fmla="*/ 1749356 h 3498714"/>
                    <a:gd name="connsiteX43" fmla="*/ 4277738 w 6499257"/>
                    <a:gd name="connsiteY43" fmla="*/ 1922593 h 3498714"/>
                    <a:gd name="connsiteX44" fmla="*/ 4370569 w 6499257"/>
                    <a:gd name="connsiteY44" fmla="*/ 1877441 h 3498714"/>
                    <a:gd name="connsiteX45" fmla="*/ 4112835 w 6499257"/>
                    <a:gd name="connsiteY45" fmla="*/ 1167548 h 3498714"/>
                    <a:gd name="connsiteX46" fmla="*/ 2651061 w 6499257"/>
                    <a:gd name="connsiteY46" fmla="*/ 1167548 h 3498714"/>
                    <a:gd name="connsiteX47" fmla="*/ 2534724 w 6499257"/>
                    <a:gd name="connsiteY47" fmla="*/ 982297 h 3498714"/>
                    <a:gd name="connsiteX48" fmla="*/ 4229172 w 6499257"/>
                    <a:gd name="connsiteY48" fmla="*/ 982297 h 3498714"/>
                    <a:gd name="connsiteX49" fmla="*/ 4546612 w 6499257"/>
                    <a:gd name="connsiteY49" fmla="*/ 1856643 h 3498714"/>
                    <a:gd name="connsiteX50" fmla="*/ 4936448 w 6499257"/>
                    <a:gd name="connsiteY50" fmla="*/ 2279217 h 3498714"/>
                    <a:gd name="connsiteX51" fmla="*/ 4802103 w 6499257"/>
                    <a:gd name="connsiteY51" fmla="*/ 2588456 h 3498714"/>
                    <a:gd name="connsiteX52" fmla="*/ 4904699 w 6499257"/>
                    <a:gd name="connsiteY52" fmla="*/ 2705462 h 3498714"/>
                    <a:gd name="connsiteX53" fmla="*/ 4904698 w 6499257"/>
                    <a:gd name="connsiteY53" fmla="*/ 2705462 h 3498714"/>
                    <a:gd name="connsiteX54" fmla="*/ 4784047 w 6499257"/>
                    <a:gd name="connsiteY54" fmla="*/ 2826113 h 3498714"/>
                    <a:gd name="connsiteX55" fmla="*/ 1970999 w 6499257"/>
                    <a:gd name="connsiteY55" fmla="*/ 2826112 h 3498714"/>
                    <a:gd name="connsiteX56" fmla="*/ 1850348 w 6499257"/>
                    <a:gd name="connsiteY56" fmla="*/ 2705462 h 3498714"/>
                    <a:gd name="connsiteX57" fmla="*/ 1956769 w 6499257"/>
                    <a:gd name="connsiteY57" fmla="*/ 2587684 h 3498714"/>
                    <a:gd name="connsiteX58" fmla="*/ 1823360 w 6499257"/>
                    <a:gd name="connsiteY58" fmla="*/ 2279217 h 3498714"/>
                    <a:gd name="connsiteX59" fmla="*/ 2217440 w 6499257"/>
                    <a:gd name="connsiteY59" fmla="*/ 1856216 h 3498714"/>
                    <a:gd name="connsiteX60" fmla="*/ 2534724 w 6499257"/>
                    <a:gd name="connsiteY60" fmla="*/ 982297 h 3498714"/>
                    <a:gd name="connsiteX61" fmla="*/ 358791 w 6499257"/>
                    <a:gd name="connsiteY61" fmla="*/ 644545 h 3498714"/>
                    <a:gd name="connsiteX62" fmla="*/ 1006774 w 6499257"/>
                    <a:gd name="connsiteY62" fmla="*/ 644545 h 3498714"/>
                    <a:gd name="connsiteX63" fmla="*/ 1542636 w 6499257"/>
                    <a:gd name="connsiteY63" fmla="*/ 1193969 h 3498714"/>
                    <a:gd name="connsiteX64" fmla="*/ 1929878 w 6499257"/>
                    <a:gd name="connsiteY64" fmla="*/ 1193970 h 3498714"/>
                    <a:gd name="connsiteX65" fmla="*/ 2070059 w 6499257"/>
                    <a:gd name="connsiteY65" fmla="*/ 1334152 h 3498714"/>
                    <a:gd name="connsiteX66" fmla="*/ 1929878 w 6499257"/>
                    <a:gd name="connsiteY66" fmla="*/ 1474333 h 3498714"/>
                    <a:gd name="connsiteX67" fmla="*/ 1520943 w 6499257"/>
                    <a:gd name="connsiteY67" fmla="*/ 1470388 h 3498714"/>
                    <a:gd name="connsiteX68" fmla="*/ 1332825 w 6499257"/>
                    <a:gd name="connsiteY68" fmla="*/ 1367201 h 3498714"/>
                    <a:gd name="connsiteX69" fmla="*/ 1106501 w 6499257"/>
                    <a:gd name="connsiteY69" fmla="*/ 1098289 h 3498714"/>
                    <a:gd name="connsiteX70" fmla="*/ 1101049 w 6499257"/>
                    <a:gd name="connsiteY70" fmla="*/ 1092836 h 3498714"/>
                    <a:gd name="connsiteX71" fmla="*/ 1046523 w 6499257"/>
                    <a:gd name="connsiteY71" fmla="*/ 1092836 h 3498714"/>
                    <a:gd name="connsiteX72" fmla="*/ 1041071 w 6499257"/>
                    <a:gd name="connsiteY72" fmla="*/ 1098289 h 3498714"/>
                    <a:gd name="connsiteX73" fmla="*/ 1042136 w 6499257"/>
                    <a:gd name="connsiteY73" fmla="*/ 1419754 h 3498714"/>
                    <a:gd name="connsiteX74" fmla="*/ 1042136 w 6499257"/>
                    <a:gd name="connsiteY74" fmla="*/ 3337652 h 3498714"/>
                    <a:gd name="connsiteX75" fmla="*/ 881075 w 6499257"/>
                    <a:gd name="connsiteY75" fmla="*/ 3498714 h 3498714"/>
                    <a:gd name="connsiteX76" fmla="*/ 720012 w 6499257"/>
                    <a:gd name="connsiteY76" fmla="*/ 3337652 h 3498714"/>
                    <a:gd name="connsiteX77" fmla="*/ 720012 w 6499257"/>
                    <a:gd name="connsiteY77" fmla="*/ 2125717 h 3498714"/>
                    <a:gd name="connsiteX78" fmla="*/ 718947 w 6499257"/>
                    <a:gd name="connsiteY78" fmla="*/ 2033194 h 3498714"/>
                    <a:gd name="connsiteX79" fmla="*/ 714162 w 6499257"/>
                    <a:gd name="connsiteY79" fmla="*/ 2028410 h 3498714"/>
                    <a:gd name="connsiteX80" fmla="*/ 654759 w 6499257"/>
                    <a:gd name="connsiteY80" fmla="*/ 2028410 h 3498714"/>
                    <a:gd name="connsiteX81" fmla="*/ 649974 w 6499257"/>
                    <a:gd name="connsiteY81" fmla="*/ 2033194 h 3498714"/>
                    <a:gd name="connsiteX82" fmla="*/ 649974 w 6499257"/>
                    <a:gd name="connsiteY82" fmla="*/ 2125717 h 3498714"/>
                    <a:gd name="connsiteX83" fmla="*/ 649574 w 6499257"/>
                    <a:gd name="connsiteY83" fmla="*/ 3337652 h 3498714"/>
                    <a:gd name="connsiteX84" fmla="*/ 488511 w 6499257"/>
                    <a:gd name="connsiteY84" fmla="*/ 3498714 h 3498714"/>
                    <a:gd name="connsiteX85" fmla="*/ 327450 w 6499257"/>
                    <a:gd name="connsiteY85" fmla="*/ 3337652 h 3498714"/>
                    <a:gd name="connsiteX86" fmla="*/ 327450 w 6499257"/>
                    <a:gd name="connsiteY86" fmla="*/ 1458216 h 3498714"/>
                    <a:gd name="connsiteX87" fmla="*/ 322427 w 6499257"/>
                    <a:gd name="connsiteY87" fmla="*/ 1098205 h 3498714"/>
                    <a:gd name="connsiteX88" fmla="*/ 317058 w 6499257"/>
                    <a:gd name="connsiteY88" fmla="*/ 1092836 h 3498714"/>
                    <a:gd name="connsiteX89" fmla="*/ 263371 w 6499257"/>
                    <a:gd name="connsiteY89" fmla="*/ 1092836 h 3498714"/>
                    <a:gd name="connsiteX90" fmla="*/ 258001 w 6499257"/>
                    <a:gd name="connsiteY90" fmla="*/ 1098205 h 3498714"/>
                    <a:gd name="connsiteX91" fmla="*/ 258001 w 6499257"/>
                    <a:gd name="connsiteY91" fmla="*/ 1444446 h 3498714"/>
                    <a:gd name="connsiteX92" fmla="*/ 257700 w 6499257"/>
                    <a:gd name="connsiteY92" fmla="*/ 1444370 h 3498714"/>
                    <a:gd name="connsiteX93" fmla="*/ 257700 w 6499257"/>
                    <a:gd name="connsiteY93" fmla="*/ 1912573 h 3498714"/>
                    <a:gd name="connsiteX94" fmla="*/ 128850 w 6499257"/>
                    <a:gd name="connsiteY94" fmla="*/ 2041423 h 3498714"/>
                    <a:gd name="connsiteX95" fmla="*/ 0 w 6499257"/>
                    <a:gd name="connsiteY95" fmla="*/ 1912573 h 3498714"/>
                    <a:gd name="connsiteX96" fmla="*/ 0 w 6499257"/>
                    <a:gd name="connsiteY96" fmla="*/ 1101802 h 3498714"/>
                    <a:gd name="connsiteX97" fmla="*/ 0 w 6499257"/>
                    <a:gd name="connsiteY97" fmla="*/ 1003338 h 3498714"/>
                    <a:gd name="connsiteX98" fmla="*/ 0 w 6499257"/>
                    <a:gd name="connsiteY98" fmla="*/ 982486 h 3498714"/>
                    <a:gd name="connsiteX99" fmla="*/ 12733 w 6499257"/>
                    <a:gd name="connsiteY99" fmla="*/ 894663 h 3498714"/>
                    <a:gd name="connsiteX100" fmla="*/ 20539 w 6499257"/>
                    <a:gd name="connsiteY100" fmla="*/ 868773 h 3498714"/>
                    <a:gd name="connsiteX101" fmla="*/ 358791 w 6499257"/>
                    <a:gd name="connsiteY101" fmla="*/ 644545 h 3498714"/>
                    <a:gd name="connsiteX102" fmla="*/ 682782 w 6499257"/>
                    <a:gd name="connsiteY102" fmla="*/ 0 h 3498714"/>
                    <a:gd name="connsiteX103" fmla="*/ 966919 w 6499257"/>
                    <a:gd name="connsiteY103" fmla="*/ 284138 h 3498714"/>
                    <a:gd name="connsiteX104" fmla="*/ 682782 w 6499257"/>
                    <a:gd name="connsiteY104" fmla="*/ 568275 h 3498714"/>
                    <a:gd name="connsiteX105" fmla="*/ 398645 w 6499257"/>
                    <a:gd name="connsiteY105" fmla="*/ 284138 h 3498714"/>
                    <a:gd name="connsiteX106" fmla="*/ 682782 w 6499257"/>
                    <a:gd name="connsiteY106" fmla="*/ 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651061 w 6499257"/>
                    <a:gd name="connsiteY12" fmla="*/ 1167548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3912296 w 6499257"/>
                    <a:gd name="connsiteY16" fmla="*/ 1749356 h 3498714"/>
                    <a:gd name="connsiteX17" fmla="*/ 4277738 w 6499257"/>
                    <a:gd name="connsiteY17" fmla="*/ 1922593 h 3498714"/>
                    <a:gd name="connsiteX18" fmla="*/ 4370569 w 6499257"/>
                    <a:gd name="connsiteY18" fmla="*/ 1877441 h 3498714"/>
                    <a:gd name="connsiteX19" fmla="*/ 4112835 w 6499257"/>
                    <a:gd name="connsiteY19" fmla="*/ 1167548 h 3498714"/>
                    <a:gd name="connsiteX20" fmla="*/ 2651061 w 6499257"/>
                    <a:gd name="connsiteY20" fmla="*/ 1167548 h 3498714"/>
                    <a:gd name="connsiteX21" fmla="*/ 2534724 w 6499257"/>
                    <a:gd name="connsiteY21" fmla="*/ 982297 h 3498714"/>
                    <a:gd name="connsiteX22" fmla="*/ 4229172 w 6499257"/>
                    <a:gd name="connsiteY22" fmla="*/ 982297 h 3498714"/>
                    <a:gd name="connsiteX23" fmla="*/ 4546612 w 6499257"/>
                    <a:gd name="connsiteY23" fmla="*/ 1856643 h 3498714"/>
                    <a:gd name="connsiteX24" fmla="*/ 4936448 w 6499257"/>
                    <a:gd name="connsiteY24" fmla="*/ 2279217 h 3498714"/>
                    <a:gd name="connsiteX25" fmla="*/ 4802103 w 6499257"/>
                    <a:gd name="connsiteY25" fmla="*/ 2588456 h 3498714"/>
                    <a:gd name="connsiteX26" fmla="*/ 4904699 w 6499257"/>
                    <a:gd name="connsiteY26" fmla="*/ 2705462 h 3498714"/>
                    <a:gd name="connsiteX27" fmla="*/ 4904698 w 6499257"/>
                    <a:gd name="connsiteY27" fmla="*/ 2705462 h 3498714"/>
                    <a:gd name="connsiteX28" fmla="*/ 4784047 w 6499257"/>
                    <a:gd name="connsiteY28" fmla="*/ 2826113 h 3498714"/>
                    <a:gd name="connsiteX29" fmla="*/ 1970999 w 6499257"/>
                    <a:gd name="connsiteY29" fmla="*/ 2826112 h 3498714"/>
                    <a:gd name="connsiteX30" fmla="*/ 1850348 w 6499257"/>
                    <a:gd name="connsiteY30" fmla="*/ 2705462 h 3498714"/>
                    <a:gd name="connsiteX31" fmla="*/ 1956769 w 6499257"/>
                    <a:gd name="connsiteY31" fmla="*/ 2587684 h 3498714"/>
                    <a:gd name="connsiteX32" fmla="*/ 1823360 w 6499257"/>
                    <a:gd name="connsiteY32" fmla="*/ 2279217 h 3498714"/>
                    <a:gd name="connsiteX33" fmla="*/ 2217440 w 6499257"/>
                    <a:gd name="connsiteY33" fmla="*/ 1856216 h 3498714"/>
                    <a:gd name="connsiteX34" fmla="*/ 2534724 w 6499257"/>
                    <a:gd name="connsiteY34" fmla="*/ 982297 h 3498714"/>
                    <a:gd name="connsiteX35" fmla="*/ 358791 w 6499257"/>
                    <a:gd name="connsiteY35" fmla="*/ 644545 h 3498714"/>
                    <a:gd name="connsiteX36" fmla="*/ 1006774 w 6499257"/>
                    <a:gd name="connsiteY36" fmla="*/ 644545 h 3498714"/>
                    <a:gd name="connsiteX37" fmla="*/ 1542636 w 6499257"/>
                    <a:gd name="connsiteY37" fmla="*/ 1193969 h 3498714"/>
                    <a:gd name="connsiteX38" fmla="*/ 1929878 w 6499257"/>
                    <a:gd name="connsiteY38" fmla="*/ 1193970 h 3498714"/>
                    <a:gd name="connsiteX39" fmla="*/ 2070059 w 6499257"/>
                    <a:gd name="connsiteY39" fmla="*/ 1334152 h 3498714"/>
                    <a:gd name="connsiteX40" fmla="*/ 1929878 w 6499257"/>
                    <a:gd name="connsiteY40" fmla="*/ 1474333 h 3498714"/>
                    <a:gd name="connsiteX41" fmla="*/ 1520943 w 6499257"/>
                    <a:gd name="connsiteY41" fmla="*/ 1470388 h 3498714"/>
                    <a:gd name="connsiteX42" fmla="*/ 1332825 w 6499257"/>
                    <a:gd name="connsiteY42" fmla="*/ 1367201 h 3498714"/>
                    <a:gd name="connsiteX43" fmla="*/ 1106501 w 6499257"/>
                    <a:gd name="connsiteY43" fmla="*/ 1098289 h 3498714"/>
                    <a:gd name="connsiteX44" fmla="*/ 1101049 w 6499257"/>
                    <a:gd name="connsiteY44" fmla="*/ 1092836 h 3498714"/>
                    <a:gd name="connsiteX45" fmla="*/ 1046523 w 6499257"/>
                    <a:gd name="connsiteY45" fmla="*/ 1092836 h 3498714"/>
                    <a:gd name="connsiteX46" fmla="*/ 1041071 w 6499257"/>
                    <a:gd name="connsiteY46" fmla="*/ 1098289 h 3498714"/>
                    <a:gd name="connsiteX47" fmla="*/ 1042136 w 6499257"/>
                    <a:gd name="connsiteY47" fmla="*/ 1419754 h 3498714"/>
                    <a:gd name="connsiteX48" fmla="*/ 1042136 w 6499257"/>
                    <a:gd name="connsiteY48" fmla="*/ 3337652 h 3498714"/>
                    <a:gd name="connsiteX49" fmla="*/ 881075 w 6499257"/>
                    <a:gd name="connsiteY49" fmla="*/ 3498714 h 3498714"/>
                    <a:gd name="connsiteX50" fmla="*/ 720012 w 6499257"/>
                    <a:gd name="connsiteY50" fmla="*/ 3337652 h 3498714"/>
                    <a:gd name="connsiteX51" fmla="*/ 720012 w 6499257"/>
                    <a:gd name="connsiteY51" fmla="*/ 2125717 h 3498714"/>
                    <a:gd name="connsiteX52" fmla="*/ 718947 w 6499257"/>
                    <a:gd name="connsiteY52" fmla="*/ 2033194 h 3498714"/>
                    <a:gd name="connsiteX53" fmla="*/ 714162 w 6499257"/>
                    <a:gd name="connsiteY53" fmla="*/ 2028410 h 3498714"/>
                    <a:gd name="connsiteX54" fmla="*/ 654759 w 6499257"/>
                    <a:gd name="connsiteY54" fmla="*/ 2028410 h 3498714"/>
                    <a:gd name="connsiteX55" fmla="*/ 649974 w 6499257"/>
                    <a:gd name="connsiteY55" fmla="*/ 2033194 h 3498714"/>
                    <a:gd name="connsiteX56" fmla="*/ 649974 w 6499257"/>
                    <a:gd name="connsiteY56" fmla="*/ 2125717 h 3498714"/>
                    <a:gd name="connsiteX57" fmla="*/ 649574 w 6499257"/>
                    <a:gd name="connsiteY57" fmla="*/ 3337652 h 3498714"/>
                    <a:gd name="connsiteX58" fmla="*/ 488511 w 6499257"/>
                    <a:gd name="connsiteY58" fmla="*/ 3498714 h 3498714"/>
                    <a:gd name="connsiteX59" fmla="*/ 327450 w 6499257"/>
                    <a:gd name="connsiteY59" fmla="*/ 3337652 h 3498714"/>
                    <a:gd name="connsiteX60" fmla="*/ 327450 w 6499257"/>
                    <a:gd name="connsiteY60" fmla="*/ 1458216 h 3498714"/>
                    <a:gd name="connsiteX61" fmla="*/ 322427 w 6499257"/>
                    <a:gd name="connsiteY61" fmla="*/ 1098205 h 3498714"/>
                    <a:gd name="connsiteX62" fmla="*/ 317058 w 6499257"/>
                    <a:gd name="connsiteY62" fmla="*/ 1092836 h 3498714"/>
                    <a:gd name="connsiteX63" fmla="*/ 263371 w 6499257"/>
                    <a:gd name="connsiteY63" fmla="*/ 1092836 h 3498714"/>
                    <a:gd name="connsiteX64" fmla="*/ 258001 w 6499257"/>
                    <a:gd name="connsiteY64" fmla="*/ 1098205 h 3498714"/>
                    <a:gd name="connsiteX65" fmla="*/ 258001 w 6499257"/>
                    <a:gd name="connsiteY65" fmla="*/ 1444446 h 3498714"/>
                    <a:gd name="connsiteX66" fmla="*/ 257700 w 6499257"/>
                    <a:gd name="connsiteY66" fmla="*/ 1444370 h 3498714"/>
                    <a:gd name="connsiteX67" fmla="*/ 257700 w 6499257"/>
                    <a:gd name="connsiteY67" fmla="*/ 1912573 h 3498714"/>
                    <a:gd name="connsiteX68" fmla="*/ 128850 w 6499257"/>
                    <a:gd name="connsiteY68" fmla="*/ 2041423 h 3498714"/>
                    <a:gd name="connsiteX69" fmla="*/ 0 w 6499257"/>
                    <a:gd name="connsiteY69" fmla="*/ 1912573 h 3498714"/>
                    <a:gd name="connsiteX70" fmla="*/ 0 w 6499257"/>
                    <a:gd name="connsiteY70" fmla="*/ 1101802 h 3498714"/>
                    <a:gd name="connsiteX71" fmla="*/ 0 w 6499257"/>
                    <a:gd name="connsiteY71" fmla="*/ 1003338 h 3498714"/>
                    <a:gd name="connsiteX72" fmla="*/ 0 w 6499257"/>
                    <a:gd name="connsiteY72" fmla="*/ 982486 h 3498714"/>
                    <a:gd name="connsiteX73" fmla="*/ 12733 w 6499257"/>
                    <a:gd name="connsiteY73" fmla="*/ 894663 h 3498714"/>
                    <a:gd name="connsiteX74" fmla="*/ 20539 w 6499257"/>
                    <a:gd name="connsiteY74" fmla="*/ 868773 h 3498714"/>
                    <a:gd name="connsiteX75" fmla="*/ 358791 w 6499257"/>
                    <a:gd name="connsiteY75" fmla="*/ 644545 h 3498714"/>
                    <a:gd name="connsiteX76" fmla="*/ 682782 w 6499257"/>
                    <a:gd name="connsiteY76" fmla="*/ 0 h 3498714"/>
                    <a:gd name="connsiteX77" fmla="*/ 966919 w 6499257"/>
                    <a:gd name="connsiteY77" fmla="*/ 284138 h 3498714"/>
                    <a:gd name="connsiteX78" fmla="*/ 682782 w 6499257"/>
                    <a:gd name="connsiteY78" fmla="*/ 568275 h 3498714"/>
                    <a:gd name="connsiteX79" fmla="*/ 398645 w 6499257"/>
                    <a:gd name="connsiteY79" fmla="*/ 284138 h 3498714"/>
                    <a:gd name="connsiteX80" fmla="*/ 682782 w 6499257"/>
                    <a:gd name="connsiteY80" fmla="*/ 0 h 3498714"/>
                    <a:gd name="connsiteX81" fmla="*/ 4707054 w 6499257"/>
                    <a:gd name="connsiteY81" fmla="*/ 2902312 h 3498714"/>
                    <a:gd name="connsiteX82" fmla="*/ 4818179 w 6499257"/>
                    <a:gd name="connsiteY82" fmla="*/ 3013437 h 3498714"/>
                    <a:gd name="connsiteX83" fmla="*/ 4707054 w 6499257"/>
                    <a:gd name="connsiteY83" fmla="*/ 3124562 h 3498714"/>
                    <a:gd name="connsiteX84" fmla="*/ 4545125 w 6499257"/>
                    <a:gd name="connsiteY84" fmla="*/ 3124562 h 3498714"/>
                    <a:gd name="connsiteX85" fmla="*/ 4545125 w 6499257"/>
                    <a:gd name="connsiteY85" fmla="*/ 3361625 h 3498714"/>
                    <a:gd name="connsiteX86" fmla="*/ 4436113 w 6499257"/>
                    <a:gd name="connsiteY86" fmla="*/ 3470637 h 3498714"/>
                    <a:gd name="connsiteX87" fmla="*/ 4235039 w 6499257"/>
                    <a:gd name="connsiteY87" fmla="*/ 3470637 h 3498714"/>
                    <a:gd name="connsiteX88" fmla="*/ 4126027 w 6499257"/>
                    <a:gd name="connsiteY88" fmla="*/ 3361625 h 3498714"/>
                    <a:gd name="connsiteX89" fmla="*/ 4126027 w 6499257"/>
                    <a:gd name="connsiteY89" fmla="*/ 3124562 h 3498714"/>
                    <a:gd name="connsiteX90" fmla="*/ 2589325 w 6499257"/>
                    <a:gd name="connsiteY90" fmla="*/ 3124562 h 3498714"/>
                    <a:gd name="connsiteX91" fmla="*/ 2589325 w 6499257"/>
                    <a:gd name="connsiteY91" fmla="*/ 3361625 h 3498714"/>
                    <a:gd name="connsiteX92" fmla="*/ 2480313 w 6499257"/>
                    <a:gd name="connsiteY92" fmla="*/ 3470637 h 3498714"/>
                    <a:gd name="connsiteX93" fmla="*/ 2279239 w 6499257"/>
                    <a:gd name="connsiteY93" fmla="*/ 3470637 h 3498714"/>
                    <a:gd name="connsiteX94" fmla="*/ 2170227 w 6499257"/>
                    <a:gd name="connsiteY94" fmla="*/ 3361625 h 3498714"/>
                    <a:gd name="connsiteX95" fmla="*/ 2170227 w 6499257"/>
                    <a:gd name="connsiteY95" fmla="*/ 3124562 h 3498714"/>
                    <a:gd name="connsiteX96" fmla="*/ 2052754 w 6499257"/>
                    <a:gd name="connsiteY96" fmla="*/ 3124562 h 3498714"/>
                    <a:gd name="connsiteX97" fmla="*/ 1941629 w 6499257"/>
                    <a:gd name="connsiteY97" fmla="*/ 3013437 h 3498714"/>
                    <a:gd name="connsiteX98" fmla="*/ 2052754 w 6499257"/>
                    <a:gd name="connsiteY98" fmla="*/ 2902312 h 3498714"/>
                    <a:gd name="connsiteX99" fmla="*/ 4492583 w 6499257"/>
                    <a:gd name="connsiteY99" fmla="*/ 2089512 h 3498714"/>
                    <a:gd name="connsiteX100" fmla="*/ 4311608 w 6499257"/>
                    <a:gd name="connsiteY100" fmla="*/ 2270487 h 3498714"/>
                    <a:gd name="connsiteX101" fmla="*/ 4492583 w 6499257"/>
                    <a:gd name="connsiteY101" fmla="*/ 2451462 h 3498714"/>
                    <a:gd name="connsiteX102" fmla="*/ 5407618 w 6499257"/>
                    <a:gd name="connsiteY102" fmla="*/ 2468742 h 3498714"/>
                    <a:gd name="connsiteX103" fmla="*/ 6498753 w 6499257"/>
                    <a:gd name="connsiteY103" fmla="*/ 2404799 h 3498714"/>
                    <a:gd name="connsiteX104" fmla="*/ 5388995 w 6499257"/>
                    <a:gd name="connsiteY104"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651061 w 6499257"/>
                    <a:gd name="connsiteY12" fmla="*/ 1167548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4277738 w 6499257"/>
                    <a:gd name="connsiteY16" fmla="*/ 1922593 h 3498714"/>
                    <a:gd name="connsiteX17" fmla="*/ 4370569 w 6499257"/>
                    <a:gd name="connsiteY17" fmla="*/ 1877441 h 3498714"/>
                    <a:gd name="connsiteX18" fmla="*/ 4112835 w 6499257"/>
                    <a:gd name="connsiteY18" fmla="*/ 1167548 h 3498714"/>
                    <a:gd name="connsiteX19" fmla="*/ 2651061 w 6499257"/>
                    <a:gd name="connsiteY19" fmla="*/ 1167548 h 3498714"/>
                    <a:gd name="connsiteX20" fmla="*/ 2534724 w 6499257"/>
                    <a:gd name="connsiteY20" fmla="*/ 982297 h 3498714"/>
                    <a:gd name="connsiteX21" fmla="*/ 4229172 w 6499257"/>
                    <a:gd name="connsiteY21" fmla="*/ 982297 h 3498714"/>
                    <a:gd name="connsiteX22" fmla="*/ 4546612 w 6499257"/>
                    <a:gd name="connsiteY22" fmla="*/ 1856643 h 3498714"/>
                    <a:gd name="connsiteX23" fmla="*/ 4936448 w 6499257"/>
                    <a:gd name="connsiteY23" fmla="*/ 2279217 h 3498714"/>
                    <a:gd name="connsiteX24" fmla="*/ 4802103 w 6499257"/>
                    <a:gd name="connsiteY24" fmla="*/ 2588456 h 3498714"/>
                    <a:gd name="connsiteX25" fmla="*/ 4904699 w 6499257"/>
                    <a:gd name="connsiteY25" fmla="*/ 2705462 h 3498714"/>
                    <a:gd name="connsiteX26" fmla="*/ 4904698 w 6499257"/>
                    <a:gd name="connsiteY26" fmla="*/ 2705462 h 3498714"/>
                    <a:gd name="connsiteX27" fmla="*/ 4784047 w 6499257"/>
                    <a:gd name="connsiteY27" fmla="*/ 2826113 h 3498714"/>
                    <a:gd name="connsiteX28" fmla="*/ 1970999 w 6499257"/>
                    <a:gd name="connsiteY28" fmla="*/ 2826112 h 3498714"/>
                    <a:gd name="connsiteX29" fmla="*/ 1850348 w 6499257"/>
                    <a:gd name="connsiteY29" fmla="*/ 2705462 h 3498714"/>
                    <a:gd name="connsiteX30" fmla="*/ 1956769 w 6499257"/>
                    <a:gd name="connsiteY30" fmla="*/ 2587684 h 3498714"/>
                    <a:gd name="connsiteX31" fmla="*/ 1823360 w 6499257"/>
                    <a:gd name="connsiteY31" fmla="*/ 2279217 h 3498714"/>
                    <a:gd name="connsiteX32" fmla="*/ 2217440 w 6499257"/>
                    <a:gd name="connsiteY32" fmla="*/ 1856216 h 3498714"/>
                    <a:gd name="connsiteX33" fmla="*/ 2534724 w 6499257"/>
                    <a:gd name="connsiteY33" fmla="*/ 982297 h 3498714"/>
                    <a:gd name="connsiteX34" fmla="*/ 358791 w 6499257"/>
                    <a:gd name="connsiteY34" fmla="*/ 644545 h 3498714"/>
                    <a:gd name="connsiteX35" fmla="*/ 1006774 w 6499257"/>
                    <a:gd name="connsiteY35" fmla="*/ 644545 h 3498714"/>
                    <a:gd name="connsiteX36" fmla="*/ 1542636 w 6499257"/>
                    <a:gd name="connsiteY36" fmla="*/ 1193969 h 3498714"/>
                    <a:gd name="connsiteX37" fmla="*/ 1929878 w 6499257"/>
                    <a:gd name="connsiteY37" fmla="*/ 1193970 h 3498714"/>
                    <a:gd name="connsiteX38" fmla="*/ 2070059 w 6499257"/>
                    <a:gd name="connsiteY38" fmla="*/ 1334152 h 3498714"/>
                    <a:gd name="connsiteX39" fmla="*/ 1929878 w 6499257"/>
                    <a:gd name="connsiteY39" fmla="*/ 1474333 h 3498714"/>
                    <a:gd name="connsiteX40" fmla="*/ 1520943 w 6499257"/>
                    <a:gd name="connsiteY40" fmla="*/ 1470388 h 3498714"/>
                    <a:gd name="connsiteX41" fmla="*/ 1332825 w 6499257"/>
                    <a:gd name="connsiteY41" fmla="*/ 1367201 h 3498714"/>
                    <a:gd name="connsiteX42" fmla="*/ 1106501 w 6499257"/>
                    <a:gd name="connsiteY42" fmla="*/ 1098289 h 3498714"/>
                    <a:gd name="connsiteX43" fmla="*/ 1101049 w 6499257"/>
                    <a:gd name="connsiteY43" fmla="*/ 1092836 h 3498714"/>
                    <a:gd name="connsiteX44" fmla="*/ 1046523 w 6499257"/>
                    <a:gd name="connsiteY44" fmla="*/ 1092836 h 3498714"/>
                    <a:gd name="connsiteX45" fmla="*/ 1041071 w 6499257"/>
                    <a:gd name="connsiteY45" fmla="*/ 1098289 h 3498714"/>
                    <a:gd name="connsiteX46" fmla="*/ 1042136 w 6499257"/>
                    <a:gd name="connsiteY46" fmla="*/ 1419754 h 3498714"/>
                    <a:gd name="connsiteX47" fmla="*/ 1042136 w 6499257"/>
                    <a:gd name="connsiteY47" fmla="*/ 3337652 h 3498714"/>
                    <a:gd name="connsiteX48" fmla="*/ 881075 w 6499257"/>
                    <a:gd name="connsiteY48" fmla="*/ 3498714 h 3498714"/>
                    <a:gd name="connsiteX49" fmla="*/ 720012 w 6499257"/>
                    <a:gd name="connsiteY49" fmla="*/ 3337652 h 3498714"/>
                    <a:gd name="connsiteX50" fmla="*/ 720012 w 6499257"/>
                    <a:gd name="connsiteY50" fmla="*/ 2125717 h 3498714"/>
                    <a:gd name="connsiteX51" fmla="*/ 718947 w 6499257"/>
                    <a:gd name="connsiteY51" fmla="*/ 2033194 h 3498714"/>
                    <a:gd name="connsiteX52" fmla="*/ 714162 w 6499257"/>
                    <a:gd name="connsiteY52" fmla="*/ 2028410 h 3498714"/>
                    <a:gd name="connsiteX53" fmla="*/ 654759 w 6499257"/>
                    <a:gd name="connsiteY53" fmla="*/ 2028410 h 3498714"/>
                    <a:gd name="connsiteX54" fmla="*/ 649974 w 6499257"/>
                    <a:gd name="connsiteY54" fmla="*/ 2033194 h 3498714"/>
                    <a:gd name="connsiteX55" fmla="*/ 649974 w 6499257"/>
                    <a:gd name="connsiteY55" fmla="*/ 2125717 h 3498714"/>
                    <a:gd name="connsiteX56" fmla="*/ 649574 w 6499257"/>
                    <a:gd name="connsiteY56" fmla="*/ 3337652 h 3498714"/>
                    <a:gd name="connsiteX57" fmla="*/ 488511 w 6499257"/>
                    <a:gd name="connsiteY57" fmla="*/ 3498714 h 3498714"/>
                    <a:gd name="connsiteX58" fmla="*/ 327450 w 6499257"/>
                    <a:gd name="connsiteY58" fmla="*/ 3337652 h 3498714"/>
                    <a:gd name="connsiteX59" fmla="*/ 327450 w 6499257"/>
                    <a:gd name="connsiteY59" fmla="*/ 1458216 h 3498714"/>
                    <a:gd name="connsiteX60" fmla="*/ 322427 w 6499257"/>
                    <a:gd name="connsiteY60" fmla="*/ 1098205 h 3498714"/>
                    <a:gd name="connsiteX61" fmla="*/ 317058 w 6499257"/>
                    <a:gd name="connsiteY61" fmla="*/ 1092836 h 3498714"/>
                    <a:gd name="connsiteX62" fmla="*/ 263371 w 6499257"/>
                    <a:gd name="connsiteY62" fmla="*/ 1092836 h 3498714"/>
                    <a:gd name="connsiteX63" fmla="*/ 258001 w 6499257"/>
                    <a:gd name="connsiteY63" fmla="*/ 1098205 h 3498714"/>
                    <a:gd name="connsiteX64" fmla="*/ 258001 w 6499257"/>
                    <a:gd name="connsiteY64" fmla="*/ 1444446 h 3498714"/>
                    <a:gd name="connsiteX65" fmla="*/ 257700 w 6499257"/>
                    <a:gd name="connsiteY65" fmla="*/ 1444370 h 3498714"/>
                    <a:gd name="connsiteX66" fmla="*/ 257700 w 6499257"/>
                    <a:gd name="connsiteY66" fmla="*/ 1912573 h 3498714"/>
                    <a:gd name="connsiteX67" fmla="*/ 128850 w 6499257"/>
                    <a:gd name="connsiteY67" fmla="*/ 2041423 h 3498714"/>
                    <a:gd name="connsiteX68" fmla="*/ 0 w 6499257"/>
                    <a:gd name="connsiteY68" fmla="*/ 1912573 h 3498714"/>
                    <a:gd name="connsiteX69" fmla="*/ 0 w 6499257"/>
                    <a:gd name="connsiteY69" fmla="*/ 1101802 h 3498714"/>
                    <a:gd name="connsiteX70" fmla="*/ 0 w 6499257"/>
                    <a:gd name="connsiteY70" fmla="*/ 1003338 h 3498714"/>
                    <a:gd name="connsiteX71" fmla="*/ 0 w 6499257"/>
                    <a:gd name="connsiteY71" fmla="*/ 982486 h 3498714"/>
                    <a:gd name="connsiteX72" fmla="*/ 12733 w 6499257"/>
                    <a:gd name="connsiteY72" fmla="*/ 894663 h 3498714"/>
                    <a:gd name="connsiteX73" fmla="*/ 20539 w 6499257"/>
                    <a:gd name="connsiteY73" fmla="*/ 868773 h 3498714"/>
                    <a:gd name="connsiteX74" fmla="*/ 358791 w 6499257"/>
                    <a:gd name="connsiteY74" fmla="*/ 644545 h 3498714"/>
                    <a:gd name="connsiteX75" fmla="*/ 682782 w 6499257"/>
                    <a:gd name="connsiteY75" fmla="*/ 0 h 3498714"/>
                    <a:gd name="connsiteX76" fmla="*/ 966919 w 6499257"/>
                    <a:gd name="connsiteY76" fmla="*/ 284138 h 3498714"/>
                    <a:gd name="connsiteX77" fmla="*/ 682782 w 6499257"/>
                    <a:gd name="connsiteY77" fmla="*/ 568275 h 3498714"/>
                    <a:gd name="connsiteX78" fmla="*/ 398645 w 6499257"/>
                    <a:gd name="connsiteY78" fmla="*/ 284138 h 3498714"/>
                    <a:gd name="connsiteX79" fmla="*/ 682782 w 6499257"/>
                    <a:gd name="connsiteY79" fmla="*/ 0 h 3498714"/>
                    <a:gd name="connsiteX80" fmla="*/ 4707054 w 6499257"/>
                    <a:gd name="connsiteY80" fmla="*/ 2902312 h 3498714"/>
                    <a:gd name="connsiteX81" fmla="*/ 4818179 w 6499257"/>
                    <a:gd name="connsiteY81" fmla="*/ 3013437 h 3498714"/>
                    <a:gd name="connsiteX82" fmla="*/ 4707054 w 6499257"/>
                    <a:gd name="connsiteY82" fmla="*/ 3124562 h 3498714"/>
                    <a:gd name="connsiteX83" fmla="*/ 4545125 w 6499257"/>
                    <a:gd name="connsiteY83" fmla="*/ 3124562 h 3498714"/>
                    <a:gd name="connsiteX84" fmla="*/ 4545125 w 6499257"/>
                    <a:gd name="connsiteY84" fmla="*/ 3361625 h 3498714"/>
                    <a:gd name="connsiteX85" fmla="*/ 4436113 w 6499257"/>
                    <a:gd name="connsiteY85" fmla="*/ 3470637 h 3498714"/>
                    <a:gd name="connsiteX86" fmla="*/ 4235039 w 6499257"/>
                    <a:gd name="connsiteY86" fmla="*/ 3470637 h 3498714"/>
                    <a:gd name="connsiteX87" fmla="*/ 4126027 w 6499257"/>
                    <a:gd name="connsiteY87" fmla="*/ 3361625 h 3498714"/>
                    <a:gd name="connsiteX88" fmla="*/ 4126027 w 6499257"/>
                    <a:gd name="connsiteY88" fmla="*/ 3124562 h 3498714"/>
                    <a:gd name="connsiteX89" fmla="*/ 2589325 w 6499257"/>
                    <a:gd name="connsiteY89" fmla="*/ 3124562 h 3498714"/>
                    <a:gd name="connsiteX90" fmla="*/ 2589325 w 6499257"/>
                    <a:gd name="connsiteY90" fmla="*/ 3361625 h 3498714"/>
                    <a:gd name="connsiteX91" fmla="*/ 2480313 w 6499257"/>
                    <a:gd name="connsiteY91" fmla="*/ 3470637 h 3498714"/>
                    <a:gd name="connsiteX92" fmla="*/ 2279239 w 6499257"/>
                    <a:gd name="connsiteY92" fmla="*/ 3470637 h 3498714"/>
                    <a:gd name="connsiteX93" fmla="*/ 2170227 w 6499257"/>
                    <a:gd name="connsiteY93" fmla="*/ 3361625 h 3498714"/>
                    <a:gd name="connsiteX94" fmla="*/ 2170227 w 6499257"/>
                    <a:gd name="connsiteY94" fmla="*/ 3124562 h 3498714"/>
                    <a:gd name="connsiteX95" fmla="*/ 2052754 w 6499257"/>
                    <a:gd name="connsiteY95" fmla="*/ 3124562 h 3498714"/>
                    <a:gd name="connsiteX96" fmla="*/ 1941629 w 6499257"/>
                    <a:gd name="connsiteY96" fmla="*/ 3013437 h 3498714"/>
                    <a:gd name="connsiteX97" fmla="*/ 2052754 w 6499257"/>
                    <a:gd name="connsiteY97" fmla="*/ 2902312 h 3498714"/>
                    <a:gd name="connsiteX98" fmla="*/ 682782 w 6499257"/>
                    <a:gd name="connsiteY98" fmla="*/ 0 h 3498714"/>
                    <a:gd name="connsiteX99" fmla="*/ 4492583 w 6499257"/>
                    <a:gd name="connsiteY99" fmla="*/ 2089512 h 3498714"/>
                    <a:gd name="connsiteX100" fmla="*/ 4311608 w 6499257"/>
                    <a:gd name="connsiteY100" fmla="*/ 2270487 h 3498714"/>
                    <a:gd name="connsiteX101" fmla="*/ 4492583 w 6499257"/>
                    <a:gd name="connsiteY101" fmla="*/ 2451462 h 3498714"/>
                    <a:gd name="connsiteX102" fmla="*/ 5407618 w 6499257"/>
                    <a:gd name="connsiteY102" fmla="*/ 2468742 h 3498714"/>
                    <a:gd name="connsiteX103" fmla="*/ 6498753 w 6499257"/>
                    <a:gd name="connsiteY103" fmla="*/ 2404799 h 3498714"/>
                    <a:gd name="connsiteX104" fmla="*/ 5388995 w 6499257"/>
                    <a:gd name="connsiteY104"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651061 w 6499257"/>
                    <a:gd name="connsiteY12" fmla="*/ 1167548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4277738 w 6499257"/>
                    <a:gd name="connsiteY16" fmla="*/ 1922593 h 3498714"/>
                    <a:gd name="connsiteX17" fmla="*/ 4370569 w 6499257"/>
                    <a:gd name="connsiteY17" fmla="*/ 1877441 h 3498714"/>
                    <a:gd name="connsiteX18" fmla="*/ 4112835 w 6499257"/>
                    <a:gd name="connsiteY18" fmla="*/ 1167548 h 3498714"/>
                    <a:gd name="connsiteX19" fmla="*/ 2651061 w 6499257"/>
                    <a:gd name="connsiteY19" fmla="*/ 1167548 h 3498714"/>
                    <a:gd name="connsiteX20" fmla="*/ 2534724 w 6499257"/>
                    <a:gd name="connsiteY20" fmla="*/ 982297 h 3498714"/>
                    <a:gd name="connsiteX21" fmla="*/ 4229172 w 6499257"/>
                    <a:gd name="connsiteY21" fmla="*/ 982297 h 3498714"/>
                    <a:gd name="connsiteX22" fmla="*/ 4546612 w 6499257"/>
                    <a:gd name="connsiteY22" fmla="*/ 1856643 h 3498714"/>
                    <a:gd name="connsiteX23" fmla="*/ 4936448 w 6499257"/>
                    <a:gd name="connsiteY23" fmla="*/ 2279217 h 3498714"/>
                    <a:gd name="connsiteX24" fmla="*/ 4802103 w 6499257"/>
                    <a:gd name="connsiteY24" fmla="*/ 2588456 h 3498714"/>
                    <a:gd name="connsiteX25" fmla="*/ 4904699 w 6499257"/>
                    <a:gd name="connsiteY25" fmla="*/ 2705462 h 3498714"/>
                    <a:gd name="connsiteX26" fmla="*/ 4904698 w 6499257"/>
                    <a:gd name="connsiteY26" fmla="*/ 2705462 h 3498714"/>
                    <a:gd name="connsiteX27" fmla="*/ 4784047 w 6499257"/>
                    <a:gd name="connsiteY27" fmla="*/ 2826113 h 3498714"/>
                    <a:gd name="connsiteX28" fmla="*/ 1970999 w 6499257"/>
                    <a:gd name="connsiteY28" fmla="*/ 2826112 h 3498714"/>
                    <a:gd name="connsiteX29" fmla="*/ 1850348 w 6499257"/>
                    <a:gd name="connsiteY29" fmla="*/ 2705462 h 3498714"/>
                    <a:gd name="connsiteX30" fmla="*/ 1956769 w 6499257"/>
                    <a:gd name="connsiteY30" fmla="*/ 2587684 h 3498714"/>
                    <a:gd name="connsiteX31" fmla="*/ 1823360 w 6499257"/>
                    <a:gd name="connsiteY31" fmla="*/ 2279217 h 3498714"/>
                    <a:gd name="connsiteX32" fmla="*/ 2217440 w 6499257"/>
                    <a:gd name="connsiteY32" fmla="*/ 1856216 h 3498714"/>
                    <a:gd name="connsiteX33" fmla="*/ 2534724 w 6499257"/>
                    <a:gd name="connsiteY33" fmla="*/ 982297 h 3498714"/>
                    <a:gd name="connsiteX34" fmla="*/ 358791 w 6499257"/>
                    <a:gd name="connsiteY34" fmla="*/ 644545 h 3498714"/>
                    <a:gd name="connsiteX35" fmla="*/ 1006774 w 6499257"/>
                    <a:gd name="connsiteY35" fmla="*/ 644545 h 3498714"/>
                    <a:gd name="connsiteX36" fmla="*/ 1542636 w 6499257"/>
                    <a:gd name="connsiteY36" fmla="*/ 1193969 h 3498714"/>
                    <a:gd name="connsiteX37" fmla="*/ 1929878 w 6499257"/>
                    <a:gd name="connsiteY37" fmla="*/ 1193970 h 3498714"/>
                    <a:gd name="connsiteX38" fmla="*/ 2070059 w 6499257"/>
                    <a:gd name="connsiteY38" fmla="*/ 1334152 h 3498714"/>
                    <a:gd name="connsiteX39" fmla="*/ 1929878 w 6499257"/>
                    <a:gd name="connsiteY39" fmla="*/ 1474333 h 3498714"/>
                    <a:gd name="connsiteX40" fmla="*/ 1520943 w 6499257"/>
                    <a:gd name="connsiteY40" fmla="*/ 1470388 h 3498714"/>
                    <a:gd name="connsiteX41" fmla="*/ 1332825 w 6499257"/>
                    <a:gd name="connsiteY41" fmla="*/ 1367201 h 3498714"/>
                    <a:gd name="connsiteX42" fmla="*/ 1106501 w 6499257"/>
                    <a:gd name="connsiteY42" fmla="*/ 1098289 h 3498714"/>
                    <a:gd name="connsiteX43" fmla="*/ 1101049 w 6499257"/>
                    <a:gd name="connsiteY43" fmla="*/ 1092836 h 3498714"/>
                    <a:gd name="connsiteX44" fmla="*/ 1046523 w 6499257"/>
                    <a:gd name="connsiteY44" fmla="*/ 1092836 h 3498714"/>
                    <a:gd name="connsiteX45" fmla="*/ 1041071 w 6499257"/>
                    <a:gd name="connsiteY45" fmla="*/ 1098289 h 3498714"/>
                    <a:gd name="connsiteX46" fmla="*/ 1042136 w 6499257"/>
                    <a:gd name="connsiteY46" fmla="*/ 1419754 h 3498714"/>
                    <a:gd name="connsiteX47" fmla="*/ 1042136 w 6499257"/>
                    <a:gd name="connsiteY47" fmla="*/ 3337652 h 3498714"/>
                    <a:gd name="connsiteX48" fmla="*/ 881075 w 6499257"/>
                    <a:gd name="connsiteY48" fmla="*/ 3498714 h 3498714"/>
                    <a:gd name="connsiteX49" fmla="*/ 720012 w 6499257"/>
                    <a:gd name="connsiteY49" fmla="*/ 3337652 h 3498714"/>
                    <a:gd name="connsiteX50" fmla="*/ 720012 w 6499257"/>
                    <a:gd name="connsiteY50" fmla="*/ 2125717 h 3498714"/>
                    <a:gd name="connsiteX51" fmla="*/ 718947 w 6499257"/>
                    <a:gd name="connsiteY51" fmla="*/ 2033194 h 3498714"/>
                    <a:gd name="connsiteX52" fmla="*/ 714162 w 6499257"/>
                    <a:gd name="connsiteY52" fmla="*/ 2028410 h 3498714"/>
                    <a:gd name="connsiteX53" fmla="*/ 654759 w 6499257"/>
                    <a:gd name="connsiteY53" fmla="*/ 2028410 h 3498714"/>
                    <a:gd name="connsiteX54" fmla="*/ 649974 w 6499257"/>
                    <a:gd name="connsiteY54" fmla="*/ 2033194 h 3498714"/>
                    <a:gd name="connsiteX55" fmla="*/ 649974 w 6499257"/>
                    <a:gd name="connsiteY55" fmla="*/ 2125717 h 3498714"/>
                    <a:gd name="connsiteX56" fmla="*/ 649574 w 6499257"/>
                    <a:gd name="connsiteY56" fmla="*/ 3337652 h 3498714"/>
                    <a:gd name="connsiteX57" fmla="*/ 488511 w 6499257"/>
                    <a:gd name="connsiteY57" fmla="*/ 3498714 h 3498714"/>
                    <a:gd name="connsiteX58" fmla="*/ 327450 w 6499257"/>
                    <a:gd name="connsiteY58" fmla="*/ 3337652 h 3498714"/>
                    <a:gd name="connsiteX59" fmla="*/ 327450 w 6499257"/>
                    <a:gd name="connsiteY59" fmla="*/ 1458216 h 3498714"/>
                    <a:gd name="connsiteX60" fmla="*/ 322427 w 6499257"/>
                    <a:gd name="connsiteY60" fmla="*/ 1098205 h 3498714"/>
                    <a:gd name="connsiteX61" fmla="*/ 317058 w 6499257"/>
                    <a:gd name="connsiteY61" fmla="*/ 1092836 h 3498714"/>
                    <a:gd name="connsiteX62" fmla="*/ 263371 w 6499257"/>
                    <a:gd name="connsiteY62" fmla="*/ 1092836 h 3498714"/>
                    <a:gd name="connsiteX63" fmla="*/ 258001 w 6499257"/>
                    <a:gd name="connsiteY63" fmla="*/ 1098205 h 3498714"/>
                    <a:gd name="connsiteX64" fmla="*/ 258001 w 6499257"/>
                    <a:gd name="connsiteY64" fmla="*/ 1444446 h 3498714"/>
                    <a:gd name="connsiteX65" fmla="*/ 257700 w 6499257"/>
                    <a:gd name="connsiteY65" fmla="*/ 1444370 h 3498714"/>
                    <a:gd name="connsiteX66" fmla="*/ 257700 w 6499257"/>
                    <a:gd name="connsiteY66" fmla="*/ 1912573 h 3498714"/>
                    <a:gd name="connsiteX67" fmla="*/ 128850 w 6499257"/>
                    <a:gd name="connsiteY67" fmla="*/ 2041423 h 3498714"/>
                    <a:gd name="connsiteX68" fmla="*/ 0 w 6499257"/>
                    <a:gd name="connsiteY68" fmla="*/ 1912573 h 3498714"/>
                    <a:gd name="connsiteX69" fmla="*/ 0 w 6499257"/>
                    <a:gd name="connsiteY69" fmla="*/ 1101802 h 3498714"/>
                    <a:gd name="connsiteX70" fmla="*/ 0 w 6499257"/>
                    <a:gd name="connsiteY70" fmla="*/ 1003338 h 3498714"/>
                    <a:gd name="connsiteX71" fmla="*/ 0 w 6499257"/>
                    <a:gd name="connsiteY71" fmla="*/ 982486 h 3498714"/>
                    <a:gd name="connsiteX72" fmla="*/ 12733 w 6499257"/>
                    <a:gd name="connsiteY72" fmla="*/ 894663 h 3498714"/>
                    <a:gd name="connsiteX73" fmla="*/ 20539 w 6499257"/>
                    <a:gd name="connsiteY73" fmla="*/ 868773 h 3498714"/>
                    <a:gd name="connsiteX74" fmla="*/ 358791 w 6499257"/>
                    <a:gd name="connsiteY74" fmla="*/ 644545 h 3498714"/>
                    <a:gd name="connsiteX75" fmla="*/ 682782 w 6499257"/>
                    <a:gd name="connsiteY75" fmla="*/ 0 h 3498714"/>
                    <a:gd name="connsiteX76" fmla="*/ 966919 w 6499257"/>
                    <a:gd name="connsiteY76" fmla="*/ 284138 h 3498714"/>
                    <a:gd name="connsiteX77" fmla="*/ 682782 w 6499257"/>
                    <a:gd name="connsiteY77" fmla="*/ 568275 h 3498714"/>
                    <a:gd name="connsiteX78" fmla="*/ 398645 w 6499257"/>
                    <a:gd name="connsiteY78" fmla="*/ 284138 h 3498714"/>
                    <a:gd name="connsiteX79" fmla="*/ 682782 w 6499257"/>
                    <a:gd name="connsiteY79" fmla="*/ 0 h 3498714"/>
                    <a:gd name="connsiteX80" fmla="*/ 4707054 w 6499257"/>
                    <a:gd name="connsiteY80" fmla="*/ 2902312 h 3498714"/>
                    <a:gd name="connsiteX81" fmla="*/ 4818179 w 6499257"/>
                    <a:gd name="connsiteY81" fmla="*/ 3013437 h 3498714"/>
                    <a:gd name="connsiteX82" fmla="*/ 4707054 w 6499257"/>
                    <a:gd name="connsiteY82" fmla="*/ 3124562 h 3498714"/>
                    <a:gd name="connsiteX83" fmla="*/ 4545125 w 6499257"/>
                    <a:gd name="connsiteY83" fmla="*/ 3124562 h 3498714"/>
                    <a:gd name="connsiteX84" fmla="*/ 4545125 w 6499257"/>
                    <a:gd name="connsiteY84" fmla="*/ 3361625 h 3498714"/>
                    <a:gd name="connsiteX85" fmla="*/ 4436113 w 6499257"/>
                    <a:gd name="connsiteY85" fmla="*/ 3470637 h 3498714"/>
                    <a:gd name="connsiteX86" fmla="*/ 4235039 w 6499257"/>
                    <a:gd name="connsiteY86" fmla="*/ 3470637 h 3498714"/>
                    <a:gd name="connsiteX87" fmla="*/ 4126027 w 6499257"/>
                    <a:gd name="connsiteY87" fmla="*/ 3361625 h 3498714"/>
                    <a:gd name="connsiteX88" fmla="*/ 4126027 w 6499257"/>
                    <a:gd name="connsiteY88" fmla="*/ 3124562 h 3498714"/>
                    <a:gd name="connsiteX89" fmla="*/ 2589325 w 6499257"/>
                    <a:gd name="connsiteY89" fmla="*/ 3124562 h 3498714"/>
                    <a:gd name="connsiteX90" fmla="*/ 2589325 w 6499257"/>
                    <a:gd name="connsiteY90" fmla="*/ 3361625 h 3498714"/>
                    <a:gd name="connsiteX91" fmla="*/ 2480313 w 6499257"/>
                    <a:gd name="connsiteY91" fmla="*/ 3470637 h 3498714"/>
                    <a:gd name="connsiteX92" fmla="*/ 2279239 w 6499257"/>
                    <a:gd name="connsiteY92" fmla="*/ 3470637 h 3498714"/>
                    <a:gd name="connsiteX93" fmla="*/ 2170227 w 6499257"/>
                    <a:gd name="connsiteY93" fmla="*/ 3361625 h 3498714"/>
                    <a:gd name="connsiteX94" fmla="*/ 2170227 w 6499257"/>
                    <a:gd name="connsiteY94" fmla="*/ 3124562 h 3498714"/>
                    <a:gd name="connsiteX95" fmla="*/ 2052754 w 6499257"/>
                    <a:gd name="connsiteY95" fmla="*/ 3124562 h 3498714"/>
                    <a:gd name="connsiteX96" fmla="*/ 1941629 w 6499257"/>
                    <a:gd name="connsiteY96" fmla="*/ 3013437 h 3498714"/>
                    <a:gd name="connsiteX97" fmla="*/ 2052754 w 6499257"/>
                    <a:gd name="connsiteY97" fmla="*/ 2902312 h 3498714"/>
                    <a:gd name="connsiteX98" fmla="*/ 682782 w 6499257"/>
                    <a:gd name="connsiteY98" fmla="*/ 0 h 3498714"/>
                    <a:gd name="connsiteX99" fmla="*/ 4492583 w 6499257"/>
                    <a:gd name="connsiteY99" fmla="*/ 2089512 h 3498714"/>
                    <a:gd name="connsiteX100" fmla="*/ 4311608 w 6499257"/>
                    <a:gd name="connsiteY100" fmla="*/ 2270487 h 3498714"/>
                    <a:gd name="connsiteX101" fmla="*/ 4492583 w 6499257"/>
                    <a:gd name="connsiteY101" fmla="*/ 2451462 h 3498714"/>
                    <a:gd name="connsiteX102" fmla="*/ 5407618 w 6499257"/>
                    <a:gd name="connsiteY102" fmla="*/ 2468742 h 3498714"/>
                    <a:gd name="connsiteX103" fmla="*/ 6498753 w 6499257"/>
                    <a:gd name="connsiteY103" fmla="*/ 2404799 h 3498714"/>
                    <a:gd name="connsiteX104" fmla="*/ 5388995 w 6499257"/>
                    <a:gd name="connsiteY104"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651061 w 6499257"/>
                    <a:gd name="connsiteY12" fmla="*/ 1167548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4277738 w 6499257"/>
                    <a:gd name="connsiteY16" fmla="*/ 1922593 h 3498714"/>
                    <a:gd name="connsiteX17" fmla="*/ 4112835 w 6499257"/>
                    <a:gd name="connsiteY17" fmla="*/ 1167548 h 3498714"/>
                    <a:gd name="connsiteX18" fmla="*/ 2651061 w 6499257"/>
                    <a:gd name="connsiteY18" fmla="*/ 1167548 h 3498714"/>
                    <a:gd name="connsiteX19" fmla="*/ 2534724 w 6499257"/>
                    <a:gd name="connsiteY19" fmla="*/ 982297 h 3498714"/>
                    <a:gd name="connsiteX20" fmla="*/ 4229172 w 6499257"/>
                    <a:gd name="connsiteY20" fmla="*/ 982297 h 3498714"/>
                    <a:gd name="connsiteX21" fmla="*/ 4546612 w 6499257"/>
                    <a:gd name="connsiteY21" fmla="*/ 1856643 h 3498714"/>
                    <a:gd name="connsiteX22" fmla="*/ 4936448 w 6499257"/>
                    <a:gd name="connsiteY22" fmla="*/ 2279217 h 3498714"/>
                    <a:gd name="connsiteX23" fmla="*/ 4802103 w 6499257"/>
                    <a:gd name="connsiteY23" fmla="*/ 2588456 h 3498714"/>
                    <a:gd name="connsiteX24" fmla="*/ 4904699 w 6499257"/>
                    <a:gd name="connsiteY24" fmla="*/ 2705462 h 3498714"/>
                    <a:gd name="connsiteX25" fmla="*/ 4904698 w 6499257"/>
                    <a:gd name="connsiteY25" fmla="*/ 2705462 h 3498714"/>
                    <a:gd name="connsiteX26" fmla="*/ 4784047 w 6499257"/>
                    <a:gd name="connsiteY26" fmla="*/ 2826113 h 3498714"/>
                    <a:gd name="connsiteX27" fmla="*/ 1970999 w 6499257"/>
                    <a:gd name="connsiteY27" fmla="*/ 2826112 h 3498714"/>
                    <a:gd name="connsiteX28" fmla="*/ 1850348 w 6499257"/>
                    <a:gd name="connsiteY28" fmla="*/ 2705462 h 3498714"/>
                    <a:gd name="connsiteX29" fmla="*/ 1956769 w 6499257"/>
                    <a:gd name="connsiteY29" fmla="*/ 2587684 h 3498714"/>
                    <a:gd name="connsiteX30" fmla="*/ 1823360 w 6499257"/>
                    <a:gd name="connsiteY30" fmla="*/ 2279217 h 3498714"/>
                    <a:gd name="connsiteX31" fmla="*/ 2217440 w 6499257"/>
                    <a:gd name="connsiteY31" fmla="*/ 1856216 h 3498714"/>
                    <a:gd name="connsiteX32" fmla="*/ 2534724 w 6499257"/>
                    <a:gd name="connsiteY32" fmla="*/ 982297 h 3498714"/>
                    <a:gd name="connsiteX33" fmla="*/ 358791 w 6499257"/>
                    <a:gd name="connsiteY33" fmla="*/ 644545 h 3498714"/>
                    <a:gd name="connsiteX34" fmla="*/ 1006774 w 6499257"/>
                    <a:gd name="connsiteY34" fmla="*/ 644545 h 3498714"/>
                    <a:gd name="connsiteX35" fmla="*/ 1542636 w 6499257"/>
                    <a:gd name="connsiteY35" fmla="*/ 1193969 h 3498714"/>
                    <a:gd name="connsiteX36" fmla="*/ 1929878 w 6499257"/>
                    <a:gd name="connsiteY36" fmla="*/ 1193970 h 3498714"/>
                    <a:gd name="connsiteX37" fmla="*/ 2070059 w 6499257"/>
                    <a:gd name="connsiteY37" fmla="*/ 1334152 h 3498714"/>
                    <a:gd name="connsiteX38" fmla="*/ 1929878 w 6499257"/>
                    <a:gd name="connsiteY38" fmla="*/ 1474333 h 3498714"/>
                    <a:gd name="connsiteX39" fmla="*/ 1520943 w 6499257"/>
                    <a:gd name="connsiteY39" fmla="*/ 1470388 h 3498714"/>
                    <a:gd name="connsiteX40" fmla="*/ 1332825 w 6499257"/>
                    <a:gd name="connsiteY40" fmla="*/ 1367201 h 3498714"/>
                    <a:gd name="connsiteX41" fmla="*/ 1106501 w 6499257"/>
                    <a:gd name="connsiteY41" fmla="*/ 1098289 h 3498714"/>
                    <a:gd name="connsiteX42" fmla="*/ 1101049 w 6499257"/>
                    <a:gd name="connsiteY42" fmla="*/ 1092836 h 3498714"/>
                    <a:gd name="connsiteX43" fmla="*/ 1046523 w 6499257"/>
                    <a:gd name="connsiteY43" fmla="*/ 1092836 h 3498714"/>
                    <a:gd name="connsiteX44" fmla="*/ 1041071 w 6499257"/>
                    <a:gd name="connsiteY44" fmla="*/ 1098289 h 3498714"/>
                    <a:gd name="connsiteX45" fmla="*/ 1042136 w 6499257"/>
                    <a:gd name="connsiteY45" fmla="*/ 1419754 h 3498714"/>
                    <a:gd name="connsiteX46" fmla="*/ 1042136 w 6499257"/>
                    <a:gd name="connsiteY46" fmla="*/ 3337652 h 3498714"/>
                    <a:gd name="connsiteX47" fmla="*/ 881075 w 6499257"/>
                    <a:gd name="connsiteY47" fmla="*/ 3498714 h 3498714"/>
                    <a:gd name="connsiteX48" fmla="*/ 720012 w 6499257"/>
                    <a:gd name="connsiteY48" fmla="*/ 3337652 h 3498714"/>
                    <a:gd name="connsiteX49" fmla="*/ 720012 w 6499257"/>
                    <a:gd name="connsiteY49" fmla="*/ 2125717 h 3498714"/>
                    <a:gd name="connsiteX50" fmla="*/ 718947 w 6499257"/>
                    <a:gd name="connsiteY50" fmla="*/ 2033194 h 3498714"/>
                    <a:gd name="connsiteX51" fmla="*/ 714162 w 6499257"/>
                    <a:gd name="connsiteY51" fmla="*/ 2028410 h 3498714"/>
                    <a:gd name="connsiteX52" fmla="*/ 654759 w 6499257"/>
                    <a:gd name="connsiteY52" fmla="*/ 2028410 h 3498714"/>
                    <a:gd name="connsiteX53" fmla="*/ 649974 w 6499257"/>
                    <a:gd name="connsiteY53" fmla="*/ 2033194 h 3498714"/>
                    <a:gd name="connsiteX54" fmla="*/ 649974 w 6499257"/>
                    <a:gd name="connsiteY54" fmla="*/ 2125717 h 3498714"/>
                    <a:gd name="connsiteX55" fmla="*/ 649574 w 6499257"/>
                    <a:gd name="connsiteY55" fmla="*/ 3337652 h 3498714"/>
                    <a:gd name="connsiteX56" fmla="*/ 488511 w 6499257"/>
                    <a:gd name="connsiteY56" fmla="*/ 3498714 h 3498714"/>
                    <a:gd name="connsiteX57" fmla="*/ 327450 w 6499257"/>
                    <a:gd name="connsiteY57" fmla="*/ 3337652 h 3498714"/>
                    <a:gd name="connsiteX58" fmla="*/ 327450 w 6499257"/>
                    <a:gd name="connsiteY58" fmla="*/ 1458216 h 3498714"/>
                    <a:gd name="connsiteX59" fmla="*/ 322427 w 6499257"/>
                    <a:gd name="connsiteY59" fmla="*/ 1098205 h 3498714"/>
                    <a:gd name="connsiteX60" fmla="*/ 317058 w 6499257"/>
                    <a:gd name="connsiteY60" fmla="*/ 1092836 h 3498714"/>
                    <a:gd name="connsiteX61" fmla="*/ 263371 w 6499257"/>
                    <a:gd name="connsiteY61" fmla="*/ 1092836 h 3498714"/>
                    <a:gd name="connsiteX62" fmla="*/ 258001 w 6499257"/>
                    <a:gd name="connsiteY62" fmla="*/ 1098205 h 3498714"/>
                    <a:gd name="connsiteX63" fmla="*/ 258001 w 6499257"/>
                    <a:gd name="connsiteY63" fmla="*/ 1444446 h 3498714"/>
                    <a:gd name="connsiteX64" fmla="*/ 257700 w 6499257"/>
                    <a:gd name="connsiteY64" fmla="*/ 1444370 h 3498714"/>
                    <a:gd name="connsiteX65" fmla="*/ 257700 w 6499257"/>
                    <a:gd name="connsiteY65" fmla="*/ 1912573 h 3498714"/>
                    <a:gd name="connsiteX66" fmla="*/ 128850 w 6499257"/>
                    <a:gd name="connsiteY66" fmla="*/ 2041423 h 3498714"/>
                    <a:gd name="connsiteX67" fmla="*/ 0 w 6499257"/>
                    <a:gd name="connsiteY67" fmla="*/ 1912573 h 3498714"/>
                    <a:gd name="connsiteX68" fmla="*/ 0 w 6499257"/>
                    <a:gd name="connsiteY68" fmla="*/ 1101802 h 3498714"/>
                    <a:gd name="connsiteX69" fmla="*/ 0 w 6499257"/>
                    <a:gd name="connsiteY69" fmla="*/ 1003338 h 3498714"/>
                    <a:gd name="connsiteX70" fmla="*/ 0 w 6499257"/>
                    <a:gd name="connsiteY70" fmla="*/ 982486 h 3498714"/>
                    <a:gd name="connsiteX71" fmla="*/ 12733 w 6499257"/>
                    <a:gd name="connsiteY71" fmla="*/ 894663 h 3498714"/>
                    <a:gd name="connsiteX72" fmla="*/ 20539 w 6499257"/>
                    <a:gd name="connsiteY72" fmla="*/ 868773 h 3498714"/>
                    <a:gd name="connsiteX73" fmla="*/ 358791 w 6499257"/>
                    <a:gd name="connsiteY73" fmla="*/ 644545 h 3498714"/>
                    <a:gd name="connsiteX74" fmla="*/ 682782 w 6499257"/>
                    <a:gd name="connsiteY74" fmla="*/ 0 h 3498714"/>
                    <a:gd name="connsiteX75" fmla="*/ 966919 w 6499257"/>
                    <a:gd name="connsiteY75" fmla="*/ 284138 h 3498714"/>
                    <a:gd name="connsiteX76" fmla="*/ 682782 w 6499257"/>
                    <a:gd name="connsiteY76" fmla="*/ 568275 h 3498714"/>
                    <a:gd name="connsiteX77" fmla="*/ 398645 w 6499257"/>
                    <a:gd name="connsiteY77" fmla="*/ 284138 h 3498714"/>
                    <a:gd name="connsiteX78" fmla="*/ 682782 w 6499257"/>
                    <a:gd name="connsiteY78" fmla="*/ 0 h 3498714"/>
                    <a:gd name="connsiteX79" fmla="*/ 4707054 w 6499257"/>
                    <a:gd name="connsiteY79" fmla="*/ 2902312 h 3498714"/>
                    <a:gd name="connsiteX80" fmla="*/ 4818179 w 6499257"/>
                    <a:gd name="connsiteY80" fmla="*/ 3013437 h 3498714"/>
                    <a:gd name="connsiteX81" fmla="*/ 4707054 w 6499257"/>
                    <a:gd name="connsiteY81" fmla="*/ 3124562 h 3498714"/>
                    <a:gd name="connsiteX82" fmla="*/ 4545125 w 6499257"/>
                    <a:gd name="connsiteY82" fmla="*/ 3124562 h 3498714"/>
                    <a:gd name="connsiteX83" fmla="*/ 4545125 w 6499257"/>
                    <a:gd name="connsiteY83" fmla="*/ 3361625 h 3498714"/>
                    <a:gd name="connsiteX84" fmla="*/ 4436113 w 6499257"/>
                    <a:gd name="connsiteY84" fmla="*/ 3470637 h 3498714"/>
                    <a:gd name="connsiteX85" fmla="*/ 4235039 w 6499257"/>
                    <a:gd name="connsiteY85" fmla="*/ 3470637 h 3498714"/>
                    <a:gd name="connsiteX86" fmla="*/ 4126027 w 6499257"/>
                    <a:gd name="connsiteY86" fmla="*/ 3361625 h 3498714"/>
                    <a:gd name="connsiteX87" fmla="*/ 4126027 w 6499257"/>
                    <a:gd name="connsiteY87" fmla="*/ 3124562 h 3498714"/>
                    <a:gd name="connsiteX88" fmla="*/ 2589325 w 6499257"/>
                    <a:gd name="connsiteY88" fmla="*/ 3124562 h 3498714"/>
                    <a:gd name="connsiteX89" fmla="*/ 2589325 w 6499257"/>
                    <a:gd name="connsiteY89" fmla="*/ 3361625 h 3498714"/>
                    <a:gd name="connsiteX90" fmla="*/ 2480313 w 6499257"/>
                    <a:gd name="connsiteY90" fmla="*/ 3470637 h 3498714"/>
                    <a:gd name="connsiteX91" fmla="*/ 2279239 w 6499257"/>
                    <a:gd name="connsiteY91" fmla="*/ 3470637 h 3498714"/>
                    <a:gd name="connsiteX92" fmla="*/ 2170227 w 6499257"/>
                    <a:gd name="connsiteY92" fmla="*/ 3361625 h 3498714"/>
                    <a:gd name="connsiteX93" fmla="*/ 2170227 w 6499257"/>
                    <a:gd name="connsiteY93" fmla="*/ 3124562 h 3498714"/>
                    <a:gd name="connsiteX94" fmla="*/ 2052754 w 6499257"/>
                    <a:gd name="connsiteY94" fmla="*/ 3124562 h 3498714"/>
                    <a:gd name="connsiteX95" fmla="*/ 1941629 w 6499257"/>
                    <a:gd name="connsiteY95" fmla="*/ 3013437 h 3498714"/>
                    <a:gd name="connsiteX96" fmla="*/ 2052754 w 6499257"/>
                    <a:gd name="connsiteY96" fmla="*/ 2902312 h 3498714"/>
                    <a:gd name="connsiteX97" fmla="*/ 682782 w 6499257"/>
                    <a:gd name="connsiteY97" fmla="*/ 0 h 3498714"/>
                    <a:gd name="connsiteX98" fmla="*/ 4492583 w 6499257"/>
                    <a:gd name="connsiteY98" fmla="*/ 2089512 h 3498714"/>
                    <a:gd name="connsiteX99" fmla="*/ 4311608 w 6499257"/>
                    <a:gd name="connsiteY99" fmla="*/ 2270487 h 3498714"/>
                    <a:gd name="connsiteX100" fmla="*/ 4492583 w 6499257"/>
                    <a:gd name="connsiteY100" fmla="*/ 2451462 h 3498714"/>
                    <a:gd name="connsiteX101" fmla="*/ 5407618 w 6499257"/>
                    <a:gd name="connsiteY101" fmla="*/ 2468742 h 3498714"/>
                    <a:gd name="connsiteX102" fmla="*/ 6498753 w 6499257"/>
                    <a:gd name="connsiteY102" fmla="*/ 2404799 h 3498714"/>
                    <a:gd name="connsiteX103" fmla="*/ 5388995 w 6499257"/>
                    <a:gd name="connsiteY103"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651061 w 6499257"/>
                    <a:gd name="connsiteY12" fmla="*/ 1167548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4112835 w 6499257"/>
                    <a:gd name="connsiteY16" fmla="*/ 1167548 h 3498714"/>
                    <a:gd name="connsiteX17" fmla="*/ 2651061 w 6499257"/>
                    <a:gd name="connsiteY17" fmla="*/ 1167548 h 3498714"/>
                    <a:gd name="connsiteX18" fmla="*/ 2534724 w 6499257"/>
                    <a:gd name="connsiteY18" fmla="*/ 982297 h 3498714"/>
                    <a:gd name="connsiteX19" fmla="*/ 4229172 w 6499257"/>
                    <a:gd name="connsiteY19" fmla="*/ 982297 h 3498714"/>
                    <a:gd name="connsiteX20" fmla="*/ 4546612 w 6499257"/>
                    <a:gd name="connsiteY20" fmla="*/ 1856643 h 3498714"/>
                    <a:gd name="connsiteX21" fmla="*/ 4936448 w 6499257"/>
                    <a:gd name="connsiteY21" fmla="*/ 2279217 h 3498714"/>
                    <a:gd name="connsiteX22" fmla="*/ 4802103 w 6499257"/>
                    <a:gd name="connsiteY22" fmla="*/ 2588456 h 3498714"/>
                    <a:gd name="connsiteX23" fmla="*/ 4904699 w 6499257"/>
                    <a:gd name="connsiteY23" fmla="*/ 2705462 h 3498714"/>
                    <a:gd name="connsiteX24" fmla="*/ 4904698 w 6499257"/>
                    <a:gd name="connsiteY24" fmla="*/ 2705462 h 3498714"/>
                    <a:gd name="connsiteX25" fmla="*/ 4784047 w 6499257"/>
                    <a:gd name="connsiteY25" fmla="*/ 2826113 h 3498714"/>
                    <a:gd name="connsiteX26" fmla="*/ 1970999 w 6499257"/>
                    <a:gd name="connsiteY26" fmla="*/ 2826112 h 3498714"/>
                    <a:gd name="connsiteX27" fmla="*/ 1850348 w 6499257"/>
                    <a:gd name="connsiteY27" fmla="*/ 2705462 h 3498714"/>
                    <a:gd name="connsiteX28" fmla="*/ 1956769 w 6499257"/>
                    <a:gd name="connsiteY28" fmla="*/ 2587684 h 3498714"/>
                    <a:gd name="connsiteX29" fmla="*/ 1823360 w 6499257"/>
                    <a:gd name="connsiteY29" fmla="*/ 2279217 h 3498714"/>
                    <a:gd name="connsiteX30" fmla="*/ 2217440 w 6499257"/>
                    <a:gd name="connsiteY30" fmla="*/ 1856216 h 3498714"/>
                    <a:gd name="connsiteX31" fmla="*/ 2534724 w 6499257"/>
                    <a:gd name="connsiteY31" fmla="*/ 982297 h 3498714"/>
                    <a:gd name="connsiteX32" fmla="*/ 358791 w 6499257"/>
                    <a:gd name="connsiteY32" fmla="*/ 644545 h 3498714"/>
                    <a:gd name="connsiteX33" fmla="*/ 1006774 w 6499257"/>
                    <a:gd name="connsiteY33" fmla="*/ 644545 h 3498714"/>
                    <a:gd name="connsiteX34" fmla="*/ 1542636 w 6499257"/>
                    <a:gd name="connsiteY34" fmla="*/ 1193969 h 3498714"/>
                    <a:gd name="connsiteX35" fmla="*/ 1929878 w 6499257"/>
                    <a:gd name="connsiteY35" fmla="*/ 1193970 h 3498714"/>
                    <a:gd name="connsiteX36" fmla="*/ 2070059 w 6499257"/>
                    <a:gd name="connsiteY36" fmla="*/ 1334152 h 3498714"/>
                    <a:gd name="connsiteX37" fmla="*/ 1929878 w 6499257"/>
                    <a:gd name="connsiteY37" fmla="*/ 1474333 h 3498714"/>
                    <a:gd name="connsiteX38" fmla="*/ 1520943 w 6499257"/>
                    <a:gd name="connsiteY38" fmla="*/ 1470388 h 3498714"/>
                    <a:gd name="connsiteX39" fmla="*/ 1332825 w 6499257"/>
                    <a:gd name="connsiteY39" fmla="*/ 1367201 h 3498714"/>
                    <a:gd name="connsiteX40" fmla="*/ 1106501 w 6499257"/>
                    <a:gd name="connsiteY40" fmla="*/ 1098289 h 3498714"/>
                    <a:gd name="connsiteX41" fmla="*/ 1101049 w 6499257"/>
                    <a:gd name="connsiteY41" fmla="*/ 1092836 h 3498714"/>
                    <a:gd name="connsiteX42" fmla="*/ 1046523 w 6499257"/>
                    <a:gd name="connsiteY42" fmla="*/ 1092836 h 3498714"/>
                    <a:gd name="connsiteX43" fmla="*/ 1041071 w 6499257"/>
                    <a:gd name="connsiteY43" fmla="*/ 1098289 h 3498714"/>
                    <a:gd name="connsiteX44" fmla="*/ 1042136 w 6499257"/>
                    <a:gd name="connsiteY44" fmla="*/ 1419754 h 3498714"/>
                    <a:gd name="connsiteX45" fmla="*/ 1042136 w 6499257"/>
                    <a:gd name="connsiteY45" fmla="*/ 3337652 h 3498714"/>
                    <a:gd name="connsiteX46" fmla="*/ 881075 w 6499257"/>
                    <a:gd name="connsiteY46" fmla="*/ 3498714 h 3498714"/>
                    <a:gd name="connsiteX47" fmla="*/ 720012 w 6499257"/>
                    <a:gd name="connsiteY47" fmla="*/ 3337652 h 3498714"/>
                    <a:gd name="connsiteX48" fmla="*/ 720012 w 6499257"/>
                    <a:gd name="connsiteY48" fmla="*/ 2125717 h 3498714"/>
                    <a:gd name="connsiteX49" fmla="*/ 718947 w 6499257"/>
                    <a:gd name="connsiteY49" fmla="*/ 2033194 h 3498714"/>
                    <a:gd name="connsiteX50" fmla="*/ 714162 w 6499257"/>
                    <a:gd name="connsiteY50" fmla="*/ 2028410 h 3498714"/>
                    <a:gd name="connsiteX51" fmla="*/ 654759 w 6499257"/>
                    <a:gd name="connsiteY51" fmla="*/ 2028410 h 3498714"/>
                    <a:gd name="connsiteX52" fmla="*/ 649974 w 6499257"/>
                    <a:gd name="connsiteY52" fmla="*/ 2033194 h 3498714"/>
                    <a:gd name="connsiteX53" fmla="*/ 649974 w 6499257"/>
                    <a:gd name="connsiteY53" fmla="*/ 2125717 h 3498714"/>
                    <a:gd name="connsiteX54" fmla="*/ 649574 w 6499257"/>
                    <a:gd name="connsiteY54" fmla="*/ 3337652 h 3498714"/>
                    <a:gd name="connsiteX55" fmla="*/ 488511 w 6499257"/>
                    <a:gd name="connsiteY55" fmla="*/ 3498714 h 3498714"/>
                    <a:gd name="connsiteX56" fmla="*/ 327450 w 6499257"/>
                    <a:gd name="connsiteY56" fmla="*/ 3337652 h 3498714"/>
                    <a:gd name="connsiteX57" fmla="*/ 327450 w 6499257"/>
                    <a:gd name="connsiteY57" fmla="*/ 1458216 h 3498714"/>
                    <a:gd name="connsiteX58" fmla="*/ 322427 w 6499257"/>
                    <a:gd name="connsiteY58" fmla="*/ 1098205 h 3498714"/>
                    <a:gd name="connsiteX59" fmla="*/ 317058 w 6499257"/>
                    <a:gd name="connsiteY59" fmla="*/ 1092836 h 3498714"/>
                    <a:gd name="connsiteX60" fmla="*/ 263371 w 6499257"/>
                    <a:gd name="connsiteY60" fmla="*/ 1092836 h 3498714"/>
                    <a:gd name="connsiteX61" fmla="*/ 258001 w 6499257"/>
                    <a:gd name="connsiteY61" fmla="*/ 1098205 h 3498714"/>
                    <a:gd name="connsiteX62" fmla="*/ 258001 w 6499257"/>
                    <a:gd name="connsiteY62" fmla="*/ 1444446 h 3498714"/>
                    <a:gd name="connsiteX63" fmla="*/ 257700 w 6499257"/>
                    <a:gd name="connsiteY63" fmla="*/ 1444370 h 3498714"/>
                    <a:gd name="connsiteX64" fmla="*/ 257700 w 6499257"/>
                    <a:gd name="connsiteY64" fmla="*/ 1912573 h 3498714"/>
                    <a:gd name="connsiteX65" fmla="*/ 128850 w 6499257"/>
                    <a:gd name="connsiteY65" fmla="*/ 2041423 h 3498714"/>
                    <a:gd name="connsiteX66" fmla="*/ 0 w 6499257"/>
                    <a:gd name="connsiteY66" fmla="*/ 1912573 h 3498714"/>
                    <a:gd name="connsiteX67" fmla="*/ 0 w 6499257"/>
                    <a:gd name="connsiteY67" fmla="*/ 1101802 h 3498714"/>
                    <a:gd name="connsiteX68" fmla="*/ 0 w 6499257"/>
                    <a:gd name="connsiteY68" fmla="*/ 1003338 h 3498714"/>
                    <a:gd name="connsiteX69" fmla="*/ 0 w 6499257"/>
                    <a:gd name="connsiteY69" fmla="*/ 982486 h 3498714"/>
                    <a:gd name="connsiteX70" fmla="*/ 12733 w 6499257"/>
                    <a:gd name="connsiteY70" fmla="*/ 894663 h 3498714"/>
                    <a:gd name="connsiteX71" fmla="*/ 20539 w 6499257"/>
                    <a:gd name="connsiteY71" fmla="*/ 868773 h 3498714"/>
                    <a:gd name="connsiteX72" fmla="*/ 358791 w 6499257"/>
                    <a:gd name="connsiteY72" fmla="*/ 644545 h 3498714"/>
                    <a:gd name="connsiteX73" fmla="*/ 682782 w 6499257"/>
                    <a:gd name="connsiteY73" fmla="*/ 0 h 3498714"/>
                    <a:gd name="connsiteX74" fmla="*/ 966919 w 6499257"/>
                    <a:gd name="connsiteY74" fmla="*/ 284138 h 3498714"/>
                    <a:gd name="connsiteX75" fmla="*/ 682782 w 6499257"/>
                    <a:gd name="connsiteY75" fmla="*/ 568275 h 3498714"/>
                    <a:gd name="connsiteX76" fmla="*/ 398645 w 6499257"/>
                    <a:gd name="connsiteY76" fmla="*/ 284138 h 3498714"/>
                    <a:gd name="connsiteX77" fmla="*/ 682782 w 6499257"/>
                    <a:gd name="connsiteY77" fmla="*/ 0 h 3498714"/>
                    <a:gd name="connsiteX78" fmla="*/ 4707054 w 6499257"/>
                    <a:gd name="connsiteY78" fmla="*/ 2902312 h 3498714"/>
                    <a:gd name="connsiteX79" fmla="*/ 4818179 w 6499257"/>
                    <a:gd name="connsiteY79" fmla="*/ 3013437 h 3498714"/>
                    <a:gd name="connsiteX80" fmla="*/ 4707054 w 6499257"/>
                    <a:gd name="connsiteY80" fmla="*/ 3124562 h 3498714"/>
                    <a:gd name="connsiteX81" fmla="*/ 4545125 w 6499257"/>
                    <a:gd name="connsiteY81" fmla="*/ 3124562 h 3498714"/>
                    <a:gd name="connsiteX82" fmla="*/ 4545125 w 6499257"/>
                    <a:gd name="connsiteY82" fmla="*/ 3361625 h 3498714"/>
                    <a:gd name="connsiteX83" fmla="*/ 4436113 w 6499257"/>
                    <a:gd name="connsiteY83" fmla="*/ 3470637 h 3498714"/>
                    <a:gd name="connsiteX84" fmla="*/ 4235039 w 6499257"/>
                    <a:gd name="connsiteY84" fmla="*/ 3470637 h 3498714"/>
                    <a:gd name="connsiteX85" fmla="*/ 4126027 w 6499257"/>
                    <a:gd name="connsiteY85" fmla="*/ 3361625 h 3498714"/>
                    <a:gd name="connsiteX86" fmla="*/ 4126027 w 6499257"/>
                    <a:gd name="connsiteY86" fmla="*/ 3124562 h 3498714"/>
                    <a:gd name="connsiteX87" fmla="*/ 2589325 w 6499257"/>
                    <a:gd name="connsiteY87" fmla="*/ 3124562 h 3498714"/>
                    <a:gd name="connsiteX88" fmla="*/ 2589325 w 6499257"/>
                    <a:gd name="connsiteY88" fmla="*/ 3361625 h 3498714"/>
                    <a:gd name="connsiteX89" fmla="*/ 2480313 w 6499257"/>
                    <a:gd name="connsiteY89" fmla="*/ 3470637 h 3498714"/>
                    <a:gd name="connsiteX90" fmla="*/ 2279239 w 6499257"/>
                    <a:gd name="connsiteY90" fmla="*/ 3470637 h 3498714"/>
                    <a:gd name="connsiteX91" fmla="*/ 2170227 w 6499257"/>
                    <a:gd name="connsiteY91" fmla="*/ 3361625 h 3498714"/>
                    <a:gd name="connsiteX92" fmla="*/ 2170227 w 6499257"/>
                    <a:gd name="connsiteY92" fmla="*/ 3124562 h 3498714"/>
                    <a:gd name="connsiteX93" fmla="*/ 2052754 w 6499257"/>
                    <a:gd name="connsiteY93" fmla="*/ 3124562 h 3498714"/>
                    <a:gd name="connsiteX94" fmla="*/ 1941629 w 6499257"/>
                    <a:gd name="connsiteY94" fmla="*/ 3013437 h 3498714"/>
                    <a:gd name="connsiteX95" fmla="*/ 2052754 w 6499257"/>
                    <a:gd name="connsiteY95" fmla="*/ 2902312 h 3498714"/>
                    <a:gd name="connsiteX96" fmla="*/ 682782 w 6499257"/>
                    <a:gd name="connsiteY96" fmla="*/ 0 h 3498714"/>
                    <a:gd name="connsiteX97" fmla="*/ 4492583 w 6499257"/>
                    <a:gd name="connsiteY97" fmla="*/ 2089512 h 3498714"/>
                    <a:gd name="connsiteX98" fmla="*/ 4311608 w 6499257"/>
                    <a:gd name="connsiteY98" fmla="*/ 2270487 h 3498714"/>
                    <a:gd name="connsiteX99" fmla="*/ 4492583 w 6499257"/>
                    <a:gd name="connsiteY99" fmla="*/ 2451462 h 3498714"/>
                    <a:gd name="connsiteX100" fmla="*/ 5407618 w 6499257"/>
                    <a:gd name="connsiteY100" fmla="*/ 2468742 h 3498714"/>
                    <a:gd name="connsiteX101" fmla="*/ 6498753 w 6499257"/>
                    <a:gd name="connsiteY101" fmla="*/ 2404799 h 3498714"/>
                    <a:gd name="connsiteX102" fmla="*/ 5388995 w 6499257"/>
                    <a:gd name="connsiteY102"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651061 w 6499257"/>
                    <a:gd name="connsiteY12" fmla="*/ 1167548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2651061 w 6499257"/>
                    <a:gd name="connsiteY16" fmla="*/ 1167548 h 3498714"/>
                    <a:gd name="connsiteX17" fmla="*/ 2534724 w 6499257"/>
                    <a:gd name="connsiteY17" fmla="*/ 982297 h 3498714"/>
                    <a:gd name="connsiteX18" fmla="*/ 4229172 w 6499257"/>
                    <a:gd name="connsiteY18" fmla="*/ 982297 h 3498714"/>
                    <a:gd name="connsiteX19" fmla="*/ 4546612 w 6499257"/>
                    <a:gd name="connsiteY19" fmla="*/ 1856643 h 3498714"/>
                    <a:gd name="connsiteX20" fmla="*/ 4936448 w 6499257"/>
                    <a:gd name="connsiteY20" fmla="*/ 2279217 h 3498714"/>
                    <a:gd name="connsiteX21" fmla="*/ 4802103 w 6499257"/>
                    <a:gd name="connsiteY21" fmla="*/ 2588456 h 3498714"/>
                    <a:gd name="connsiteX22" fmla="*/ 4904699 w 6499257"/>
                    <a:gd name="connsiteY22" fmla="*/ 2705462 h 3498714"/>
                    <a:gd name="connsiteX23" fmla="*/ 4904698 w 6499257"/>
                    <a:gd name="connsiteY23" fmla="*/ 2705462 h 3498714"/>
                    <a:gd name="connsiteX24" fmla="*/ 4784047 w 6499257"/>
                    <a:gd name="connsiteY24" fmla="*/ 2826113 h 3498714"/>
                    <a:gd name="connsiteX25" fmla="*/ 1970999 w 6499257"/>
                    <a:gd name="connsiteY25" fmla="*/ 2826112 h 3498714"/>
                    <a:gd name="connsiteX26" fmla="*/ 1850348 w 6499257"/>
                    <a:gd name="connsiteY26" fmla="*/ 2705462 h 3498714"/>
                    <a:gd name="connsiteX27" fmla="*/ 1956769 w 6499257"/>
                    <a:gd name="connsiteY27" fmla="*/ 2587684 h 3498714"/>
                    <a:gd name="connsiteX28" fmla="*/ 1823360 w 6499257"/>
                    <a:gd name="connsiteY28" fmla="*/ 2279217 h 3498714"/>
                    <a:gd name="connsiteX29" fmla="*/ 2217440 w 6499257"/>
                    <a:gd name="connsiteY29" fmla="*/ 1856216 h 3498714"/>
                    <a:gd name="connsiteX30" fmla="*/ 2534724 w 6499257"/>
                    <a:gd name="connsiteY30" fmla="*/ 982297 h 3498714"/>
                    <a:gd name="connsiteX31" fmla="*/ 358791 w 6499257"/>
                    <a:gd name="connsiteY31" fmla="*/ 644545 h 3498714"/>
                    <a:gd name="connsiteX32" fmla="*/ 1006774 w 6499257"/>
                    <a:gd name="connsiteY32" fmla="*/ 644545 h 3498714"/>
                    <a:gd name="connsiteX33" fmla="*/ 1542636 w 6499257"/>
                    <a:gd name="connsiteY33" fmla="*/ 1193969 h 3498714"/>
                    <a:gd name="connsiteX34" fmla="*/ 1929878 w 6499257"/>
                    <a:gd name="connsiteY34" fmla="*/ 1193970 h 3498714"/>
                    <a:gd name="connsiteX35" fmla="*/ 2070059 w 6499257"/>
                    <a:gd name="connsiteY35" fmla="*/ 1334152 h 3498714"/>
                    <a:gd name="connsiteX36" fmla="*/ 1929878 w 6499257"/>
                    <a:gd name="connsiteY36" fmla="*/ 1474333 h 3498714"/>
                    <a:gd name="connsiteX37" fmla="*/ 1520943 w 6499257"/>
                    <a:gd name="connsiteY37" fmla="*/ 1470388 h 3498714"/>
                    <a:gd name="connsiteX38" fmla="*/ 1332825 w 6499257"/>
                    <a:gd name="connsiteY38" fmla="*/ 1367201 h 3498714"/>
                    <a:gd name="connsiteX39" fmla="*/ 1106501 w 6499257"/>
                    <a:gd name="connsiteY39" fmla="*/ 1098289 h 3498714"/>
                    <a:gd name="connsiteX40" fmla="*/ 1101049 w 6499257"/>
                    <a:gd name="connsiteY40" fmla="*/ 1092836 h 3498714"/>
                    <a:gd name="connsiteX41" fmla="*/ 1046523 w 6499257"/>
                    <a:gd name="connsiteY41" fmla="*/ 1092836 h 3498714"/>
                    <a:gd name="connsiteX42" fmla="*/ 1041071 w 6499257"/>
                    <a:gd name="connsiteY42" fmla="*/ 1098289 h 3498714"/>
                    <a:gd name="connsiteX43" fmla="*/ 1042136 w 6499257"/>
                    <a:gd name="connsiteY43" fmla="*/ 1419754 h 3498714"/>
                    <a:gd name="connsiteX44" fmla="*/ 1042136 w 6499257"/>
                    <a:gd name="connsiteY44" fmla="*/ 3337652 h 3498714"/>
                    <a:gd name="connsiteX45" fmla="*/ 881075 w 6499257"/>
                    <a:gd name="connsiteY45" fmla="*/ 3498714 h 3498714"/>
                    <a:gd name="connsiteX46" fmla="*/ 720012 w 6499257"/>
                    <a:gd name="connsiteY46" fmla="*/ 3337652 h 3498714"/>
                    <a:gd name="connsiteX47" fmla="*/ 720012 w 6499257"/>
                    <a:gd name="connsiteY47" fmla="*/ 2125717 h 3498714"/>
                    <a:gd name="connsiteX48" fmla="*/ 718947 w 6499257"/>
                    <a:gd name="connsiteY48" fmla="*/ 2033194 h 3498714"/>
                    <a:gd name="connsiteX49" fmla="*/ 714162 w 6499257"/>
                    <a:gd name="connsiteY49" fmla="*/ 2028410 h 3498714"/>
                    <a:gd name="connsiteX50" fmla="*/ 654759 w 6499257"/>
                    <a:gd name="connsiteY50" fmla="*/ 2028410 h 3498714"/>
                    <a:gd name="connsiteX51" fmla="*/ 649974 w 6499257"/>
                    <a:gd name="connsiteY51" fmla="*/ 2033194 h 3498714"/>
                    <a:gd name="connsiteX52" fmla="*/ 649974 w 6499257"/>
                    <a:gd name="connsiteY52" fmla="*/ 2125717 h 3498714"/>
                    <a:gd name="connsiteX53" fmla="*/ 649574 w 6499257"/>
                    <a:gd name="connsiteY53" fmla="*/ 3337652 h 3498714"/>
                    <a:gd name="connsiteX54" fmla="*/ 488511 w 6499257"/>
                    <a:gd name="connsiteY54" fmla="*/ 3498714 h 3498714"/>
                    <a:gd name="connsiteX55" fmla="*/ 327450 w 6499257"/>
                    <a:gd name="connsiteY55" fmla="*/ 3337652 h 3498714"/>
                    <a:gd name="connsiteX56" fmla="*/ 327450 w 6499257"/>
                    <a:gd name="connsiteY56" fmla="*/ 1458216 h 3498714"/>
                    <a:gd name="connsiteX57" fmla="*/ 322427 w 6499257"/>
                    <a:gd name="connsiteY57" fmla="*/ 1098205 h 3498714"/>
                    <a:gd name="connsiteX58" fmla="*/ 317058 w 6499257"/>
                    <a:gd name="connsiteY58" fmla="*/ 1092836 h 3498714"/>
                    <a:gd name="connsiteX59" fmla="*/ 263371 w 6499257"/>
                    <a:gd name="connsiteY59" fmla="*/ 1092836 h 3498714"/>
                    <a:gd name="connsiteX60" fmla="*/ 258001 w 6499257"/>
                    <a:gd name="connsiteY60" fmla="*/ 1098205 h 3498714"/>
                    <a:gd name="connsiteX61" fmla="*/ 258001 w 6499257"/>
                    <a:gd name="connsiteY61" fmla="*/ 1444446 h 3498714"/>
                    <a:gd name="connsiteX62" fmla="*/ 257700 w 6499257"/>
                    <a:gd name="connsiteY62" fmla="*/ 1444370 h 3498714"/>
                    <a:gd name="connsiteX63" fmla="*/ 257700 w 6499257"/>
                    <a:gd name="connsiteY63" fmla="*/ 1912573 h 3498714"/>
                    <a:gd name="connsiteX64" fmla="*/ 128850 w 6499257"/>
                    <a:gd name="connsiteY64" fmla="*/ 2041423 h 3498714"/>
                    <a:gd name="connsiteX65" fmla="*/ 0 w 6499257"/>
                    <a:gd name="connsiteY65" fmla="*/ 1912573 h 3498714"/>
                    <a:gd name="connsiteX66" fmla="*/ 0 w 6499257"/>
                    <a:gd name="connsiteY66" fmla="*/ 1101802 h 3498714"/>
                    <a:gd name="connsiteX67" fmla="*/ 0 w 6499257"/>
                    <a:gd name="connsiteY67" fmla="*/ 1003338 h 3498714"/>
                    <a:gd name="connsiteX68" fmla="*/ 0 w 6499257"/>
                    <a:gd name="connsiteY68" fmla="*/ 982486 h 3498714"/>
                    <a:gd name="connsiteX69" fmla="*/ 12733 w 6499257"/>
                    <a:gd name="connsiteY69" fmla="*/ 894663 h 3498714"/>
                    <a:gd name="connsiteX70" fmla="*/ 20539 w 6499257"/>
                    <a:gd name="connsiteY70" fmla="*/ 868773 h 3498714"/>
                    <a:gd name="connsiteX71" fmla="*/ 358791 w 6499257"/>
                    <a:gd name="connsiteY71" fmla="*/ 644545 h 3498714"/>
                    <a:gd name="connsiteX72" fmla="*/ 682782 w 6499257"/>
                    <a:gd name="connsiteY72" fmla="*/ 0 h 3498714"/>
                    <a:gd name="connsiteX73" fmla="*/ 966919 w 6499257"/>
                    <a:gd name="connsiteY73" fmla="*/ 284138 h 3498714"/>
                    <a:gd name="connsiteX74" fmla="*/ 682782 w 6499257"/>
                    <a:gd name="connsiteY74" fmla="*/ 568275 h 3498714"/>
                    <a:gd name="connsiteX75" fmla="*/ 398645 w 6499257"/>
                    <a:gd name="connsiteY75" fmla="*/ 284138 h 3498714"/>
                    <a:gd name="connsiteX76" fmla="*/ 682782 w 6499257"/>
                    <a:gd name="connsiteY76" fmla="*/ 0 h 3498714"/>
                    <a:gd name="connsiteX77" fmla="*/ 4707054 w 6499257"/>
                    <a:gd name="connsiteY77" fmla="*/ 2902312 h 3498714"/>
                    <a:gd name="connsiteX78" fmla="*/ 4818179 w 6499257"/>
                    <a:gd name="connsiteY78" fmla="*/ 3013437 h 3498714"/>
                    <a:gd name="connsiteX79" fmla="*/ 4707054 w 6499257"/>
                    <a:gd name="connsiteY79" fmla="*/ 3124562 h 3498714"/>
                    <a:gd name="connsiteX80" fmla="*/ 4545125 w 6499257"/>
                    <a:gd name="connsiteY80" fmla="*/ 3124562 h 3498714"/>
                    <a:gd name="connsiteX81" fmla="*/ 4545125 w 6499257"/>
                    <a:gd name="connsiteY81" fmla="*/ 3361625 h 3498714"/>
                    <a:gd name="connsiteX82" fmla="*/ 4436113 w 6499257"/>
                    <a:gd name="connsiteY82" fmla="*/ 3470637 h 3498714"/>
                    <a:gd name="connsiteX83" fmla="*/ 4235039 w 6499257"/>
                    <a:gd name="connsiteY83" fmla="*/ 3470637 h 3498714"/>
                    <a:gd name="connsiteX84" fmla="*/ 4126027 w 6499257"/>
                    <a:gd name="connsiteY84" fmla="*/ 3361625 h 3498714"/>
                    <a:gd name="connsiteX85" fmla="*/ 4126027 w 6499257"/>
                    <a:gd name="connsiteY85" fmla="*/ 3124562 h 3498714"/>
                    <a:gd name="connsiteX86" fmla="*/ 2589325 w 6499257"/>
                    <a:gd name="connsiteY86" fmla="*/ 3124562 h 3498714"/>
                    <a:gd name="connsiteX87" fmla="*/ 2589325 w 6499257"/>
                    <a:gd name="connsiteY87" fmla="*/ 3361625 h 3498714"/>
                    <a:gd name="connsiteX88" fmla="*/ 2480313 w 6499257"/>
                    <a:gd name="connsiteY88" fmla="*/ 3470637 h 3498714"/>
                    <a:gd name="connsiteX89" fmla="*/ 2279239 w 6499257"/>
                    <a:gd name="connsiteY89" fmla="*/ 3470637 h 3498714"/>
                    <a:gd name="connsiteX90" fmla="*/ 2170227 w 6499257"/>
                    <a:gd name="connsiteY90" fmla="*/ 3361625 h 3498714"/>
                    <a:gd name="connsiteX91" fmla="*/ 2170227 w 6499257"/>
                    <a:gd name="connsiteY91" fmla="*/ 3124562 h 3498714"/>
                    <a:gd name="connsiteX92" fmla="*/ 2052754 w 6499257"/>
                    <a:gd name="connsiteY92" fmla="*/ 3124562 h 3498714"/>
                    <a:gd name="connsiteX93" fmla="*/ 1941629 w 6499257"/>
                    <a:gd name="connsiteY93" fmla="*/ 3013437 h 3498714"/>
                    <a:gd name="connsiteX94" fmla="*/ 2052754 w 6499257"/>
                    <a:gd name="connsiteY94" fmla="*/ 2902312 h 3498714"/>
                    <a:gd name="connsiteX95" fmla="*/ 682782 w 6499257"/>
                    <a:gd name="connsiteY95" fmla="*/ 0 h 3498714"/>
                    <a:gd name="connsiteX96" fmla="*/ 4492583 w 6499257"/>
                    <a:gd name="connsiteY96" fmla="*/ 2089512 h 3498714"/>
                    <a:gd name="connsiteX97" fmla="*/ 4311608 w 6499257"/>
                    <a:gd name="connsiteY97" fmla="*/ 2270487 h 3498714"/>
                    <a:gd name="connsiteX98" fmla="*/ 4492583 w 6499257"/>
                    <a:gd name="connsiteY98" fmla="*/ 2451462 h 3498714"/>
                    <a:gd name="connsiteX99" fmla="*/ 5407618 w 6499257"/>
                    <a:gd name="connsiteY99" fmla="*/ 2468742 h 3498714"/>
                    <a:gd name="connsiteX100" fmla="*/ 6498753 w 6499257"/>
                    <a:gd name="connsiteY100" fmla="*/ 2404799 h 3498714"/>
                    <a:gd name="connsiteX101" fmla="*/ 5388995 w 6499257"/>
                    <a:gd name="connsiteY101"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842751 w 6499257"/>
                    <a:gd name="connsiteY12" fmla="*/ 1749356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2534724 w 6499257"/>
                    <a:gd name="connsiteY16" fmla="*/ 982297 h 3498714"/>
                    <a:gd name="connsiteX17" fmla="*/ 4229172 w 6499257"/>
                    <a:gd name="connsiteY17" fmla="*/ 982297 h 3498714"/>
                    <a:gd name="connsiteX18" fmla="*/ 4546612 w 6499257"/>
                    <a:gd name="connsiteY18" fmla="*/ 1856643 h 3498714"/>
                    <a:gd name="connsiteX19" fmla="*/ 4936448 w 6499257"/>
                    <a:gd name="connsiteY19" fmla="*/ 2279217 h 3498714"/>
                    <a:gd name="connsiteX20" fmla="*/ 4802103 w 6499257"/>
                    <a:gd name="connsiteY20" fmla="*/ 2588456 h 3498714"/>
                    <a:gd name="connsiteX21" fmla="*/ 4904699 w 6499257"/>
                    <a:gd name="connsiteY21" fmla="*/ 2705462 h 3498714"/>
                    <a:gd name="connsiteX22" fmla="*/ 4904698 w 6499257"/>
                    <a:gd name="connsiteY22" fmla="*/ 2705462 h 3498714"/>
                    <a:gd name="connsiteX23" fmla="*/ 4784047 w 6499257"/>
                    <a:gd name="connsiteY23" fmla="*/ 2826113 h 3498714"/>
                    <a:gd name="connsiteX24" fmla="*/ 1970999 w 6499257"/>
                    <a:gd name="connsiteY24" fmla="*/ 2826112 h 3498714"/>
                    <a:gd name="connsiteX25" fmla="*/ 1850348 w 6499257"/>
                    <a:gd name="connsiteY25" fmla="*/ 2705462 h 3498714"/>
                    <a:gd name="connsiteX26" fmla="*/ 1956769 w 6499257"/>
                    <a:gd name="connsiteY26" fmla="*/ 2587684 h 3498714"/>
                    <a:gd name="connsiteX27" fmla="*/ 1823360 w 6499257"/>
                    <a:gd name="connsiteY27" fmla="*/ 2279217 h 3498714"/>
                    <a:gd name="connsiteX28" fmla="*/ 2217440 w 6499257"/>
                    <a:gd name="connsiteY28" fmla="*/ 1856216 h 3498714"/>
                    <a:gd name="connsiteX29" fmla="*/ 2534724 w 6499257"/>
                    <a:gd name="connsiteY29" fmla="*/ 982297 h 3498714"/>
                    <a:gd name="connsiteX30" fmla="*/ 358791 w 6499257"/>
                    <a:gd name="connsiteY30" fmla="*/ 644545 h 3498714"/>
                    <a:gd name="connsiteX31" fmla="*/ 1006774 w 6499257"/>
                    <a:gd name="connsiteY31" fmla="*/ 644545 h 3498714"/>
                    <a:gd name="connsiteX32" fmla="*/ 1542636 w 6499257"/>
                    <a:gd name="connsiteY32" fmla="*/ 1193969 h 3498714"/>
                    <a:gd name="connsiteX33" fmla="*/ 1929878 w 6499257"/>
                    <a:gd name="connsiteY33" fmla="*/ 1193970 h 3498714"/>
                    <a:gd name="connsiteX34" fmla="*/ 2070059 w 6499257"/>
                    <a:gd name="connsiteY34" fmla="*/ 1334152 h 3498714"/>
                    <a:gd name="connsiteX35" fmla="*/ 1929878 w 6499257"/>
                    <a:gd name="connsiteY35" fmla="*/ 1474333 h 3498714"/>
                    <a:gd name="connsiteX36" fmla="*/ 1520943 w 6499257"/>
                    <a:gd name="connsiteY36" fmla="*/ 1470388 h 3498714"/>
                    <a:gd name="connsiteX37" fmla="*/ 1332825 w 6499257"/>
                    <a:gd name="connsiteY37" fmla="*/ 1367201 h 3498714"/>
                    <a:gd name="connsiteX38" fmla="*/ 1106501 w 6499257"/>
                    <a:gd name="connsiteY38" fmla="*/ 1098289 h 3498714"/>
                    <a:gd name="connsiteX39" fmla="*/ 1101049 w 6499257"/>
                    <a:gd name="connsiteY39" fmla="*/ 1092836 h 3498714"/>
                    <a:gd name="connsiteX40" fmla="*/ 1046523 w 6499257"/>
                    <a:gd name="connsiteY40" fmla="*/ 1092836 h 3498714"/>
                    <a:gd name="connsiteX41" fmla="*/ 1041071 w 6499257"/>
                    <a:gd name="connsiteY41" fmla="*/ 1098289 h 3498714"/>
                    <a:gd name="connsiteX42" fmla="*/ 1042136 w 6499257"/>
                    <a:gd name="connsiteY42" fmla="*/ 1419754 h 3498714"/>
                    <a:gd name="connsiteX43" fmla="*/ 1042136 w 6499257"/>
                    <a:gd name="connsiteY43" fmla="*/ 3337652 h 3498714"/>
                    <a:gd name="connsiteX44" fmla="*/ 881075 w 6499257"/>
                    <a:gd name="connsiteY44" fmla="*/ 3498714 h 3498714"/>
                    <a:gd name="connsiteX45" fmla="*/ 720012 w 6499257"/>
                    <a:gd name="connsiteY45" fmla="*/ 3337652 h 3498714"/>
                    <a:gd name="connsiteX46" fmla="*/ 720012 w 6499257"/>
                    <a:gd name="connsiteY46" fmla="*/ 2125717 h 3498714"/>
                    <a:gd name="connsiteX47" fmla="*/ 718947 w 6499257"/>
                    <a:gd name="connsiteY47" fmla="*/ 2033194 h 3498714"/>
                    <a:gd name="connsiteX48" fmla="*/ 714162 w 6499257"/>
                    <a:gd name="connsiteY48" fmla="*/ 2028410 h 3498714"/>
                    <a:gd name="connsiteX49" fmla="*/ 654759 w 6499257"/>
                    <a:gd name="connsiteY49" fmla="*/ 2028410 h 3498714"/>
                    <a:gd name="connsiteX50" fmla="*/ 649974 w 6499257"/>
                    <a:gd name="connsiteY50" fmla="*/ 2033194 h 3498714"/>
                    <a:gd name="connsiteX51" fmla="*/ 649974 w 6499257"/>
                    <a:gd name="connsiteY51" fmla="*/ 2125717 h 3498714"/>
                    <a:gd name="connsiteX52" fmla="*/ 649574 w 6499257"/>
                    <a:gd name="connsiteY52" fmla="*/ 3337652 h 3498714"/>
                    <a:gd name="connsiteX53" fmla="*/ 488511 w 6499257"/>
                    <a:gd name="connsiteY53" fmla="*/ 3498714 h 3498714"/>
                    <a:gd name="connsiteX54" fmla="*/ 327450 w 6499257"/>
                    <a:gd name="connsiteY54" fmla="*/ 3337652 h 3498714"/>
                    <a:gd name="connsiteX55" fmla="*/ 327450 w 6499257"/>
                    <a:gd name="connsiteY55" fmla="*/ 1458216 h 3498714"/>
                    <a:gd name="connsiteX56" fmla="*/ 322427 w 6499257"/>
                    <a:gd name="connsiteY56" fmla="*/ 1098205 h 3498714"/>
                    <a:gd name="connsiteX57" fmla="*/ 317058 w 6499257"/>
                    <a:gd name="connsiteY57" fmla="*/ 1092836 h 3498714"/>
                    <a:gd name="connsiteX58" fmla="*/ 263371 w 6499257"/>
                    <a:gd name="connsiteY58" fmla="*/ 1092836 h 3498714"/>
                    <a:gd name="connsiteX59" fmla="*/ 258001 w 6499257"/>
                    <a:gd name="connsiteY59" fmla="*/ 1098205 h 3498714"/>
                    <a:gd name="connsiteX60" fmla="*/ 258001 w 6499257"/>
                    <a:gd name="connsiteY60" fmla="*/ 1444446 h 3498714"/>
                    <a:gd name="connsiteX61" fmla="*/ 257700 w 6499257"/>
                    <a:gd name="connsiteY61" fmla="*/ 1444370 h 3498714"/>
                    <a:gd name="connsiteX62" fmla="*/ 257700 w 6499257"/>
                    <a:gd name="connsiteY62" fmla="*/ 1912573 h 3498714"/>
                    <a:gd name="connsiteX63" fmla="*/ 128850 w 6499257"/>
                    <a:gd name="connsiteY63" fmla="*/ 2041423 h 3498714"/>
                    <a:gd name="connsiteX64" fmla="*/ 0 w 6499257"/>
                    <a:gd name="connsiteY64" fmla="*/ 1912573 h 3498714"/>
                    <a:gd name="connsiteX65" fmla="*/ 0 w 6499257"/>
                    <a:gd name="connsiteY65" fmla="*/ 1101802 h 3498714"/>
                    <a:gd name="connsiteX66" fmla="*/ 0 w 6499257"/>
                    <a:gd name="connsiteY66" fmla="*/ 1003338 h 3498714"/>
                    <a:gd name="connsiteX67" fmla="*/ 0 w 6499257"/>
                    <a:gd name="connsiteY67" fmla="*/ 982486 h 3498714"/>
                    <a:gd name="connsiteX68" fmla="*/ 12733 w 6499257"/>
                    <a:gd name="connsiteY68" fmla="*/ 894663 h 3498714"/>
                    <a:gd name="connsiteX69" fmla="*/ 20539 w 6499257"/>
                    <a:gd name="connsiteY69" fmla="*/ 868773 h 3498714"/>
                    <a:gd name="connsiteX70" fmla="*/ 358791 w 6499257"/>
                    <a:gd name="connsiteY70" fmla="*/ 644545 h 3498714"/>
                    <a:gd name="connsiteX71" fmla="*/ 682782 w 6499257"/>
                    <a:gd name="connsiteY71" fmla="*/ 0 h 3498714"/>
                    <a:gd name="connsiteX72" fmla="*/ 966919 w 6499257"/>
                    <a:gd name="connsiteY72" fmla="*/ 284138 h 3498714"/>
                    <a:gd name="connsiteX73" fmla="*/ 682782 w 6499257"/>
                    <a:gd name="connsiteY73" fmla="*/ 568275 h 3498714"/>
                    <a:gd name="connsiteX74" fmla="*/ 398645 w 6499257"/>
                    <a:gd name="connsiteY74" fmla="*/ 284138 h 3498714"/>
                    <a:gd name="connsiteX75" fmla="*/ 682782 w 6499257"/>
                    <a:gd name="connsiteY75" fmla="*/ 0 h 3498714"/>
                    <a:gd name="connsiteX76" fmla="*/ 4707054 w 6499257"/>
                    <a:gd name="connsiteY76" fmla="*/ 2902312 h 3498714"/>
                    <a:gd name="connsiteX77" fmla="*/ 4818179 w 6499257"/>
                    <a:gd name="connsiteY77" fmla="*/ 3013437 h 3498714"/>
                    <a:gd name="connsiteX78" fmla="*/ 4707054 w 6499257"/>
                    <a:gd name="connsiteY78" fmla="*/ 3124562 h 3498714"/>
                    <a:gd name="connsiteX79" fmla="*/ 4545125 w 6499257"/>
                    <a:gd name="connsiteY79" fmla="*/ 3124562 h 3498714"/>
                    <a:gd name="connsiteX80" fmla="*/ 4545125 w 6499257"/>
                    <a:gd name="connsiteY80" fmla="*/ 3361625 h 3498714"/>
                    <a:gd name="connsiteX81" fmla="*/ 4436113 w 6499257"/>
                    <a:gd name="connsiteY81" fmla="*/ 3470637 h 3498714"/>
                    <a:gd name="connsiteX82" fmla="*/ 4235039 w 6499257"/>
                    <a:gd name="connsiteY82" fmla="*/ 3470637 h 3498714"/>
                    <a:gd name="connsiteX83" fmla="*/ 4126027 w 6499257"/>
                    <a:gd name="connsiteY83" fmla="*/ 3361625 h 3498714"/>
                    <a:gd name="connsiteX84" fmla="*/ 4126027 w 6499257"/>
                    <a:gd name="connsiteY84" fmla="*/ 3124562 h 3498714"/>
                    <a:gd name="connsiteX85" fmla="*/ 2589325 w 6499257"/>
                    <a:gd name="connsiteY85" fmla="*/ 3124562 h 3498714"/>
                    <a:gd name="connsiteX86" fmla="*/ 2589325 w 6499257"/>
                    <a:gd name="connsiteY86" fmla="*/ 3361625 h 3498714"/>
                    <a:gd name="connsiteX87" fmla="*/ 2480313 w 6499257"/>
                    <a:gd name="connsiteY87" fmla="*/ 3470637 h 3498714"/>
                    <a:gd name="connsiteX88" fmla="*/ 2279239 w 6499257"/>
                    <a:gd name="connsiteY88" fmla="*/ 3470637 h 3498714"/>
                    <a:gd name="connsiteX89" fmla="*/ 2170227 w 6499257"/>
                    <a:gd name="connsiteY89" fmla="*/ 3361625 h 3498714"/>
                    <a:gd name="connsiteX90" fmla="*/ 2170227 w 6499257"/>
                    <a:gd name="connsiteY90" fmla="*/ 3124562 h 3498714"/>
                    <a:gd name="connsiteX91" fmla="*/ 2052754 w 6499257"/>
                    <a:gd name="connsiteY91" fmla="*/ 3124562 h 3498714"/>
                    <a:gd name="connsiteX92" fmla="*/ 1941629 w 6499257"/>
                    <a:gd name="connsiteY92" fmla="*/ 3013437 h 3498714"/>
                    <a:gd name="connsiteX93" fmla="*/ 2052754 w 6499257"/>
                    <a:gd name="connsiteY93" fmla="*/ 2902312 h 3498714"/>
                    <a:gd name="connsiteX94" fmla="*/ 682782 w 6499257"/>
                    <a:gd name="connsiteY94" fmla="*/ 0 h 3498714"/>
                    <a:gd name="connsiteX95" fmla="*/ 4492583 w 6499257"/>
                    <a:gd name="connsiteY95" fmla="*/ 2089512 h 3498714"/>
                    <a:gd name="connsiteX96" fmla="*/ 4311608 w 6499257"/>
                    <a:gd name="connsiteY96" fmla="*/ 2270487 h 3498714"/>
                    <a:gd name="connsiteX97" fmla="*/ 4492583 w 6499257"/>
                    <a:gd name="connsiteY97" fmla="*/ 2451462 h 3498714"/>
                    <a:gd name="connsiteX98" fmla="*/ 5407618 w 6499257"/>
                    <a:gd name="connsiteY98" fmla="*/ 2468742 h 3498714"/>
                    <a:gd name="connsiteX99" fmla="*/ 6498753 w 6499257"/>
                    <a:gd name="connsiteY99" fmla="*/ 2404799 h 3498714"/>
                    <a:gd name="connsiteX100" fmla="*/ 5388995 w 6499257"/>
                    <a:gd name="connsiteY100"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842751 w 6499257"/>
                    <a:gd name="connsiteY12" fmla="*/ 1749356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2534724 w 6499257"/>
                    <a:gd name="connsiteY16" fmla="*/ 982297 h 3498714"/>
                    <a:gd name="connsiteX17" fmla="*/ 4546612 w 6499257"/>
                    <a:gd name="connsiteY17" fmla="*/ 1856643 h 3498714"/>
                    <a:gd name="connsiteX18" fmla="*/ 4936448 w 6499257"/>
                    <a:gd name="connsiteY18" fmla="*/ 2279217 h 3498714"/>
                    <a:gd name="connsiteX19" fmla="*/ 4802103 w 6499257"/>
                    <a:gd name="connsiteY19" fmla="*/ 2588456 h 3498714"/>
                    <a:gd name="connsiteX20" fmla="*/ 4904699 w 6499257"/>
                    <a:gd name="connsiteY20" fmla="*/ 2705462 h 3498714"/>
                    <a:gd name="connsiteX21" fmla="*/ 4904698 w 6499257"/>
                    <a:gd name="connsiteY21" fmla="*/ 2705462 h 3498714"/>
                    <a:gd name="connsiteX22" fmla="*/ 4784047 w 6499257"/>
                    <a:gd name="connsiteY22" fmla="*/ 2826113 h 3498714"/>
                    <a:gd name="connsiteX23" fmla="*/ 1970999 w 6499257"/>
                    <a:gd name="connsiteY23" fmla="*/ 2826112 h 3498714"/>
                    <a:gd name="connsiteX24" fmla="*/ 1850348 w 6499257"/>
                    <a:gd name="connsiteY24" fmla="*/ 2705462 h 3498714"/>
                    <a:gd name="connsiteX25" fmla="*/ 1956769 w 6499257"/>
                    <a:gd name="connsiteY25" fmla="*/ 2587684 h 3498714"/>
                    <a:gd name="connsiteX26" fmla="*/ 1823360 w 6499257"/>
                    <a:gd name="connsiteY26" fmla="*/ 2279217 h 3498714"/>
                    <a:gd name="connsiteX27" fmla="*/ 2217440 w 6499257"/>
                    <a:gd name="connsiteY27" fmla="*/ 1856216 h 3498714"/>
                    <a:gd name="connsiteX28" fmla="*/ 2534724 w 6499257"/>
                    <a:gd name="connsiteY28" fmla="*/ 982297 h 3498714"/>
                    <a:gd name="connsiteX29" fmla="*/ 358791 w 6499257"/>
                    <a:gd name="connsiteY29" fmla="*/ 644545 h 3498714"/>
                    <a:gd name="connsiteX30" fmla="*/ 1006774 w 6499257"/>
                    <a:gd name="connsiteY30" fmla="*/ 644545 h 3498714"/>
                    <a:gd name="connsiteX31" fmla="*/ 1542636 w 6499257"/>
                    <a:gd name="connsiteY31" fmla="*/ 1193969 h 3498714"/>
                    <a:gd name="connsiteX32" fmla="*/ 1929878 w 6499257"/>
                    <a:gd name="connsiteY32" fmla="*/ 1193970 h 3498714"/>
                    <a:gd name="connsiteX33" fmla="*/ 2070059 w 6499257"/>
                    <a:gd name="connsiteY33" fmla="*/ 1334152 h 3498714"/>
                    <a:gd name="connsiteX34" fmla="*/ 1929878 w 6499257"/>
                    <a:gd name="connsiteY34" fmla="*/ 1474333 h 3498714"/>
                    <a:gd name="connsiteX35" fmla="*/ 1520943 w 6499257"/>
                    <a:gd name="connsiteY35" fmla="*/ 1470388 h 3498714"/>
                    <a:gd name="connsiteX36" fmla="*/ 1332825 w 6499257"/>
                    <a:gd name="connsiteY36" fmla="*/ 1367201 h 3498714"/>
                    <a:gd name="connsiteX37" fmla="*/ 1106501 w 6499257"/>
                    <a:gd name="connsiteY37" fmla="*/ 1098289 h 3498714"/>
                    <a:gd name="connsiteX38" fmla="*/ 1101049 w 6499257"/>
                    <a:gd name="connsiteY38" fmla="*/ 1092836 h 3498714"/>
                    <a:gd name="connsiteX39" fmla="*/ 1046523 w 6499257"/>
                    <a:gd name="connsiteY39" fmla="*/ 1092836 h 3498714"/>
                    <a:gd name="connsiteX40" fmla="*/ 1041071 w 6499257"/>
                    <a:gd name="connsiteY40" fmla="*/ 1098289 h 3498714"/>
                    <a:gd name="connsiteX41" fmla="*/ 1042136 w 6499257"/>
                    <a:gd name="connsiteY41" fmla="*/ 1419754 h 3498714"/>
                    <a:gd name="connsiteX42" fmla="*/ 1042136 w 6499257"/>
                    <a:gd name="connsiteY42" fmla="*/ 3337652 h 3498714"/>
                    <a:gd name="connsiteX43" fmla="*/ 881075 w 6499257"/>
                    <a:gd name="connsiteY43" fmla="*/ 3498714 h 3498714"/>
                    <a:gd name="connsiteX44" fmla="*/ 720012 w 6499257"/>
                    <a:gd name="connsiteY44" fmla="*/ 3337652 h 3498714"/>
                    <a:gd name="connsiteX45" fmla="*/ 720012 w 6499257"/>
                    <a:gd name="connsiteY45" fmla="*/ 2125717 h 3498714"/>
                    <a:gd name="connsiteX46" fmla="*/ 718947 w 6499257"/>
                    <a:gd name="connsiteY46" fmla="*/ 2033194 h 3498714"/>
                    <a:gd name="connsiteX47" fmla="*/ 714162 w 6499257"/>
                    <a:gd name="connsiteY47" fmla="*/ 2028410 h 3498714"/>
                    <a:gd name="connsiteX48" fmla="*/ 654759 w 6499257"/>
                    <a:gd name="connsiteY48" fmla="*/ 2028410 h 3498714"/>
                    <a:gd name="connsiteX49" fmla="*/ 649974 w 6499257"/>
                    <a:gd name="connsiteY49" fmla="*/ 2033194 h 3498714"/>
                    <a:gd name="connsiteX50" fmla="*/ 649974 w 6499257"/>
                    <a:gd name="connsiteY50" fmla="*/ 2125717 h 3498714"/>
                    <a:gd name="connsiteX51" fmla="*/ 649574 w 6499257"/>
                    <a:gd name="connsiteY51" fmla="*/ 3337652 h 3498714"/>
                    <a:gd name="connsiteX52" fmla="*/ 488511 w 6499257"/>
                    <a:gd name="connsiteY52" fmla="*/ 3498714 h 3498714"/>
                    <a:gd name="connsiteX53" fmla="*/ 327450 w 6499257"/>
                    <a:gd name="connsiteY53" fmla="*/ 3337652 h 3498714"/>
                    <a:gd name="connsiteX54" fmla="*/ 327450 w 6499257"/>
                    <a:gd name="connsiteY54" fmla="*/ 1458216 h 3498714"/>
                    <a:gd name="connsiteX55" fmla="*/ 322427 w 6499257"/>
                    <a:gd name="connsiteY55" fmla="*/ 1098205 h 3498714"/>
                    <a:gd name="connsiteX56" fmla="*/ 317058 w 6499257"/>
                    <a:gd name="connsiteY56" fmla="*/ 1092836 h 3498714"/>
                    <a:gd name="connsiteX57" fmla="*/ 263371 w 6499257"/>
                    <a:gd name="connsiteY57" fmla="*/ 1092836 h 3498714"/>
                    <a:gd name="connsiteX58" fmla="*/ 258001 w 6499257"/>
                    <a:gd name="connsiteY58" fmla="*/ 1098205 h 3498714"/>
                    <a:gd name="connsiteX59" fmla="*/ 258001 w 6499257"/>
                    <a:gd name="connsiteY59" fmla="*/ 1444446 h 3498714"/>
                    <a:gd name="connsiteX60" fmla="*/ 257700 w 6499257"/>
                    <a:gd name="connsiteY60" fmla="*/ 1444370 h 3498714"/>
                    <a:gd name="connsiteX61" fmla="*/ 257700 w 6499257"/>
                    <a:gd name="connsiteY61" fmla="*/ 1912573 h 3498714"/>
                    <a:gd name="connsiteX62" fmla="*/ 128850 w 6499257"/>
                    <a:gd name="connsiteY62" fmla="*/ 2041423 h 3498714"/>
                    <a:gd name="connsiteX63" fmla="*/ 0 w 6499257"/>
                    <a:gd name="connsiteY63" fmla="*/ 1912573 h 3498714"/>
                    <a:gd name="connsiteX64" fmla="*/ 0 w 6499257"/>
                    <a:gd name="connsiteY64" fmla="*/ 1101802 h 3498714"/>
                    <a:gd name="connsiteX65" fmla="*/ 0 w 6499257"/>
                    <a:gd name="connsiteY65" fmla="*/ 1003338 h 3498714"/>
                    <a:gd name="connsiteX66" fmla="*/ 0 w 6499257"/>
                    <a:gd name="connsiteY66" fmla="*/ 982486 h 3498714"/>
                    <a:gd name="connsiteX67" fmla="*/ 12733 w 6499257"/>
                    <a:gd name="connsiteY67" fmla="*/ 894663 h 3498714"/>
                    <a:gd name="connsiteX68" fmla="*/ 20539 w 6499257"/>
                    <a:gd name="connsiteY68" fmla="*/ 868773 h 3498714"/>
                    <a:gd name="connsiteX69" fmla="*/ 358791 w 6499257"/>
                    <a:gd name="connsiteY69" fmla="*/ 644545 h 3498714"/>
                    <a:gd name="connsiteX70" fmla="*/ 682782 w 6499257"/>
                    <a:gd name="connsiteY70" fmla="*/ 0 h 3498714"/>
                    <a:gd name="connsiteX71" fmla="*/ 966919 w 6499257"/>
                    <a:gd name="connsiteY71" fmla="*/ 284138 h 3498714"/>
                    <a:gd name="connsiteX72" fmla="*/ 682782 w 6499257"/>
                    <a:gd name="connsiteY72" fmla="*/ 568275 h 3498714"/>
                    <a:gd name="connsiteX73" fmla="*/ 398645 w 6499257"/>
                    <a:gd name="connsiteY73" fmla="*/ 284138 h 3498714"/>
                    <a:gd name="connsiteX74" fmla="*/ 682782 w 6499257"/>
                    <a:gd name="connsiteY74" fmla="*/ 0 h 3498714"/>
                    <a:gd name="connsiteX75" fmla="*/ 4707054 w 6499257"/>
                    <a:gd name="connsiteY75" fmla="*/ 2902312 h 3498714"/>
                    <a:gd name="connsiteX76" fmla="*/ 4818179 w 6499257"/>
                    <a:gd name="connsiteY76" fmla="*/ 3013437 h 3498714"/>
                    <a:gd name="connsiteX77" fmla="*/ 4707054 w 6499257"/>
                    <a:gd name="connsiteY77" fmla="*/ 3124562 h 3498714"/>
                    <a:gd name="connsiteX78" fmla="*/ 4545125 w 6499257"/>
                    <a:gd name="connsiteY78" fmla="*/ 3124562 h 3498714"/>
                    <a:gd name="connsiteX79" fmla="*/ 4545125 w 6499257"/>
                    <a:gd name="connsiteY79" fmla="*/ 3361625 h 3498714"/>
                    <a:gd name="connsiteX80" fmla="*/ 4436113 w 6499257"/>
                    <a:gd name="connsiteY80" fmla="*/ 3470637 h 3498714"/>
                    <a:gd name="connsiteX81" fmla="*/ 4235039 w 6499257"/>
                    <a:gd name="connsiteY81" fmla="*/ 3470637 h 3498714"/>
                    <a:gd name="connsiteX82" fmla="*/ 4126027 w 6499257"/>
                    <a:gd name="connsiteY82" fmla="*/ 3361625 h 3498714"/>
                    <a:gd name="connsiteX83" fmla="*/ 4126027 w 6499257"/>
                    <a:gd name="connsiteY83" fmla="*/ 3124562 h 3498714"/>
                    <a:gd name="connsiteX84" fmla="*/ 2589325 w 6499257"/>
                    <a:gd name="connsiteY84" fmla="*/ 3124562 h 3498714"/>
                    <a:gd name="connsiteX85" fmla="*/ 2589325 w 6499257"/>
                    <a:gd name="connsiteY85" fmla="*/ 3361625 h 3498714"/>
                    <a:gd name="connsiteX86" fmla="*/ 2480313 w 6499257"/>
                    <a:gd name="connsiteY86" fmla="*/ 3470637 h 3498714"/>
                    <a:gd name="connsiteX87" fmla="*/ 2279239 w 6499257"/>
                    <a:gd name="connsiteY87" fmla="*/ 3470637 h 3498714"/>
                    <a:gd name="connsiteX88" fmla="*/ 2170227 w 6499257"/>
                    <a:gd name="connsiteY88" fmla="*/ 3361625 h 3498714"/>
                    <a:gd name="connsiteX89" fmla="*/ 2170227 w 6499257"/>
                    <a:gd name="connsiteY89" fmla="*/ 3124562 h 3498714"/>
                    <a:gd name="connsiteX90" fmla="*/ 2052754 w 6499257"/>
                    <a:gd name="connsiteY90" fmla="*/ 3124562 h 3498714"/>
                    <a:gd name="connsiteX91" fmla="*/ 1941629 w 6499257"/>
                    <a:gd name="connsiteY91" fmla="*/ 3013437 h 3498714"/>
                    <a:gd name="connsiteX92" fmla="*/ 2052754 w 6499257"/>
                    <a:gd name="connsiteY92" fmla="*/ 2902312 h 3498714"/>
                    <a:gd name="connsiteX93" fmla="*/ 682782 w 6499257"/>
                    <a:gd name="connsiteY93" fmla="*/ 0 h 3498714"/>
                    <a:gd name="connsiteX94" fmla="*/ 4492583 w 6499257"/>
                    <a:gd name="connsiteY94" fmla="*/ 2089512 h 3498714"/>
                    <a:gd name="connsiteX95" fmla="*/ 4311608 w 6499257"/>
                    <a:gd name="connsiteY95" fmla="*/ 2270487 h 3498714"/>
                    <a:gd name="connsiteX96" fmla="*/ 4492583 w 6499257"/>
                    <a:gd name="connsiteY96" fmla="*/ 2451462 h 3498714"/>
                    <a:gd name="connsiteX97" fmla="*/ 5407618 w 6499257"/>
                    <a:gd name="connsiteY97" fmla="*/ 2468742 h 3498714"/>
                    <a:gd name="connsiteX98" fmla="*/ 6498753 w 6499257"/>
                    <a:gd name="connsiteY98" fmla="*/ 2404799 h 3498714"/>
                    <a:gd name="connsiteX99" fmla="*/ 5388995 w 6499257"/>
                    <a:gd name="connsiteY99"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842751 w 6499257"/>
                    <a:gd name="connsiteY12" fmla="*/ 1749356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2534724 w 6499257"/>
                    <a:gd name="connsiteY16" fmla="*/ 982297 h 3498714"/>
                    <a:gd name="connsiteX17" fmla="*/ 4936448 w 6499257"/>
                    <a:gd name="connsiteY17" fmla="*/ 2279217 h 3498714"/>
                    <a:gd name="connsiteX18" fmla="*/ 4802103 w 6499257"/>
                    <a:gd name="connsiteY18" fmla="*/ 2588456 h 3498714"/>
                    <a:gd name="connsiteX19" fmla="*/ 4904699 w 6499257"/>
                    <a:gd name="connsiteY19" fmla="*/ 2705462 h 3498714"/>
                    <a:gd name="connsiteX20" fmla="*/ 4904698 w 6499257"/>
                    <a:gd name="connsiteY20" fmla="*/ 2705462 h 3498714"/>
                    <a:gd name="connsiteX21" fmla="*/ 4784047 w 6499257"/>
                    <a:gd name="connsiteY21" fmla="*/ 2826113 h 3498714"/>
                    <a:gd name="connsiteX22" fmla="*/ 1970999 w 6499257"/>
                    <a:gd name="connsiteY22" fmla="*/ 2826112 h 3498714"/>
                    <a:gd name="connsiteX23" fmla="*/ 1850348 w 6499257"/>
                    <a:gd name="connsiteY23" fmla="*/ 2705462 h 3498714"/>
                    <a:gd name="connsiteX24" fmla="*/ 1956769 w 6499257"/>
                    <a:gd name="connsiteY24" fmla="*/ 2587684 h 3498714"/>
                    <a:gd name="connsiteX25" fmla="*/ 1823360 w 6499257"/>
                    <a:gd name="connsiteY25" fmla="*/ 2279217 h 3498714"/>
                    <a:gd name="connsiteX26" fmla="*/ 2217440 w 6499257"/>
                    <a:gd name="connsiteY26" fmla="*/ 1856216 h 3498714"/>
                    <a:gd name="connsiteX27" fmla="*/ 2534724 w 6499257"/>
                    <a:gd name="connsiteY27" fmla="*/ 982297 h 3498714"/>
                    <a:gd name="connsiteX28" fmla="*/ 358791 w 6499257"/>
                    <a:gd name="connsiteY28" fmla="*/ 644545 h 3498714"/>
                    <a:gd name="connsiteX29" fmla="*/ 1006774 w 6499257"/>
                    <a:gd name="connsiteY29" fmla="*/ 644545 h 3498714"/>
                    <a:gd name="connsiteX30" fmla="*/ 1542636 w 6499257"/>
                    <a:gd name="connsiteY30" fmla="*/ 1193969 h 3498714"/>
                    <a:gd name="connsiteX31" fmla="*/ 1929878 w 6499257"/>
                    <a:gd name="connsiteY31" fmla="*/ 1193970 h 3498714"/>
                    <a:gd name="connsiteX32" fmla="*/ 2070059 w 6499257"/>
                    <a:gd name="connsiteY32" fmla="*/ 1334152 h 3498714"/>
                    <a:gd name="connsiteX33" fmla="*/ 1929878 w 6499257"/>
                    <a:gd name="connsiteY33" fmla="*/ 1474333 h 3498714"/>
                    <a:gd name="connsiteX34" fmla="*/ 1520943 w 6499257"/>
                    <a:gd name="connsiteY34" fmla="*/ 1470388 h 3498714"/>
                    <a:gd name="connsiteX35" fmla="*/ 1332825 w 6499257"/>
                    <a:gd name="connsiteY35" fmla="*/ 1367201 h 3498714"/>
                    <a:gd name="connsiteX36" fmla="*/ 1106501 w 6499257"/>
                    <a:gd name="connsiteY36" fmla="*/ 1098289 h 3498714"/>
                    <a:gd name="connsiteX37" fmla="*/ 1101049 w 6499257"/>
                    <a:gd name="connsiteY37" fmla="*/ 1092836 h 3498714"/>
                    <a:gd name="connsiteX38" fmla="*/ 1046523 w 6499257"/>
                    <a:gd name="connsiteY38" fmla="*/ 1092836 h 3498714"/>
                    <a:gd name="connsiteX39" fmla="*/ 1041071 w 6499257"/>
                    <a:gd name="connsiteY39" fmla="*/ 1098289 h 3498714"/>
                    <a:gd name="connsiteX40" fmla="*/ 1042136 w 6499257"/>
                    <a:gd name="connsiteY40" fmla="*/ 1419754 h 3498714"/>
                    <a:gd name="connsiteX41" fmla="*/ 1042136 w 6499257"/>
                    <a:gd name="connsiteY41" fmla="*/ 3337652 h 3498714"/>
                    <a:gd name="connsiteX42" fmla="*/ 881075 w 6499257"/>
                    <a:gd name="connsiteY42" fmla="*/ 3498714 h 3498714"/>
                    <a:gd name="connsiteX43" fmla="*/ 720012 w 6499257"/>
                    <a:gd name="connsiteY43" fmla="*/ 3337652 h 3498714"/>
                    <a:gd name="connsiteX44" fmla="*/ 720012 w 6499257"/>
                    <a:gd name="connsiteY44" fmla="*/ 2125717 h 3498714"/>
                    <a:gd name="connsiteX45" fmla="*/ 718947 w 6499257"/>
                    <a:gd name="connsiteY45" fmla="*/ 2033194 h 3498714"/>
                    <a:gd name="connsiteX46" fmla="*/ 714162 w 6499257"/>
                    <a:gd name="connsiteY46" fmla="*/ 2028410 h 3498714"/>
                    <a:gd name="connsiteX47" fmla="*/ 654759 w 6499257"/>
                    <a:gd name="connsiteY47" fmla="*/ 2028410 h 3498714"/>
                    <a:gd name="connsiteX48" fmla="*/ 649974 w 6499257"/>
                    <a:gd name="connsiteY48" fmla="*/ 2033194 h 3498714"/>
                    <a:gd name="connsiteX49" fmla="*/ 649974 w 6499257"/>
                    <a:gd name="connsiteY49" fmla="*/ 2125717 h 3498714"/>
                    <a:gd name="connsiteX50" fmla="*/ 649574 w 6499257"/>
                    <a:gd name="connsiteY50" fmla="*/ 3337652 h 3498714"/>
                    <a:gd name="connsiteX51" fmla="*/ 488511 w 6499257"/>
                    <a:gd name="connsiteY51" fmla="*/ 3498714 h 3498714"/>
                    <a:gd name="connsiteX52" fmla="*/ 327450 w 6499257"/>
                    <a:gd name="connsiteY52" fmla="*/ 3337652 h 3498714"/>
                    <a:gd name="connsiteX53" fmla="*/ 327450 w 6499257"/>
                    <a:gd name="connsiteY53" fmla="*/ 1458216 h 3498714"/>
                    <a:gd name="connsiteX54" fmla="*/ 322427 w 6499257"/>
                    <a:gd name="connsiteY54" fmla="*/ 1098205 h 3498714"/>
                    <a:gd name="connsiteX55" fmla="*/ 317058 w 6499257"/>
                    <a:gd name="connsiteY55" fmla="*/ 1092836 h 3498714"/>
                    <a:gd name="connsiteX56" fmla="*/ 263371 w 6499257"/>
                    <a:gd name="connsiteY56" fmla="*/ 1092836 h 3498714"/>
                    <a:gd name="connsiteX57" fmla="*/ 258001 w 6499257"/>
                    <a:gd name="connsiteY57" fmla="*/ 1098205 h 3498714"/>
                    <a:gd name="connsiteX58" fmla="*/ 258001 w 6499257"/>
                    <a:gd name="connsiteY58" fmla="*/ 1444446 h 3498714"/>
                    <a:gd name="connsiteX59" fmla="*/ 257700 w 6499257"/>
                    <a:gd name="connsiteY59" fmla="*/ 1444370 h 3498714"/>
                    <a:gd name="connsiteX60" fmla="*/ 257700 w 6499257"/>
                    <a:gd name="connsiteY60" fmla="*/ 1912573 h 3498714"/>
                    <a:gd name="connsiteX61" fmla="*/ 128850 w 6499257"/>
                    <a:gd name="connsiteY61" fmla="*/ 2041423 h 3498714"/>
                    <a:gd name="connsiteX62" fmla="*/ 0 w 6499257"/>
                    <a:gd name="connsiteY62" fmla="*/ 1912573 h 3498714"/>
                    <a:gd name="connsiteX63" fmla="*/ 0 w 6499257"/>
                    <a:gd name="connsiteY63" fmla="*/ 1101802 h 3498714"/>
                    <a:gd name="connsiteX64" fmla="*/ 0 w 6499257"/>
                    <a:gd name="connsiteY64" fmla="*/ 1003338 h 3498714"/>
                    <a:gd name="connsiteX65" fmla="*/ 0 w 6499257"/>
                    <a:gd name="connsiteY65" fmla="*/ 982486 h 3498714"/>
                    <a:gd name="connsiteX66" fmla="*/ 12733 w 6499257"/>
                    <a:gd name="connsiteY66" fmla="*/ 894663 h 3498714"/>
                    <a:gd name="connsiteX67" fmla="*/ 20539 w 6499257"/>
                    <a:gd name="connsiteY67" fmla="*/ 868773 h 3498714"/>
                    <a:gd name="connsiteX68" fmla="*/ 358791 w 6499257"/>
                    <a:gd name="connsiteY68" fmla="*/ 644545 h 3498714"/>
                    <a:gd name="connsiteX69" fmla="*/ 682782 w 6499257"/>
                    <a:gd name="connsiteY69" fmla="*/ 0 h 3498714"/>
                    <a:gd name="connsiteX70" fmla="*/ 966919 w 6499257"/>
                    <a:gd name="connsiteY70" fmla="*/ 284138 h 3498714"/>
                    <a:gd name="connsiteX71" fmla="*/ 682782 w 6499257"/>
                    <a:gd name="connsiteY71" fmla="*/ 568275 h 3498714"/>
                    <a:gd name="connsiteX72" fmla="*/ 398645 w 6499257"/>
                    <a:gd name="connsiteY72" fmla="*/ 284138 h 3498714"/>
                    <a:gd name="connsiteX73" fmla="*/ 682782 w 6499257"/>
                    <a:gd name="connsiteY73" fmla="*/ 0 h 3498714"/>
                    <a:gd name="connsiteX74" fmla="*/ 4707054 w 6499257"/>
                    <a:gd name="connsiteY74" fmla="*/ 2902312 h 3498714"/>
                    <a:gd name="connsiteX75" fmla="*/ 4818179 w 6499257"/>
                    <a:gd name="connsiteY75" fmla="*/ 3013437 h 3498714"/>
                    <a:gd name="connsiteX76" fmla="*/ 4707054 w 6499257"/>
                    <a:gd name="connsiteY76" fmla="*/ 3124562 h 3498714"/>
                    <a:gd name="connsiteX77" fmla="*/ 4545125 w 6499257"/>
                    <a:gd name="connsiteY77" fmla="*/ 3124562 h 3498714"/>
                    <a:gd name="connsiteX78" fmla="*/ 4545125 w 6499257"/>
                    <a:gd name="connsiteY78" fmla="*/ 3361625 h 3498714"/>
                    <a:gd name="connsiteX79" fmla="*/ 4436113 w 6499257"/>
                    <a:gd name="connsiteY79" fmla="*/ 3470637 h 3498714"/>
                    <a:gd name="connsiteX80" fmla="*/ 4235039 w 6499257"/>
                    <a:gd name="connsiteY80" fmla="*/ 3470637 h 3498714"/>
                    <a:gd name="connsiteX81" fmla="*/ 4126027 w 6499257"/>
                    <a:gd name="connsiteY81" fmla="*/ 3361625 h 3498714"/>
                    <a:gd name="connsiteX82" fmla="*/ 4126027 w 6499257"/>
                    <a:gd name="connsiteY82" fmla="*/ 3124562 h 3498714"/>
                    <a:gd name="connsiteX83" fmla="*/ 2589325 w 6499257"/>
                    <a:gd name="connsiteY83" fmla="*/ 3124562 h 3498714"/>
                    <a:gd name="connsiteX84" fmla="*/ 2589325 w 6499257"/>
                    <a:gd name="connsiteY84" fmla="*/ 3361625 h 3498714"/>
                    <a:gd name="connsiteX85" fmla="*/ 2480313 w 6499257"/>
                    <a:gd name="connsiteY85" fmla="*/ 3470637 h 3498714"/>
                    <a:gd name="connsiteX86" fmla="*/ 2279239 w 6499257"/>
                    <a:gd name="connsiteY86" fmla="*/ 3470637 h 3498714"/>
                    <a:gd name="connsiteX87" fmla="*/ 2170227 w 6499257"/>
                    <a:gd name="connsiteY87" fmla="*/ 3361625 h 3498714"/>
                    <a:gd name="connsiteX88" fmla="*/ 2170227 w 6499257"/>
                    <a:gd name="connsiteY88" fmla="*/ 3124562 h 3498714"/>
                    <a:gd name="connsiteX89" fmla="*/ 2052754 w 6499257"/>
                    <a:gd name="connsiteY89" fmla="*/ 3124562 h 3498714"/>
                    <a:gd name="connsiteX90" fmla="*/ 1941629 w 6499257"/>
                    <a:gd name="connsiteY90" fmla="*/ 3013437 h 3498714"/>
                    <a:gd name="connsiteX91" fmla="*/ 2052754 w 6499257"/>
                    <a:gd name="connsiteY91" fmla="*/ 2902312 h 3498714"/>
                    <a:gd name="connsiteX92" fmla="*/ 682782 w 6499257"/>
                    <a:gd name="connsiteY92" fmla="*/ 0 h 3498714"/>
                    <a:gd name="connsiteX93" fmla="*/ 4492583 w 6499257"/>
                    <a:gd name="connsiteY93" fmla="*/ 2089512 h 3498714"/>
                    <a:gd name="connsiteX94" fmla="*/ 4311608 w 6499257"/>
                    <a:gd name="connsiteY94" fmla="*/ 2270487 h 3498714"/>
                    <a:gd name="connsiteX95" fmla="*/ 4492583 w 6499257"/>
                    <a:gd name="connsiteY95" fmla="*/ 2451462 h 3498714"/>
                    <a:gd name="connsiteX96" fmla="*/ 5407618 w 6499257"/>
                    <a:gd name="connsiteY96" fmla="*/ 2468742 h 3498714"/>
                    <a:gd name="connsiteX97" fmla="*/ 6498753 w 6499257"/>
                    <a:gd name="connsiteY97" fmla="*/ 2404799 h 3498714"/>
                    <a:gd name="connsiteX98" fmla="*/ 5388995 w 6499257"/>
                    <a:gd name="connsiteY98"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842751 w 6499257"/>
                    <a:gd name="connsiteY12" fmla="*/ 1749356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2534724 w 6499257"/>
                    <a:gd name="connsiteY16" fmla="*/ 982297 h 3498714"/>
                    <a:gd name="connsiteX17" fmla="*/ 4936448 w 6499257"/>
                    <a:gd name="connsiteY17" fmla="*/ 2279217 h 3498714"/>
                    <a:gd name="connsiteX18" fmla="*/ 4802103 w 6499257"/>
                    <a:gd name="connsiteY18" fmla="*/ 2588456 h 3498714"/>
                    <a:gd name="connsiteX19" fmla="*/ 4904699 w 6499257"/>
                    <a:gd name="connsiteY19" fmla="*/ 2705462 h 3498714"/>
                    <a:gd name="connsiteX20" fmla="*/ 4904698 w 6499257"/>
                    <a:gd name="connsiteY20" fmla="*/ 2705462 h 3498714"/>
                    <a:gd name="connsiteX21" fmla="*/ 4784047 w 6499257"/>
                    <a:gd name="connsiteY21" fmla="*/ 2826113 h 3498714"/>
                    <a:gd name="connsiteX22" fmla="*/ 1970999 w 6499257"/>
                    <a:gd name="connsiteY22" fmla="*/ 2826112 h 3498714"/>
                    <a:gd name="connsiteX23" fmla="*/ 1850348 w 6499257"/>
                    <a:gd name="connsiteY23" fmla="*/ 2705462 h 3498714"/>
                    <a:gd name="connsiteX24" fmla="*/ 1956769 w 6499257"/>
                    <a:gd name="connsiteY24" fmla="*/ 2587684 h 3498714"/>
                    <a:gd name="connsiteX25" fmla="*/ 1823360 w 6499257"/>
                    <a:gd name="connsiteY25" fmla="*/ 2279217 h 3498714"/>
                    <a:gd name="connsiteX26" fmla="*/ 2217440 w 6499257"/>
                    <a:gd name="connsiteY26" fmla="*/ 1856216 h 3498714"/>
                    <a:gd name="connsiteX27" fmla="*/ 2534724 w 6499257"/>
                    <a:gd name="connsiteY27" fmla="*/ 982297 h 3498714"/>
                    <a:gd name="connsiteX28" fmla="*/ 358791 w 6499257"/>
                    <a:gd name="connsiteY28" fmla="*/ 644545 h 3498714"/>
                    <a:gd name="connsiteX29" fmla="*/ 1006774 w 6499257"/>
                    <a:gd name="connsiteY29" fmla="*/ 644545 h 3498714"/>
                    <a:gd name="connsiteX30" fmla="*/ 1542636 w 6499257"/>
                    <a:gd name="connsiteY30" fmla="*/ 1193969 h 3498714"/>
                    <a:gd name="connsiteX31" fmla="*/ 1929878 w 6499257"/>
                    <a:gd name="connsiteY31" fmla="*/ 1193970 h 3498714"/>
                    <a:gd name="connsiteX32" fmla="*/ 2070059 w 6499257"/>
                    <a:gd name="connsiteY32" fmla="*/ 1334152 h 3498714"/>
                    <a:gd name="connsiteX33" fmla="*/ 1929878 w 6499257"/>
                    <a:gd name="connsiteY33" fmla="*/ 1474333 h 3498714"/>
                    <a:gd name="connsiteX34" fmla="*/ 1520943 w 6499257"/>
                    <a:gd name="connsiteY34" fmla="*/ 1470388 h 3498714"/>
                    <a:gd name="connsiteX35" fmla="*/ 1332825 w 6499257"/>
                    <a:gd name="connsiteY35" fmla="*/ 1367201 h 3498714"/>
                    <a:gd name="connsiteX36" fmla="*/ 1106501 w 6499257"/>
                    <a:gd name="connsiteY36" fmla="*/ 1098289 h 3498714"/>
                    <a:gd name="connsiteX37" fmla="*/ 1101049 w 6499257"/>
                    <a:gd name="connsiteY37" fmla="*/ 1092836 h 3498714"/>
                    <a:gd name="connsiteX38" fmla="*/ 1046523 w 6499257"/>
                    <a:gd name="connsiteY38" fmla="*/ 1092836 h 3498714"/>
                    <a:gd name="connsiteX39" fmla="*/ 1041071 w 6499257"/>
                    <a:gd name="connsiteY39" fmla="*/ 1098289 h 3498714"/>
                    <a:gd name="connsiteX40" fmla="*/ 1042136 w 6499257"/>
                    <a:gd name="connsiteY40" fmla="*/ 1419754 h 3498714"/>
                    <a:gd name="connsiteX41" fmla="*/ 1042136 w 6499257"/>
                    <a:gd name="connsiteY41" fmla="*/ 3337652 h 3498714"/>
                    <a:gd name="connsiteX42" fmla="*/ 881075 w 6499257"/>
                    <a:gd name="connsiteY42" fmla="*/ 3498714 h 3498714"/>
                    <a:gd name="connsiteX43" fmla="*/ 720012 w 6499257"/>
                    <a:gd name="connsiteY43" fmla="*/ 3337652 h 3498714"/>
                    <a:gd name="connsiteX44" fmla="*/ 720012 w 6499257"/>
                    <a:gd name="connsiteY44" fmla="*/ 2125717 h 3498714"/>
                    <a:gd name="connsiteX45" fmla="*/ 718947 w 6499257"/>
                    <a:gd name="connsiteY45" fmla="*/ 2033194 h 3498714"/>
                    <a:gd name="connsiteX46" fmla="*/ 714162 w 6499257"/>
                    <a:gd name="connsiteY46" fmla="*/ 2028410 h 3498714"/>
                    <a:gd name="connsiteX47" fmla="*/ 654759 w 6499257"/>
                    <a:gd name="connsiteY47" fmla="*/ 2028410 h 3498714"/>
                    <a:gd name="connsiteX48" fmla="*/ 649974 w 6499257"/>
                    <a:gd name="connsiteY48" fmla="*/ 2033194 h 3498714"/>
                    <a:gd name="connsiteX49" fmla="*/ 649974 w 6499257"/>
                    <a:gd name="connsiteY49" fmla="*/ 2125717 h 3498714"/>
                    <a:gd name="connsiteX50" fmla="*/ 649574 w 6499257"/>
                    <a:gd name="connsiteY50" fmla="*/ 3337652 h 3498714"/>
                    <a:gd name="connsiteX51" fmla="*/ 488511 w 6499257"/>
                    <a:gd name="connsiteY51" fmla="*/ 3498714 h 3498714"/>
                    <a:gd name="connsiteX52" fmla="*/ 327450 w 6499257"/>
                    <a:gd name="connsiteY52" fmla="*/ 3337652 h 3498714"/>
                    <a:gd name="connsiteX53" fmla="*/ 327450 w 6499257"/>
                    <a:gd name="connsiteY53" fmla="*/ 1458216 h 3498714"/>
                    <a:gd name="connsiteX54" fmla="*/ 322427 w 6499257"/>
                    <a:gd name="connsiteY54" fmla="*/ 1098205 h 3498714"/>
                    <a:gd name="connsiteX55" fmla="*/ 317058 w 6499257"/>
                    <a:gd name="connsiteY55" fmla="*/ 1092836 h 3498714"/>
                    <a:gd name="connsiteX56" fmla="*/ 263371 w 6499257"/>
                    <a:gd name="connsiteY56" fmla="*/ 1092836 h 3498714"/>
                    <a:gd name="connsiteX57" fmla="*/ 258001 w 6499257"/>
                    <a:gd name="connsiteY57" fmla="*/ 1098205 h 3498714"/>
                    <a:gd name="connsiteX58" fmla="*/ 258001 w 6499257"/>
                    <a:gd name="connsiteY58" fmla="*/ 1444446 h 3498714"/>
                    <a:gd name="connsiteX59" fmla="*/ 257700 w 6499257"/>
                    <a:gd name="connsiteY59" fmla="*/ 1444370 h 3498714"/>
                    <a:gd name="connsiteX60" fmla="*/ 257700 w 6499257"/>
                    <a:gd name="connsiteY60" fmla="*/ 1912573 h 3498714"/>
                    <a:gd name="connsiteX61" fmla="*/ 128850 w 6499257"/>
                    <a:gd name="connsiteY61" fmla="*/ 2041423 h 3498714"/>
                    <a:gd name="connsiteX62" fmla="*/ 0 w 6499257"/>
                    <a:gd name="connsiteY62" fmla="*/ 1912573 h 3498714"/>
                    <a:gd name="connsiteX63" fmla="*/ 0 w 6499257"/>
                    <a:gd name="connsiteY63" fmla="*/ 1101802 h 3498714"/>
                    <a:gd name="connsiteX64" fmla="*/ 0 w 6499257"/>
                    <a:gd name="connsiteY64" fmla="*/ 1003338 h 3498714"/>
                    <a:gd name="connsiteX65" fmla="*/ 0 w 6499257"/>
                    <a:gd name="connsiteY65" fmla="*/ 982486 h 3498714"/>
                    <a:gd name="connsiteX66" fmla="*/ 12733 w 6499257"/>
                    <a:gd name="connsiteY66" fmla="*/ 894663 h 3498714"/>
                    <a:gd name="connsiteX67" fmla="*/ 20539 w 6499257"/>
                    <a:gd name="connsiteY67" fmla="*/ 868773 h 3498714"/>
                    <a:gd name="connsiteX68" fmla="*/ 358791 w 6499257"/>
                    <a:gd name="connsiteY68" fmla="*/ 644545 h 3498714"/>
                    <a:gd name="connsiteX69" fmla="*/ 682782 w 6499257"/>
                    <a:gd name="connsiteY69" fmla="*/ 0 h 3498714"/>
                    <a:gd name="connsiteX70" fmla="*/ 966919 w 6499257"/>
                    <a:gd name="connsiteY70" fmla="*/ 284138 h 3498714"/>
                    <a:gd name="connsiteX71" fmla="*/ 682782 w 6499257"/>
                    <a:gd name="connsiteY71" fmla="*/ 568275 h 3498714"/>
                    <a:gd name="connsiteX72" fmla="*/ 398645 w 6499257"/>
                    <a:gd name="connsiteY72" fmla="*/ 284138 h 3498714"/>
                    <a:gd name="connsiteX73" fmla="*/ 682782 w 6499257"/>
                    <a:gd name="connsiteY73" fmla="*/ 0 h 3498714"/>
                    <a:gd name="connsiteX74" fmla="*/ 4707054 w 6499257"/>
                    <a:gd name="connsiteY74" fmla="*/ 2902312 h 3498714"/>
                    <a:gd name="connsiteX75" fmla="*/ 4818179 w 6499257"/>
                    <a:gd name="connsiteY75" fmla="*/ 3013437 h 3498714"/>
                    <a:gd name="connsiteX76" fmla="*/ 4707054 w 6499257"/>
                    <a:gd name="connsiteY76" fmla="*/ 3124562 h 3498714"/>
                    <a:gd name="connsiteX77" fmla="*/ 4545125 w 6499257"/>
                    <a:gd name="connsiteY77" fmla="*/ 3124562 h 3498714"/>
                    <a:gd name="connsiteX78" fmla="*/ 4545125 w 6499257"/>
                    <a:gd name="connsiteY78" fmla="*/ 3361625 h 3498714"/>
                    <a:gd name="connsiteX79" fmla="*/ 4436113 w 6499257"/>
                    <a:gd name="connsiteY79" fmla="*/ 3470637 h 3498714"/>
                    <a:gd name="connsiteX80" fmla="*/ 4235039 w 6499257"/>
                    <a:gd name="connsiteY80" fmla="*/ 3470637 h 3498714"/>
                    <a:gd name="connsiteX81" fmla="*/ 4126027 w 6499257"/>
                    <a:gd name="connsiteY81" fmla="*/ 3361625 h 3498714"/>
                    <a:gd name="connsiteX82" fmla="*/ 4126027 w 6499257"/>
                    <a:gd name="connsiteY82" fmla="*/ 3124562 h 3498714"/>
                    <a:gd name="connsiteX83" fmla="*/ 2589325 w 6499257"/>
                    <a:gd name="connsiteY83" fmla="*/ 3124562 h 3498714"/>
                    <a:gd name="connsiteX84" fmla="*/ 2589325 w 6499257"/>
                    <a:gd name="connsiteY84" fmla="*/ 3361625 h 3498714"/>
                    <a:gd name="connsiteX85" fmla="*/ 2480313 w 6499257"/>
                    <a:gd name="connsiteY85" fmla="*/ 3470637 h 3498714"/>
                    <a:gd name="connsiteX86" fmla="*/ 2279239 w 6499257"/>
                    <a:gd name="connsiteY86" fmla="*/ 3470637 h 3498714"/>
                    <a:gd name="connsiteX87" fmla="*/ 2170227 w 6499257"/>
                    <a:gd name="connsiteY87" fmla="*/ 3361625 h 3498714"/>
                    <a:gd name="connsiteX88" fmla="*/ 2170227 w 6499257"/>
                    <a:gd name="connsiteY88" fmla="*/ 3124562 h 3498714"/>
                    <a:gd name="connsiteX89" fmla="*/ 2052754 w 6499257"/>
                    <a:gd name="connsiteY89" fmla="*/ 3124562 h 3498714"/>
                    <a:gd name="connsiteX90" fmla="*/ 1941629 w 6499257"/>
                    <a:gd name="connsiteY90" fmla="*/ 3013437 h 3498714"/>
                    <a:gd name="connsiteX91" fmla="*/ 2052754 w 6499257"/>
                    <a:gd name="connsiteY91" fmla="*/ 2902312 h 3498714"/>
                    <a:gd name="connsiteX92" fmla="*/ 682782 w 6499257"/>
                    <a:gd name="connsiteY92" fmla="*/ 0 h 3498714"/>
                    <a:gd name="connsiteX93" fmla="*/ 4492583 w 6499257"/>
                    <a:gd name="connsiteY93" fmla="*/ 2089512 h 3498714"/>
                    <a:gd name="connsiteX94" fmla="*/ 4311608 w 6499257"/>
                    <a:gd name="connsiteY94" fmla="*/ 2270487 h 3498714"/>
                    <a:gd name="connsiteX95" fmla="*/ 4492583 w 6499257"/>
                    <a:gd name="connsiteY95" fmla="*/ 2451462 h 3498714"/>
                    <a:gd name="connsiteX96" fmla="*/ 5407618 w 6499257"/>
                    <a:gd name="connsiteY96" fmla="*/ 2468742 h 3498714"/>
                    <a:gd name="connsiteX97" fmla="*/ 6498753 w 6499257"/>
                    <a:gd name="connsiteY97" fmla="*/ 2404799 h 3498714"/>
                    <a:gd name="connsiteX98" fmla="*/ 5388995 w 6499257"/>
                    <a:gd name="connsiteY98"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842751 w 6499257"/>
                    <a:gd name="connsiteY12" fmla="*/ 1749356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2534724 w 6499257"/>
                    <a:gd name="connsiteY16" fmla="*/ 982297 h 3498714"/>
                    <a:gd name="connsiteX17" fmla="*/ 4802103 w 6499257"/>
                    <a:gd name="connsiteY17" fmla="*/ 2588456 h 3498714"/>
                    <a:gd name="connsiteX18" fmla="*/ 4904699 w 6499257"/>
                    <a:gd name="connsiteY18" fmla="*/ 2705462 h 3498714"/>
                    <a:gd name="connsiteX19" fmla="*/ 4904698 w 6499257"/>
                    <a:gd name="connsiteY19" fmla="*/ 2705462 h 3498714"/>
                    <a:gd name="connsiteX20" fmla="*/ 4784047 w 6499257"/>
                    <a:gd name="connsiteY20" fmla="*/ 2826113 h 3498714"/>
                    <a:gd name="connsiteX21" fmla="*/ 1970999 w 6499257"/>
                    <a:gd name="connsiteY21" fmla="*/ 2826112 h 3498714"/>
                    <a:gd name="connsiteX22" fmla="*/ 1850348 w 6499257"/>
                    <a:gd name="connsiteY22" fmla="*/ 2705462 h 3498714"/>
                    <a:gd name="connsiteX23" fmla="*/ 1956769 w 6499257"/>
                    <a:gd name="connsiteY23" fmla="*/ 2587684 h 3498714"/>
                    <a:gd name="connsiteX24" fmla="*/ 1823360 w 6499257"/>
                    <a:gd name="connsiteY24" fmla="*/ 2279217 h 3498714"/>
                    <a:gd name="connsiteX25" fmla="*/ 2217440 w 6499257"/>
                    <a:gd name="connsiteY25" fmla="*/ 1856216 h 3498714"/>
                    <a:gd name="connsiteX26" fmla="*/ 2534724 w 6499257"/>
                    <a:gd name="connsiteY26" fmla="*/ 982297 h 3498714"/>
                    <a:gd name="connsiteX27" fmla="*/ 358791 w 6499257"/>
                    <a:gd name="connsiteY27" fmla="*/ 644545 h 3498714"/>
                    <a:gd name="connsiteX28" fmla="*/ 1006774 w 6499257"/>
                    <a:gd name="connsiteY28" fmla="*/ 644545 h 3498714"/>
                    <a:gd name="connsiteX29" fmla="*/ 1542636 w 6499257"/>
                    <a:gd name="connsiteY29" fmla="*/ 1193969 h 3498714"/>
                    <a:gd name="connsiteX30" fmla="*/ 1929878 w 6499257"/>
                    <a:gd name="connsiteY30" fmla="*/ 1193970 h 3498714"/>
                    <a:gd name="connsiteX31" fmla="*/ 2070059 w 6499257"/>
                    <a:gd name="connsiteY31" fmla="*/ 1334152 h 3498714"/>
                    <a:gd name="connsiteX32" fmla="*/ 1929878 w 6499257"/>
                    <a:gd name="connsiteY32" fmla="*/ 1474333 h 3498714"/>
                    <a:gd name="connsiteX33" fmla="*/ 1520943 w 6499257"/>
                    <a:gd name="connsiteY33" fmla="*/ 1470388 h 3498714"/>
                    <a:gd name="connsiteX34" fmla="*/ 1332825 w 6499257"/>
                    <a:gd name="connsiteY34" fmla="*/ 1367201 h 3498714"/>
                    <a:gd name="connsiteX35" fmla="*/ 1106501 w 6499257"/>
                    <a:gd name="connsiteY35" fmla="*/ 1098289 h 3498714"/>
                    <a:gd name="connsiteX36" fmla="*/ 1101049 w 6499257"/>
                    <a:gd name="connsiteY36" fmla="*/ 1092836 h 3498714"/>
                    <a:gd name="connsiteX37" fmla="*/ 1046523 w 6499257"/>
                    <a:gd name="connsiteY37" fmla="*/ 1092836 h 3498714"/>
                    <a:gd name="connsiteX38" fmla="*/ 1041071 w 6499257"/>
                    <a:gd name="connsiteY38" fmla="*/ 1098289 h 3498714"/>
                    <a:gd name="connsiteX39" fmla="*/ 1042136 w 6499257"/>
                    <a:gd name="connsiteY39" fmla="*/ 1419754 h 3498714"/>
                    <a:gd name="connsiteX40" fmla="*/ 1042136 w 6499257"/>
                    <a:gd name="connsiteY40" fmla="*/ 3337652 h 3498714"/>
                    <a:gd name="connsiteX41" fmla="*/ 881075 w 6499257"/>
                    <a:gd name="connsiteY41" fmla="*/ 3498714 h 3498714"/>
                    <a:gd name="connsiteX42" fmla="*/ 720012 w 6499257"/>
                    <a:gd name="connsiteY42" fmla="*/ 3337652 h 3498714"/>
                    <a:gd name="connsiteX43" fmla="*/ 720012 w 6499257"/>
                    <a:gd name="connsiteY43" fmla="*/ 2125717 h 3498714"/>
                    <a:gd name="connsiteX44" fmla="*/ 718947 w 6499257"/>
                    <a:gd name="connsiteY44" fmla="*/ 2033194 h 3498714"/>
                    <a:gd name="connsiteX45" fmla="*/ 714162 w 6499257"/>
                    <a:gd name="connsiteY45" fmla="*/ 2028410 h 3498714"/>
                    <a:gd name="connsiteX46" fmla="*/ 654759 w 6499257"/>
                    <a:gd name="connsiteY46" fmla="*/ 2028410 h 3498714"/>
                    <a:gd name="connsiteX47" fmla="*/ 649974 w 6499257"/>
                    <a:gd name="connsiteY47" fmla="*/ 2033194 h 3498714"/>
                    <a:gd name="connsiteX48" fmla="*/ 649974 w 6499257"/>
                    <a:gd name="connsiteY48" fmla="*/ 2125717 h 3498714"/>
                    <a:gd name="connsiteX49" fmla="*/ 649574 w 6499257"/>
                    <a:gd name="connsiteY49" fmla="*/ 3337652 h 3498714"/>
                    <a:gd name="connsiteX50" fmla="*/ 488511 w 6499257"/>
                    <a:gd name="connsiteY50" fmla="*/ 3498714 h 3498714"/>
                    <a:gd name="connsiteX51" fmla="*/ 327450 w 6499257"/>
                    <a:gd name="connsiteY51" fmla="*/ 3337652 h 3498714"/>
                    <a:gd name="connsiteX52" fmla="*/ 327450 w 6499257"/>
                    <a:gd name="connsiteY52" fmla="*/ 1458216 h 3498714"/>
                    <a:gd name="connsiteX53" fmla="*/ 322427 w 6499257"/>
                    <a:gd name="connsiteY53" fmla="*/ 1098205 h 3498714"/>
                    <a:gd name="connsiteX54" fmla="*/ 317058 w 6499257"/>
                    <a:gd name="connsiteY54" fmla="*/ 1092836 h 3498714"/>
                    <a:gd name="connsiteX55" fmla="*/ 263371 w 6499257"/>
                    <a:gd name="connsiteY55" fmla="*/ 1092836 h 3498714"/>
                    <a:gd name="connsiteX56" fmla="*/ 258001 w 6499257"/>
                    <a:gd name="connsiteY56" fmla="*/ 1098205 h 3498714"/>
                    <a:gd name="connsiteX57" fmla="*/ 258001 w 6499257"/>
                    <a:gd name="connsiteY57" fmla="*/ 1444446 h 3498714"/>
                    <a:gd name="connsiteX58" fmla="*/ 257700 w 6499257"/>
                    <a:gd name="connsiteY58" fmla="*/ 1444370 h 3498714"/>
                    <a:gd name="connsiteX59" fmla="*/ 257700 w 6499257"/>
                    <a:gd name="connsiteY59" fmla="*/ 1912573 h 3498714"/>
                    <a:gd name="connsiteX60" fmla="*/ 128850 w 6499257"/>
                    <a:gd name="connsiteY60" fmla="*/ 2041423 h 3498714"/>
                    <a:gd name="connsiteX61" fmla="*/ 0 w 6499257"/>
                    <a:gd name="connsiteY61" fmla="*/ 1912573 h 3498714"/>
                    <a:gd name="connsiteX62" fmla="*/ 0 w 6499257"/>
                    <a:gd name="connsiteY62" fmla="*/ 1101802 h 3498714"/>
                    <a:gd name="connsiteX63" fmla="*/ 0 w 6499257"/>
                    <a:gd name="connsiteY63" fmla="*/ 1003338 h 3498714"/>
                    <a:gd name="connsiteX64" fmla="*/ 0 w 6499257"/>
                    <a:gd name="connsiteY64" fmla="*/ 982486 h 3498714"/>
                    <a:gd name="connsiteX65" fmla="*/ 12733 w 6499257"/>
                    <a:gd name="connsiteY65" fmla="*/ 894663 h 3498714"/>
                    <a:gd name="connsiteX66" fmla="*/ 20539 w 6499257"/>
                    <a:gd name="connsiteY66" fmla="*/ 868773 h 3498714"/>
                    <a:gd name="connsiteX67" fmla="*/ 358791 w 6499257"/>
                    <a:gd name="connsiteY67" fmla="*/ 644545 h 3498714"/>
                    <a:gd name="connsiteX68" fmla="*/ 682782 w 6499257"/>
                    <a:gd name="connsiteY68" fmla="*/ 0 h 3498714"/>
                    <a:gd name="connsiteX69" fmla="*/ 966919 w 6499257"/>
                    <a:gd name="connsiteY69" fmla="*/ 284138 h 3498714"/>
                    <a:gd name="connsiteX70" fmla="*/ 682782 w 6499257"/>
                    <a:gd name="connsiteY70" fmla="*/ 568275 h 3498714"/>
                    <a:gd name="connsiteX71" fmla="*/ 398645 w 6499257"/>
                    <a:gd name="connsiteY71" fmla="*/ 284138 h 3498714"/>
                    <a:gd name="connsiteX72" fmla="*/ 682782 w 6499257"/>
                    <a:gd name="connsiteY72" fmla="*/ 0 h 3498714"/>
                    <a:gd name="connsiteX73" fmla="*/ 4707054 w 6499257"/>
                    <a:gd name="connsiteY73" fmla="*/ 2902312 h 3498714"/>
                    <a:gd name="connsiteX74" fmla="*/ 4818179 w 6499257"/>
                    <a:gd name="connsiteY74" fmla="*/ 3013437 h 3498714"/>
                    <a:gd name="connsiteX75" fmla="*/ 4707054 w 6499257"/>
                    <a:gd name="connsiteY75" fmla="*/ 3124562 h 3498714"/>
                    <a:gd name="connsiteX76" fmla="*/ 4545125 w 6499257"/>
                    <a:gd name="connsiteY76" fmla="*/ 3124562 h 3498714"/>
                    <a:gd name="connsiteX77" fmla="*/ 4545125 w 6499257"/>
                    <a:gd name="connsiteY77" fmla="*/ 3361625 h 3498714"/>
                    <a:gd name="connsiteX78" fmla="*/ 4436113 w 6499257"/>
                    <a:gd name="connsiteY78" fmla="*/ 3470637 h 3498714"/>
                    <a:gd name="connsiteX79" fmla="*/ 4235039 w 6499257"/>
                    <a:gd name="connsiteY79" fmla="*/ 3470637 h 3498714"/>
                    <a:gd name="connsiteX80" fmla="*/ 4126027 w 6499257"/>
                    <a:gd name="connsiteY80" fmla="*/ 3361625 h 3498714"/>
                    <a:gd name="connsiteX81" fmla="*/ 4126027 w 6499257"/>
                    <a:gd name="connsiteY81" fmla="*/ 3124562 h 3498714"/>
                    <a:gd name="connsiteX82" fmla="*/ 2589325 w 6499257"/>
                    <a:gd name="connsiteY82" fmla="*/ 3124562 h 3498714"/>
                    <a:gd name="connsiteX83" fmla="*/ 2589325 w 6499257"/>
                    <a:gd name="connsiteY83" fmla="*/ 3361625 h 3498714"/>
                    <a:gd name="connsiteX84" fmla="*/ 2480313 w 6499257"/>
                    <a:gd name="connsiteY84" fmla="*/ 3470637 h 3498714"/>
                    <a:gd name="connsiteX85" fmla="*/ 2279239 w 6499257"/>
                    <a:gd name="connsiteY85" fmla="*/ 3470637 h 3498714"/>
                    <a:gd name="connsiteX86" fmla="*/ 2170227 w 6499257"/>
                    <a:gd name="connsiteY86" fmla="*/ 3361625 h 3498714"/>
                    <a:gd name="connsiteX87" fmla="*/ 2170227 w 6499257"/>
                    <a:gd name="connsiteY87" fmla="*/ 3124562 h 3498714"/>
                    <a:gd name="connsiteX88" fmla="*/ 2052754 w 6499257"/>
                    <a:gd name="connsiteY88" fmla="*/ 3124562 h 3498714"/>
                    <a:gd name="connsiteX89" fmla="*/ 1941629 w 6499257"/>
                    <a:gd name="connsiteY89" fmla="*/ 3013437 h 3498714"/>
                    <a:gd name="connsiteX90" fmla="*/ 2052754 w 6499257"/>
                    <a:gd name="connsiteY90" fmla="*/ 2902312 h 3498714"/>
                    <a:gd name="connsiteX91" fmla="*/ 682782 w 6499257"/>
                    <a:gd name="connsiteY91" fmla="*/ 0 h 3498714"/>
                    <a:gd name="connsiteX92" fmla="*/ 4492583 w 6499257"/>
                    <a:gd name="connsiteY92" fmla="*/ 2089512 h 3498714"/>
                    <a:gd name="connsiteX93" fmla="*/ 4311608 w 6499257"/>
                    <a:gd name="connsiteY93" fmla="*/ 2270487 h 3498714"/>
                    <a:gd name="connsiteX94" fmla="*/ 4492583 w 6499257"/>
                    <a:gd name="connsiteY94" fmla="*/ 2451462 h 3498714"/>
                    <a:gd name="connsiteX95" fmla="*/ 5407618 w 6499257"/>
                    <a:gd name="connsiteY95" fmla="*/ 2468742 h 3498714"/>
                    <a:gd name="connsiteX96" fmla="*/ 6498753 w 6499257"/>
                    <a:gd name="connsiteY96" fmla="*/ 2404799 h 3498714"/>
                    <a:gd name="connsiteX97" fmla="*/ 5388995 w 6499257"/>
                    <a:gd name="connsiteY97" fmla="*/ 2075460 h 3498714"/>
                    <a:gd name="connsiteX0" fmla="*/ 2979061 w 6462083"/>
                    <a:gd name="connsiteY0" fmla="*/ 2089512 h 3498714"/>
                    <a:gd name="connsiteX1" fmla="*/ 2671086 w 6462083"/>
                    <a:gd name="connsiteY1" fmla="*/ 2397487 h 3498714"/>
                    <a:gd name="connsiteX2" fmla="*/ 2671086 w 6462083"/>
                    <a:gd name="connsiteY2" fmla="*/ 2584811 h 3498714"/>
                    <a:gd name="connsiteX3" fmla="*/ 4083961 w 6462083"/>
                    <a:gd name="connsiteY3" fmla="*/ 2584811 h 3498714"/>
                    <a:gd name="connsiteX4" fmla="*/ 4083961 w 6462083"/>
                    <a:gd name="connsiteY4" fmla="*/ 2397487 h 3498714"/>
                    <a:gd name="connsiteX5" fmla="*/ 3775986 w 6462083"/>
                    <a:gd name="connsiteY5" fmla="*/ 2089512 h 3498714"/>
                    <a:gd name="connsiteX6" fmla="*/ 2979061 w 6462083"/>
                    <a:gd name="connsiteY6" fmla="*/ 2089512 h 3498714"/>
                    <a:gd name="connsiteX7" fmla="*/ 2251033 w 6462083"/>
                    <a:gd name="connsiteY7" fmla="*/ 2089512 h 3498714"/>
                    <a:gd name="connsiteX8" fmla="*/ 2070058 w 6462083"/>
                    <a:gd name="connsiteY8" fmla="*/ 2270487 h 3498714"/>
                    <a:gd name="connsiteX9" fmla="*/ 2251033 w 6462083"/>
                    <a:gd name="connsiteY9" fmla="*/ 2451462 h 3498714"/>
                    <a:gd name="connsiteX10" fmla="*/ 2432008 w 6462083"/>
                    <a:gd name="connsiteY10" fmla="*/ 2270487 h 3498714"/>
                    <a:gd name="connsiteX11" fmla="*/ 2251033 w 6462083"/>
                    <a:gd name="connsiteY11" fmla="*/ 2089512 h 3498714"/>
                    <a:gd name="connsiteX12" fmla="*/ 2842751 w 6462083"/>
                    <a:gd name="connsiteY12" fmla="*/ 1749356 h 3498714"/>
                    <a:gd name="connsiteX13" fmla="*/ 2392797 w 6462083"/>
                    <a:gd name="connsiteY13" fmla="*/ 1878907 h 3498714"/>
                    <a:gd name="connsiteX14" fmla="*/ 2478781 w 6462083"/>
                    <a:gd name="connsiteY14" fmla="*/ 1920808 h 3498714"/>
                    <a:gd name="connsiteX15" fmla="*/ 2842751 w 6462083"/>
                    <a:gd name="connsiteY15" fmla="*/ 1749356 h 3498714"/>
                    <a:gd name="connsiteX16" fmla="*/ 2534724 w 6462083"/>
                    <a:gd name="connsiteY16" fmla="*/ 982297 h 3498714"/>
                    <a:gd name="connsiteX17" fmla="*/ 4802103 w 6462083"/>
                    <a:gd name="connsiteY17" fmla="*/ 2588456 h 3498714"/>
                    <a:gd name="connsiteX18" fmla="*/ 4904699 w 6462083"/>
                    <a:gd name="connsiteY18" fmla="*/ 2705462 h 3498714"/>
                    <a:gd name="connsiteX19" fmla="*/ 4904698 w 6462083"/>
                    <a:gd name="connsiteY19" fmla="*/ 2705462 h 3498714"/>
                    <a:gd name="connsiteX20" fmla="*/ 4784047 w 6462083"/>
                    <a:gd name="connsiteY20" fmla="*/ 2826113 h 3498714"/>
                    <a:gd name="connsiteX21" fmla="*/ 1970999 w 6462083"/>
                    <a:gd name="connsiteY21" fmla="*/ 2826112 h 3498714"/>
                    <a:gd name="connsiteX22" fmla="*/ 1850348 w 6462083"/>
                    <a:gd name="connsiteY22" fmla="*/ 2705462 h 3498714"/>
                    <a:gd name="connsiteX23" fmla="*/ 1956769 w 6462083"/>
                    <a:gd name="connsiteY23" fmla="*/ 2587684 h 3498714"/>
                    <a:gd name="connsiteX24" fmla="*/ 1823360 w 6462083"/>
                    <a:gd name="connsiteY24" fmla="*/ 2279217 h 3498714"/>
                    <a:gd name="connsiteX25" fmla="*/ 2217440 w 6462083"/>
                    <a:gd name="connsiteY25" fmla="*/ 1856216 h 3498714"/>
                    <a:gd name="connsiteX26" fmla="*/ 2534724 w 6462083"/>
                    <a:gd name="connsiteY26" fmla="*/ 982297 h 3498714"/>
                    <a:gd name="connsiteX27" fmla="*/ 358791 w 6462083"/>
                    <a:gd name="connsiteY27" fmla="*/ 644545 h 3498714"/>
                    <a:gd name="connsiteX28" fmla="*/ 1006774 w 6462083"/>
                    <a:gd name="connsiteY28" fmla="*/ 644545 h 3498714"/>
                    <a:gd name="connsiteX29" fmla="*/ 1542636 w 6462083"/>
                    <a:gd name="connsiteY29" fmla="*/ 1193969 h 3498714"/>
                    <a:gd name="connsiteX30" fmla="*/ 1929878 w 6462083"/>
                    <a:gd name="connsiteY30" fmla="*/ 1193970 h 3498714"/>
                    <a:gd name="connsiteX31" fmla="*/ 2070059 w 6462083"/>
                    <a:gd name="connsiteY31" fmla="*/ 1334152 h 3498714"/>
                    <a:gd name="connsiteX32" fmla="*/ 1929878 w 6462083"/>
                    <a:gd name="connsiteY32" fmla="*/ 1474333 h 3498714"/>
                    <a:gd name="connsiteX33" fmla="*/ 1520943 w 6462083"/>
                    <a:gd name="connsiteY33" fmla="*/ 1470388 h 3498714"/>
                    <a:gd name="connsiteX34" fmla="*/ 1332825 w 6462083"/>
                    <a:gd name="connsiteY34" fmla="*/ 1367201 h 3498714"/>
                    <a:gd name="connsiteX35" fmla="*/ 1106501 w 6462083"/>
                    <a:gd name="connsiteY35" fmla="*/ 1098289 h 3498714"/>
                    <a:gd name="connsiteX36" fmla="*/ 1101049 w 6462083"/>
                    <a:gd name="connsiteY36" fmla="*/ 1092836 h 3498714"/>
                    <a:gd name="connsiteX37" fmla="*/ 1046523 w 6462083"/>
                    <a:gd name="connsiteY37" fmla="*/ 1092836 h 3498714"/>
                    <a:gd name="connsiteX38" fmla="*/ 1041071 w 6462083"/>
                    <a:gd name="connsiteY38" fmla="*/ 1098289 h 3498714"/>
                    <a:gd name="connsiteX39" fmla="*/ 1042136 w 6462083"/>
                    <a:gd name="connsiteY39" fmla="*/ 1419754 h 3498714"/>
                    <a:gd name="connsiteX40" fmla="*/ 1042136 w 6462083"/>
                    <a:gd name="connsiteY40" fmla="*/ 3337652 h 3498714"/>
                    <a:gd name="connsiteX41" fmla="*/ 881075 w 6462083"/>
                    <a:gd name="connsiteY41" fmla="*/ 3498714 h 3498714"/>
                    <a:gd name="connsiteX42" fmla="*/ 720012 w 6462083"/>
                    <a:gd name="connsiteY42" fmla="*/ 3337652 h 3498714"/>
                    <a:gd name="connsiteX43" fmla="*/ 720012 w 6462083"/>
                    <a:gd name="connsiteY43" fmla="*/ 2125717 h 3498714"/>
                    <a:gd name="connsiteX44" fmla="*/ 718947 w 6462083"/>
                    <a:gd name="connsiteY44" fmla="*/ 2033194 h 3498714"/>
                    <a:gd name="connsiteX45" fmla="*/ 714162 w 6462083"/>
                    <a:gd name="connsiteY45" fmla="*/ 2028410 h 3498714"/>
                    <a:gd name="connsiteX46" fmla="*/ 654759 w 6462083"/>
                    <a:gd name="connsiteY46" fmla="*/ 2028410 h 3498714"/>
                    <a:gd name="connsiteX47" fmla="*/ 649974 w 6462083"/>
                    <a:gd name="connsiteY47" fmla="*/ 2033194 h 3498714"/>
                    <a:gd name="connsiteX48" fmla="*/ 649974 w 6462083"/>
                    <a:gd name="connsiteY48" fmla="*/ 2125717 h 3498714"/>
                    <a:gd name="connsiteX49" fmla="*/ 649574 w 6462083"/>
                    <a:gd name="connsiteY49" fmla="*/ 3337652 h 3498714"/>
                    <a:gd name="connsiteX50" fmla="*/ 488511 w 6462083"/>
                    <a:gd name="connsiteY50" fmla="*/ 3498714 h 3498714"/>
                    <a:gd name="connsiteX51" fmla="*/ 327450 w 6462083"/>
                    <a:gd name="connsiteY51" fmla="*/ 3337652 h 3498714"/>
                    <a:gd name="connsiteX52" fmla="*/ 327450 w 6462083"/>
                    <a:gd name="connsiteY52" fmla="*/ 1458216 h 3498714"/>
                    <a:gd name="connsiteX53" fmla="*/ 322427 w 6462083"/>
                    <a:gd name="connsiteY53" fmla="*/ 1098205 h 3498714"/>
                    <a:gd name="connsiteX54" fmla="*/ 317058 w 6462083"/>
                    <a:gd name="connsiteY54" fmla="*/ 1092836 h 3498714"/>
                    <a:gd name="connsiteX55" fmla="*/ 263371 w 6462083"/>
                    <a:gd name="connsiteY55" fmla="*/ 1092836 h 3498714"/>
                    <a:gd name="connsiteX56" fmla="*/ 258001 w 6462083"/>
                    <a:gd name="connsiteY56" fmla="*/ 1098205 h 3498714"/>
                    <a:gd name="connsiteX57" fmla="*/ 258001 w 6462083"/>
                    <a:gd name="connsiteY57" fmla="*/ 1444446 h 3498714"/>
                    <a:gd name="connsiteX58" fmla="*/ 257700 w 6462083"/>
                    <a:gd name="connsiteY58" fmla="*/ 1444370 h 3498714"/>
                    <a:gd name="connsiteX59" fmla="*/ 257700 w 6462083"/>
                    <a:gd name="connsiteY59" fmla="*/ 1912573 h 3498714"/>
                    <a:gd name="connsiteX60" fmla="*/ 128850 w 6462083"/>
                    <a:gd name="connsiteY60" fmla="*/ 2041423 h 3498714"/>
                    <a:gd name="connsiteX61" fmla="*/ 0 w 6462083"/>
                    <a:gd name="connsiteY61" fmla="*/ 1912573 h 3498714"/>
                    <a:gd name="connsiteX62" fmla="*/ 0 w 6462083"/>
                    <a:gd name="connsiteY62" fmla="*/ 1101802 h 3498714"/>
                    <a:gd name="connsiteX63" fmla="*/ 0 w 6462083"/>
                    <a:gd name="connsiteY63" fmla="*/ 1003338 h 3498714"/>
                    <a:gd name="connsiteX64" fmla="*/ 0 w 6462083"/>
                    <a:gd name="connsiteY64" fmla="*/ 982486 h 3498714"/>
                    <a:gd name="connsiteX65" fmla="*/ 12733 w 6462083"/>
                    <a:gd name="connsiteY65" fmla="*/ 894663 h 3498714"/>
                    <a:gd name="connsiteX66" fmla="*/ 20539 w 6462083"/>
                    <a:gd name="connsiteY66" fmla="*/ 868773 h 3498714"/>
                    <a:gd name="connsiteX67" fmla="*/ 358791 w 6462083"/>
                    <a:gd name="connsiteY67" fmla="*/ 644545 h 3498714"/>
                    <a:gd name="connsiteX68" fmla="*/ 682782 w 6462083"/>
                    <a:gd name="connsiteY68" fmla="*/ 0 h 3498714"/>
                    <a:gd name="connsiteX69" fmla="*/ 966919 w 6462083"/>
                    <a:gd name="connsiteY69" fmla="*/ 284138 h 3498714"/>
                    <a:gd name="connsiteX70" fmla="*/ 682782 w 6462083"/>
                    <a:gd name="connsiteY70" fmla="*/ 568275 h 3498714"/>
                    <a:gd name="connsiteX71" fmla="*/ 398645 w 6462083"/>
                    <a:gd name="connsiteY71" fmla="*/ 284138 h 3498714"/>
                    <a:gd name="connsiteX72" fmla="*/ 682782 w 6462083"/>
                    <a:gd name="connsiteY72" fmla="*/ 0 h 3498714"/>
                    <a:gd name="connsiteX73" fmla="*/ 4707054 w 6462083"/>
                    <a:gd name="connsiteY73" fmla="*/ 2902312 h 3498714"/>
                    <a:gd name="connsiteX74" fmla="*/ 4818179 w 6462083"/>
                    <a:gd name="connsiteY74" fmla="*/ 3013437 h 3498714"/>
                    <a:gd name="connsiteX75" fmla="*/ 4707054 w 6462083"/>
                    <a:gd name="connsiteY75" fmla="*/ 3124562 h 3498714"/>
                    <a:gd name="connsiteX76" fmla="*/ 4545125 w 6462083"/>
                    <a:gd name="connsiteY76" fmla="*/ 3124562 h 3498714"/>
                    <a:gd name="connsiteX77" fmla="*/ 4545125 w 6462083"/>
                    <a:gd name="connsiteY77" fmla="*/ 3361625 h 3498714"/>
                    <a:gd name="connsiteX78" fmla="*/ 4436113 w 6462083"/>
                    <a:gd name="connsiteY78" fmla="*/ 3470637 h 3498714"/>
                    <a:gd name="connsiteX79" fmla="*/ 4235039 w 6462083"/>
                    <a:gd name="connsiteY79" fmla="*/ 3470637 h 3498714"/>
                    <a:gd name="connsiteX80" fmla="*/ 4126027 w 6462083"/>
                    <a:gd name="connsiteY80" fmla="*/ 3361625 h 3498714"/>
                    <a:gd name="connsiteX81" fmla="*/ 4126027 w 6462083"/>
                    <a:gd name="connsiteY81" fmla="*/ 3124562 h 3498714"/>
                    <a:gd name="connsiteX82" fmla="*/ 2589325 w 6462083"/>
                    <a:gd name="connsiteY82" fmla="*/ 3124562 h 3498714"/>
                    <a:gd name="connsiteX83" fmla="*/ 2589325 w 6462083"/>
                    <a:gd name="connsiteY83" fmla="*/ 3361625 h 3498714"/>
                    <a:gd name="connsiteX84" fmla="*/ 2480313 w 6462083"/>
                    <a:gd name="connsiteY84" fmla="*/ 3470637 h 3498714"/>
                    <a:gd name="connsiteX85" fmla="*/ 2279239 w 6462083"/>
                    <a:gd name="connsiteY85" fmla="*/ 3470637 h 3498714"/>
                    <a:gd name="connsiteX86" fmla="*/ 2170227 w 6462083"/>
                    <a:gd name="connsiteY86" fmla="*/ 3361625 h 3498714"/>
                    <a:gd name="connsiteX87" fmla="*/ 2170227 w 6462083"/>
                    <a:gd name="connsiteY87" fmla="*/ 3124562 h 3498714"/>
                    <a:gd name="connsiteX88" fmla="*/ 2052754 w 6462083"/>
                    <a:gd name="connsiteY88" fmla="*/ 3124562 h 3498714"/>
                    <a:gd name="connsiteX89" fmla="*/ 1941629 w 6462083"/>
                    <a:gd name="connsiteY89" fmla="*/ 3013437 h 3498714"/>
                    <a:gd name="connsiteX90" fmla="*/ 2052754 w 6462083"/>
                    <a:gd name="connsiteY90" fmla="*/ 2902312 h 3498714"/>
                    <a:gd name="connsiteX91" fmla="*/ 682782 w 6462083"/>
                    <a:gd name="connsiteY91" fmla="*/ 0 h 3498714"/>
                    <a:gd name="connsiteX92" fmla="*/ 4492583 w 6462083"/>
                    <a:gd name="connsiteY92" fmla="*/ 2089512 h 3498714"/>
                    <a:gd name="connsiteX93" fmla="*/ 4311608 w 6462083"/>
                    <a:gd name="connsiteY93" fmla="*/ 2270487 h 3498714"/>
                    <a:gd name="connsiteX94" fmla="*/ 4492583 w 6462083"/>
                    <a:gd name="connsiteY94" fmla="*/ 2451462 h 3498714"/>
                    <a:gd name="connsiteX95" fmla="*/ 5407618 w 6462083"/>
                    <a:gd name="connsiteY95" fmla="*/ 2468742 h 3498714"/>
                    <a:gd name="connsiteX96" fmla="*/ 6461556 w 6462083"/>
                    <a:gd name="connsiteY96" fmla="*/ 2404799 h 3498714"/>
                    <a:gd name="connsiteX97" fmla="*/ 5388995 w 6462083"/>
                    <a:gd name="connsiteY97" fmla="*/ 2075460 h 3498714"/>
                    <a:gd name="connsiteX0" fmla="*/ 2979061 w 5470282"/>
                    <a:gd name="connsiteY0" fmla="*/ 2089512 h 3498714"/>
                    <a:gd name="connsiteX1" fmla="*/ 2671086 w 5470282"/>
                    <a:gd name="connsiteY1" fmla="*/ 2397487 h 3498714"/>
                    <a:gd name="connsiteX2" fmla="*/ 2671086 w 5470282"/>
                    <a:gd name="connsiteY2" fmla="*/ 2584811 h 3498714"/>
                    <a:gd name="connsiteX3" fmla="*/ 4083961 w 5470282"/>
                    <a:gd name="connsiteY3" fmla="*/ 2584811 h 3498714"/>
                    <a:gd name="connsiteX4" fmla="*/ 4083961 w 5470282"/>
                    <a:gd name="connsiteY4" fmla="*/ 2397487 h 3498714"/>
                    <a:gd name="connsiteX5" fmla="*/ 3775986 w 5470282"/>
                    <a:gd name="connsiteY5" fmla="*/ 2089512 h 3498714"/>
                    <a:gd name="connsiteX6" fmla="*/ 2979061 w 5470282"/>
                    <a:gd name="connsiteY6" fmla="*/ 2089512 h 3498714"/>
                    <a:gd name="connsiteX7" fmla="*/ 2251033 w 5470282"/>
                    <a:gd name="connsiteY7" fmla="*/ 2089512 h 3498714"/>
                    <a:gd name="connsiteX8" fmla="*/ 2070058 w 5470282"/>
                    <a:gd name="connsiteY8" fmla="*/ 2270487 h 3498714"/>
                    <a:gd name="connsiteX9" fmla="*/ 2251033 w 5470282"/>
                    <a:gd name="connsiteY9" fmla="*/ 2451462 h 3498714"/>
                    <a:gd name="connsiteX10" fmla="*/ 2432008 w 5470282"/>
                    <a:gd name="connsiteY10" fmla="*/ 2270487 h 3498714"/>
                    <a:gd name="connsiteX11" fmla="*/ 2251033 w 5470282"/>
                    <a:gd name="connsiteY11" fmla="*/ 2089512 h 3498714"/>
                    <a:gd name="connsiteX12" fmla="*/ 2842751 w 5470282"/>
                    <a:gd name="connsiteY12" fmla="*/ 1749356 h 3498714"/>
                    <a:gd name="connsiteX13" fmla="*/ 2392797 w 5470282"/>
                    <a:gd name="connsiteY13" fmla="*/ 1878907 h 3498714"/>
                    <a:gd name="connsiteX14" fmla="*/ 2478781 w 5470282"/>
                    <a:gd name="connsiteY14" fmla="*/ 1920808 h 3498714"/>
                    <a:gd name="connsiteX15" fmla="*/ 2842751 w 5470282"/>
                    <a:gd name="connsiteY15" fmla="*/ 1749356 h 3498714"/>
                    <a:gd name="connsiteX16" fmla="*/ 2534724 w 5470282"/>
                    <a:gd name="connsiteY16" fmla="*/ 982297 h 3498714"/>
                    <a:gd name="connsiteX17" fmla="*/ 4802103 w 5470282"/>
                    <a:gd name="connsiteY17" fmla="*/ 2588456 h 3498714"/>
                    <a:gd name="connsiteX18" fmla="*/ 4904699 w 5470282"/>
                    <a:gd name="connsiteY18" fmla="*/ 2705462 h 3498714"/>
                    <a:gd name="connsiteX19" fmla="*/ 4904698 w 5470282"/>
                    <a:gd name="connsiteY19" fmla="*/ 2705462 h 3498714"/>
                    <a:gd name="connsiteX20" fmla="*/ 4784047 w 5470282"/>
                    <a:gd name="connsiteY20" fmla="*/ 2826113 h 3498714"/>
                    <a:gd name="connsiteX21" fmla="*/ 1970999 w 5470282"/>
                    <a:gd name="connsiteY21" fmla="*/ 2826112 h 3498714"/>
                    <a:gd name="connsiteX22" fmla="*/ 1850348 w 5470282"/>
                    <a:gd name="connsiteY22" fmla="*/ 2705462 h 3498714"/>
                    <a:gd name="connsiteX23" fmla="*/ 1956769 w 5470282"/>
                    <a:gd name="connsiteY23" fmla="*/ 2587684 h 3498714"/>
                    <a:gd name="connsiteX24" fmla="*/ 1823360 w 5470282"/>
                    <a:gd name="connsiteY24" fmla="*/ 2279217 h 3498714"/>
                    <a:gd name="connsiteX25" fmla="*/ 2217440 w 5470282"/>
                    <a:gd name="connsiteY25" fmla="*/ 1856216 h 3498714"/>
                    <a:gd name="connsiteX26" fmla="*/ 2534724 w 5470282"/>
                    <a:gd name="connsiteY26" fmla="*/ 982297 h 3498714"/>
                    <a:gd name="connsiteX27" fmla="*/ 358791 w 5470282"/>
                    <a:gd name="connsiteY27" fmla="*/ 644545 h 3498714"/>
                    <a:gd name="connsiteX28" fmla="*/ 1006774 w 5470282"/>
                    <a:gd name="connsiteY28" fmla="*/ 644545 h 3498714"/>
                    <a:gd name="connsiteX29" fmla="*/ 1542636 w 5470282"/>
                    <a:gd name="connsiteY29" fmla="*/ 1193969 h 3498714"/>
                    <a:gd name="connsiteX30" fmla="*/ 1929878 w 5470282"/>
                    <a:gd name="connsiteY30" fmla="*/ 1193970 h 3498714"/>
                    <a:gd name="connsiteX31" fmla="*/ 2070059 w 5470282"/>
                    <a:gd name="connsiteY31" fmla="*/ 1334152 h 3498714"/>
                    <a:gd name="connsiteX32" fmla="*/ 1929878 w 5470282"/>
                    <a:gd name="connsiteY32" fmla="*/ 1474333 h 3498714"/>
                    <a:gd name="connsiteX33" fmla="*/ 1520943 w 5470282"/>
                    <a:gd name="connsiteY33" fmla="*/ 1470388 h 3498714"/>
                    <a:gd name="connsiteX34" fmla="*/ 1332825 w 5470282"/>
                    <a:gd name="connsiteY34" fmla="*/ 1367201 h 3498714"/>
                    <a:gd name="connsiteX35" fmla="*/ 1106501 w 5470282"/>
                    <a:gd name="connsiteY35" fmla="*/ 1098289 h 3498714"/>
                    <a:gd name="connsiteX36" fmla="*/ 1101049 w 5470282"/>
                    <a:gd name="connsiteY36" fmla="*/ 1092836 h 3498714"/>
                    <a:gd name="connsiteX37" fmla="*/ 1046523 w 5470282"/>
                    <a:gd name="connsiteY37" fmla="*/ 1092836 h 3498714"/>
                    <a:gd name="connsiteX38" fmla="*/ 1041071 w 5470282"/>
                    <a:gd name="connsiteY38" fmla="*/ 1098289 h 3498714"/>
                    <a:gd name="connsiteX39" fmla="*/ 1042136 w 5470282"/>
                    <a:gd name="connsiteY39" fmla="*/ 1419754 h 3498714"/>
                    <a:gd name="connsiteX40" fmla="*/ 1042136 w 5470282"/>
                    <a:gd name="connsiteY40" fmla="*/ 3337652 h 3498714"/>
                    <a:gd name="connsiteX41" fmla="*/ 881075 w 5470282"/>
                    <a:gd name="connsiteY41" fmla="*/ 3498714 h 3498714"/>
                    <a:gd name="connsiteX42" fmla="*/ 720012 w 5470282"/>
                    <a:gd name="connsiteY42" fmla="*/ 3337652 h 3498714"/>
                    <a:gd name="connsiteX43" fmla="*/ 720012 w 5470282"/>
                    <a:gd name="connsiteY43" fmla="*/ 2125717 h 3498714"/>
                    <a:gd name="connsiteX44" fmla="*/ 718947 w 5470282"/>
                    <a:gd name="connsiteY44" fmla="*/ 2033194 h 3498714"/>
                    <a:gd name="connsiteX45" fmla="*/ 714162 w 5470282"/>
                    <a:gd name="connsiteY45" fmla="*/ 2028410 h 3498714"/>
                    <a:gd name="connsiteX46" fmla="*/ 654759 w 5470282"/>
                    <a:gd name="connsiteY46" fmla="*/ 2028410 h 3498714"/>
                    <a:gd name="connsiteX47" fmla="*/ 649974 w 5470282"/>
                    <a:gd name="connsiteY47" fmla="*/ 2033194 h 3498714"/>
                    <a:gd name="connsiteX48" fmla="*/ 649974 w 5470282"/>
                    <a:gd name="connsiteY48" fmla="*/ 2125717 h 3498714"/>
                    <a:gd name="connsiteX49" fmla="*/ 649574 w 5470282"/>
                    <a:gd name="connsiteY49" fmla="*/ 3337652 h 3498714"/>
                    <a:gd name="connsiteX50" fmla="*/ 488511 w 5470282"/>
                    <a:gd name="connsiteY50" fmla="*/ 3498714 h 3498714"/>
                    <a:gd name="connsiteX51" fmla="*/ 327450 w 5470282"/>
                    <a:gd name="connsiteY51" fmla="*/ 3337652 h 3498714"/>
                    <a:gd name="connsiteX52" fmla="*/ 327450 w 5470282"/>
                    <a:gd name="connsiteY52" fmla="*/ 1458216 h 3498714"/>
                    <a:gd name="connsiteX53" fmla="*/ 322427 w 5470282"/>
                    <a:gd name="connsiteY53" fmla="*/ 1098205 h 3498714"/>
                    <a:gd name="connsiteX54" fmla="*/ 317058 w 5470282"/>
                    <a:gd name="connsiteY54" fmla="*/ 1092836 h 3498714"/>
                    <a:gd name="connsiteX55" fmla="*/ 263371 w 5470282"/>
                    <a:gd name="connsiteY55" fmla="*/ 1092836 h 3498714"/>
                    <a:gd name="connsiteX56" fmla="*/ 258001 w 5470282"/>
                    <a:gd name="connsiteY56" fmla="*/ 1098205 h 3498714"/>
                    <a:gd name="connsiteX57" fmla="*/ 258001 w 5470282"/>
                    <a:gd name="connsiteY57" fmla="*/ 1444446 h 3498714"/>
                    <a:gd name="connsiteX58" fmla="*/ 257700 w 5470282"/>
                    <a:gd name="connsiteY58" fmla="*/ 1444370 h 3498714"/>
                    <a:gd name="connsiteX59" fmla="*/ 257700 w 5470282"/>
                    <a:gd name="connsiteY59" fmla="*/ 1912573 h 3498714"/>
                    <a:gd name="connsiteX60" fmla="*/ 128850 w 5470282"/>
                    <a:gd name="connsiteY60" fmla="*/ 2041423 h 3498714"/>
                    <a:gd name="connsiteX61" fmla="*/ 0 w 5470282"/>
                    <a:gd name="connsiteY61" fmla="*/ 1912573 h 3498714"/>
                    <a:gd name="connsiteX62" fmla="*/ 0 w 5470282"/>
                    <a:gd name="connsiteY62" fmla="*/ 1101802 h 3498714"/>
                    <a:gd name="connsiteX63" fmla="*/ 0 w 5470282"/>
                    <a:gd name="connsiteY63" fmla="*/ 1003338 h 3498714"/>
                    <a:gd name="connsiteX64" fmla="*/ 0 w 5470282"/>
                    <a:gd name="connsiteY64" fmla="*/ 982486 h 3498714"/>
                    <a:gd name="connsiteX65" fmla="*/ 12733 w 5470282"/>
                    <a:gd name="connsiteY65" fmla="*/ 894663 h 3498714"/>
                    <a:gd name="connsiteX66" fmla="*/ 20539 w 5470282"/>
                    <a:gd name="connsiteY66" fmla="*/ 868773 h 3498714"/>
                    <a:gd name="connsiteX67" fmla="*/ 358791 w 5470282"/>
                    <a:gd name="connsiteY67" fmla="*/ 644545 h 3498714"/>
                    <a:gd name="connsiteX68" fmla="*/ 682782 w 5470282"/>
                    <a:gd name="connsiteY68" fmla="*/ 0 h 3498714"/>
                    <a:gd name="connsiteX69" fmla="*/ 966919 w 5470282"/>
                    <a:gd name="connsiteY69" fmla="*/ 284138 h 3498714"/>
                    <a:gd name="connsiteX70" fmla="*/ 682782 w 5470282"/>
                    <a:gd name="connsiteY70" fmla="*/ 568275 h 3498714"/>
                    <a:gd name="connsiteX71" fmla="*/ 398645 w 5470282"/>
                    <a:gd name="connsiteY71" fmla="*/ 284138 h 3498714"/>
                    <a:gd name="connsiteX72" fmla="*/ 682782 w 5470282"/>
                    <a:gd name="connsiteY72" fmla="*/ 0 h 3498714"/>
                    <a:gd name="connsiteX73" fmla="*/ 4707054 w 5470282"/>
                    <a:gd name="connsiteY73" fmla="*/ 2902312 h 3498714"/>
                    <a:gd name="connsiteX74" fmla="*/ 4818179 w 5470282"/>
                    <a:gd name="connsiteY74" fmla="*/ 3013437 h 3498714"/>
                    <a:gd name="connsiteX75" fmla="*/ 4707054 w 5470282"/>
                    <a:gd name="connsiteY75" fmla="*/ 3124562 h 3498714"/>
                    <a:gd name="connsiteX76" fmla="*/ 4545125 w 5470282"/>
                    <a:gd name="connsiteY76" fmla="*/ 3124562 h 3498714"/>
                    <a:gd name="connsiteX77" fmla="*/ 4545125 w 5470282"/>
                    <a:gd name="connsiteY77" fmla="*/ 3361625 h 3498714"/>
                    <a:gd name="connsiteX78" fmla="*/ 4436113 w 5470282"/>
                    <a:gd name="connsiteY78" fmla="*/ 3470637 h 3498714"/>
                    <a:gd name="connsiteX79" fmla="*/ 4235039 w 5470282"/>
                    <a:gd name="connsiteY79" fmla="*/ 3470637 h 3498714"/>
                    <a:gd name="connsiteX80" fmla="*/ 4126027 w 5470282"/>
                    <a:gd name="connsiteY80" fmla="*/ 3361625 h 3498714"/>
                    <a:gd name="connsiteX81" fmla="*/ 4126027 w 5470282"/>
                    <a:gd name="connsiteY81" fmla="*/ 3124562 h 3498714"/>
                    <a:gd name="connsiteX82" fmla="*/ 2589325 w 5470282"/>
                    <a:gd name="connsiteY82" fmla="*/ 3124562 h 3498714"/>
                    <a:gd name="connsiteX83" fmla="*/ 2589325 w 5470282"/>
                    <a:gd name="connsiteY83" fmla="*/ 3361625 h 3498714"/>
                    <a:gd name="connsiteX84" fmla="*/ 2480313 w 5470282"/>
                    <a:gd name="connsiteY84" fmla="*/ 3470637 h 3498714"/>
                    <a:gd name="connsiteX85" fmla="*/ 2279239 w 5470282"/>
                    <a:gd name="connsiteY85" fmla="*/ 3470637 h 3498714"/>
                    <a:gd name="connsiteX86" fmla="*/ 2170227 w 5470282"/>
                    <a:gd name="connsiteY86" fmla="*/ 3361625 h 3498714"/>
                    <a:gd name="connsiteX87" fmla="*/ 2170227 w 5470282"/>
                    <a:gd name="connsiteY87" fmla="*/ 3124562 h 3498714"/>
                    <a:gd name="connsiteX88" fmla="*/ 2052754 w 5470282"/>
                    <a:gd name="connsiteY88" fmla="*/ 3124562 h 3498714"/>
                    <a:gd name="connsiteX89" fmla="*/ 1941629 w 5470282"/>
                    <a:gd name="connsiteY89" fmla="*/ 3013437 h 3498714"/>
                    <a:gd name="connsiteX90" fmla="*/ 2052754 w 5470282"/>
                    <a:gd name="connsiteY90" fmla="*/ 2902312 h 3498714"/>
                    <a:gd name="connsiteX91" fmla="*/ 682782 w 5470282"/>
                    <a:gd name="connsiteY91" fmla="*/ 0 h 3498714"/>
                    <a:gd name="connsiteX92" fmla="*/ 4492583 w 5470282"/>
                    <a:gd name="connsiteY92" fmla="*/ 2089512 h 3498714"/>
                    <a:gd name="connsiteX93" fmla="*/ 4311608 w 5470282"/>
                    <a:gd name="connsiteY93" fmla="*/ 2270487 h 3498714"/>
                    <a:gd name="connsiteX94" fmla="*/ 4492583 w 5470282"/>
                    <a:gd name="connsiteY94" fmla="*/ 2451462 h 3498714"/>
                    <a:gd name="connsiteX95" fmla="*/ 5407618 w 5470282"/>
                    <a:gd name="connsiteY95" fmla="*/ 2468742 h 3498714"/>
                    <a:gd name="connsiteX96" fmla="*/ 5388995 w 5470282"/>
                    <a:gd name="connsiteY96" fmla="*/ 2075460 h 3498714"/>
                    <a:gd name="connsiteX0" fmla="*/ 2979061 w 5388995"/>
                    <a:gd name="connsiteY0" fmla="*/ 2089512 h 3498714"/>
                    <a:gd name="connsiteX1" fmla="*/ 2671086 w 5388995"/>
                    <a:gd name="connsiteY1" fmla="*/ 2397487 h 3498714"/>
                    <a:gd name="connsiteX2" fmla="*/ 2671086 w 5388995"/>
                    <a:gd name="connsiteY2" fmla="*/ 2584811 h 3498714"/>
                    <a:gd name="connsiteX3" fmla="*/ 4083961 w 5388995"/>
                    <a:gd name="connsiteY3" fmla="*/ 2584811 h 3498714"/>
                    <a:gd name="connsiteX4" fmla="*/ 4083961 w 5388995"/>
                    <a:gd name="connsiteY4" fmla="*/ 2397487 h 3498714"/>
                    <a:gd name="connsiteX5" fmla="*/ 3775986 w 5388995"/>
                    <a:gd name="connsiteY5" fmla="*/ 2089512 h 3498714"/>
                    <a:gd name="connsiteX6" fmla="*/ 2979061 w 5388995"/>
                    <a:gd name="connsiteY6" fmla="*/ 2089512 h 3498714"/>
                    <a:gd name="connsiteX7" fmla="*/ 2251033 w 5388995"/>
                    <a:gd name="connsiteY7" fmla="*/ 2089512 h 3498714"/>
                    <a:gd name="connsiteX8" fmla="*/ 2070058 w 5388995"/>
                    <a:gd name="connsiteY8" fmla="*/ 2270487 h 3498714"/>
                    <a:gd name="connsiteX9" fmla="*/ 2251033 w 5388995"/>
                    <a:gd name="connsiteY9" fmla="*/ 2451462 h 3498714"/>
                    <a:gd name="connsiteX10" fmla="*/ 2432008 w 5388995"/>
                    <a:gd name="connsiteY10" fmla="*/ 2270487 h 3498714"/>
                    <a:gd name="connsiteX11" fmla="*/ 2251033 w 5388995"/>
                    <a:gd name="connsiteY11" fmla="*/ 2089512 h 3498714"/>
                    <a:gd name="connsiteX12" fmla="*/ 2842751 w 5388995"/>
                    <a:gd name="connsiteY12" fmla="*/ 1749356 h 3498714"/>
                    <a:gd name="connsiteX13" fmla="*/ 2392797 w 5388995"/>
                    <a:gd name="connsiteY13" fmla="*/ 1878907 h 3498714"/>
                    <a:gd name="connsiteX14" fmla="*/ 2478781 w 5388995"/>
                    <a:gd name="connsiteY14" fmla="*/ 1920808 h 3498714"/>
                    <a:gd name="connsiteX15" fmla="*/ 2842751 w 5388995"/>
                    <a:gd name="connsiteY15" fmla="*/ 1749356 h 3498714"/>
                    <a:gd name="connsiteX16" fmla="*/ 2534724 w 5388995"/>
                    <a:gd name="connsiteY16" fmla="*/ 982297 h 3498714"/>
                    <a:gd name="connsiteX17" fmla="*/ 4802103 w 5388995"/>
                    <a:gd name="connsiteY17" fmla="*/ 2588456 h 3498714"/>
                    <a:gd name="connsiteX18" fmla="*/ 4904699 w 5388995"/>
                    <a:gd name="connsiteY18" fmla="*/ 2705462 h 3498714"/>
                    <a:gd name="connsiteX19" fmla="*/ 4904698 w 5388995"/>
                    <a:gd name="connsiteY19" fmla="*/ 2705462 h 3498714"/>
                    <a:gd name="connsiteX20" fmla="*/ 4784047 w 5388995"/>
                    <a:gd name="connsiteY20" fmla="*/ 2826113 h 3498714"/>
                    <a:gd name="connsiteX21" fmla="*/ 1970999 w 5388995"/>
                    <a:gd name="connsiteY21" fmla="*/ 2826112 h 3498714"/>
                    <a:gd name="connsiteX22" fmla="*/ 1850348 w 5388995"/>
                    <a:gd name="connsiteY22" fmla="*/ 2705462 h 3498714"/>
                    <a:gd name="connsiteX23" fmla="*/ 1956769 w 5388995"/>
                    <a:gd name="connsiteY23" fmla="*/ 2587684 h 3498714"/>
                    <a:gd name="connsiteX24" fmla="*/ 1823360 w 5388995"/>
                    <a:gd name="connsiteY24" fmla="*/ 2279217 h 3498714"/>
                    <a:gd name="connsiteX25" fmla="*/ 2217440 w 5388995"/>
                    <a:gd name="connsiteY25" fmla="*/ 1856216 h 3498714"/>
                    <a:gd name="connsiteX26" fmla="*/ 2534724 w 5388995"/>
                    <a:gd name="connsiteY26" fmla="*/ 982297 h 3498714"/>
                    <a:gd name="connsiteX27" fmla="*/ 358791 w 5388995"/>
                    <a:gd name="connsiteY27" fmla="*/ 644545 h 3498714"/>
                    <a:gd name="connsiteX28" fmla="*/ 1006774 w 5388995"/>
                    <a:gd name="connsiteY28" fmla="*/ 644545 h 3498714"/>
                    <a:gd name="connsiteX29" fmla="*/ 1542636 w 5388995"/>
                    <a:gd name="connsiteY29" fmla="*/ 1193969 h 3498714"/>
                    <a:gd name="connsiteX30" fmla="*/ 1929878 w 5388995"/>
                    <a:gd name="connsiteY30" fmla="*/ 1193970 h 3498714"/>
                    <a:gd name="connsiteX31" fmla="*/ 2070059 w 5388995"/>
                    <a:gd name="connsiteY31" fmla="*/ 1334152 h 3498714"/>
                    <a:gd name="connsiteX32" fmla="*/ 1929878 w 5388995"/>
                    <a:gd name="connsiteY32" fmla="*/ 1474333 h 3498714"/>
                    <a:gd name="connsiteX33" fmla="*/ 1520943 w 5388995"/>
                    <a:gd name="connsiteY33" fmla="*/ 1470388 h 3498714"/>
                    <a:gd name="connsiteX34" fmla="*/ 1332825 w 5388995"/>
                    <a:gd name="connsiteY34" fmla="*/ 1367201 h 3498714"/>
                    <a:gd name="connsiteX35" fmla="*/ 1106501 w 5388995"/>
                    <a:gd name="connsiteY35" fmla="*/ 1098289 h 3498714"/>
                    <a:gd name="connsiteX36" fmla="*/ 1101049 w 5388995"/>
                    <a:gd name="connsiteY36" fmla="*/ 1092836 h 3498714"/>
                    <a:gd name="connsiteX37" fmla="*/ 1046523 w 5388995"/>
                    <a:gd name="connsiteY37" fmla="*/ 1092836 h 3498714"/>
                    <a:gd name="connsiteX38" fmla="*/ 1041071 w 5388995"/>
                    <a:gd name="connsiteY38" fmla="*/ 1098289 h 3498714"/>
                    <a:gd name="connsiteX39" fmla="*/ 1042136 w 5388995"/>
                    <a:gd name="connsiteY39" fmla="*/ 1419754 h 3498714"/>
                    <a:gd name="connsiteX40" fmla="*/ 1042136 w 5388995"/>
                    <a:gd name="connsiteY40" fmla="*/ 3337652 h 3498714"/>
                    <a:gd name="connsiteX41" fmla="*/ 881075 w 5388995"/>
                    <a:gd name="connsiteY41" fmla="*/ 3498714 h 3498714"/>
                    <a:gd name="connsiteX42" fmla="*/ 720012 w 5388995"/>
                    <a:gd name="connsiteY42" fmla="*/ 3337652 h 3498714"/>
                    <a:gd name="connsiteX43" fmla="*/ 720012 w 5388995"/>
                    <a:gd name="connsiteY43" fmla="*/ 2125717 h 3498714"/>
                    <a:gd name="connsiteX44" fmla="*/ 718947 w 5388995"/>
                    <a:gd name="connsiteY44" fmla="*/ 2033194 h 3498714"/>
                    <a:gd name="connsiteX45" fmla="*/ 714162 w 5388995"/>
                    <a:gd name="connsiteY45" fmla="*/ 2028410 h 3498714"/>
                    <a:gd name="connsiteX46" fmla="*/ 654759 w 5388995"/>
                    <a:gd name="connsiteY46" fmla="*/ 2028410 h 3498714"/>
                    <a:gd name="connsiteX47" fmla="*/ 649974 w 5388995"/>
                    <a:gd name="connsiteY47" fmla="*/ 2033194 h 3498714"/>
                    <a:gd name="connsiteX48" fmla="*/ 649974 w 5388995"/>
                    <a:gd name="connsiteY48" fmla="*/ 2125717 h 3498714"/>
                    <a:gd name="connsiteX49" fmla="*/ 649574 w 5388995"/>
                    <a:gd name="connsiteY49" fmla="*/ 3337652 h 3498714"/>
                    <a:gd name="connsiteX50" fmla="*/ 488511 w 5388995"/>
                    <a:gd name="connsiteY50" fmla="*/ 3498714 h 3498714"/>
                    <a:gd name="connsiteX51" fmla="*/ 327450 w 5388995"/>
                    <a:gd name="connsiteY51" fmla="*/ 3337652 h 3498714"/>
                    <a:gd name="connsiteX52" fmla="*/ 327450 w 5388995"/>
                    <a:gd name="connsiteY52" fmla="*/ 1458216 h 3498714"/>
                    <a:gd name="connsiteX53" fmla="*/ 322427 w 5388995"/>
                    <a:gd name="connsiteY53" fmla="*/ 1098205 h 3498714"/>
                    <a:gd name="connsiteX54" fmla="*/ 317058 w 5388995"/>
                    <a:gd name="connsiteY54" fmla="*/ 1092836 h 3498714"/>
                    <a:gd name="connsiteX55" fmla="*/ 263371 w 5388995"/>
                    <a:gd name="connsiteY55" fmla="*/ 1092836 h 3498714"/>
                    <a:gd name="connsiteX56" fmla="*/ 258001 w 5388995"/>
                    <a:gd name="connsiteY56" fmla="*/ 1098205 h 3498714"/>
                    <a:gd name="connsiteX57" fmla="*/ 258001 w 5388995"/>
                    <a:gd name="connsiteY57" fmla="*/ 1444446 h 3498714"/>
                    <a:gd name="connsiteX58" fmla="*/ 257700 w 5388995"/>
                    <a:gd name="connsiteY58" fmla="*/ 1444370 h 3498714"/>
                    <a:gd name="connsiteX59" fmla="*/ 257700 w 5388995"/>
                    <a:gd name="connsiteY59" fmla="*/ 1912573 h 3498714"/>
                    <a:gd name="connsiteX60" fmla="*/ 128850 w 5388995"/>
                    <a:gd name="connsiteY60" fmla="*/ 2041423 h 3498714"/>
                    <a:gd name="connsiteX61" fmla="*/ 0 w 5388995"/>
                    <a:gd name="connsiteY61" fmla="*/ 1912573 h 3498714"/>
                    <a:gd name="connsiteX62" fmla="*/ 0 w 5388995"/>
                    <a:gd name="connsiteY62" fmla="*/ 1101802 h 3498714"/>
                    <a:gd name="connsiteX63" fmla="*/ 0 w 5388995"/>
                    <a:gd name="connsiteY63" fmla="*/ 1003338 h 3498714"/>
                    <a:gd name="connsiteX64" fmla="*/ 0 w 5388995"/>
                    <a:gd name="connsiteY64" fmla="*/ 982486 h 3498714"/>
                    <a:gd name="connsiteX65" fmla="*/ 12733 w 5388995"/>
                    <a:gd name="connsiteY65" fmla="*/ 894663 h 3498714"/>
                    <a:gd name="connsiteX66" fmla="*/ 20539 w 5388995"/>
                    <a:gd name="connsiteY66" fmla="*/ 868773 h 3498714"/>
                    <a:gd name="connsiteX67" fmla="*/ 358791 w 5388995"/>
                    <a:gd name="connsiteY67" fmla="*/ 644545 h 3498714"/>
                    <a:gd name="connsiteX68" fmla="*/ 682782 w 5388995"/>
                    <a:gd name="connsiteY68" fmla="*/ 0 h 3498714"/>
                    <a:gd name="connsiteX69" fmla="*/ 966919 w 5388995"/>
                    <a:gd name="connsiteY69" fmla="*/ 284138 h 3498714"/>
                    <a:gd name="connsiteX70" fmla="*/ 682782 w 5388995"/>
                    <a:gd name="connsiteY70" fmla="*/ 568275 h 3498714"/>
                    <a:gd name="connsiteX71" fmla="*/ 398645 w 5388995"/>
                    <a:gd name="connsiteY71" fmla="*/ 284138 h 3498714"/>
                    <a:gd name="connsiteX72" fmla="*/ 682782 w 5388995"/>
                    <a:gd name="connsiteY72" fmla="*/ 0 h 3498714"/>
                    <a:gd name="connsiteX73" fmla="*/ 4707054 w 5388995"/>
                    <a:gd name="connsiteY73" fmla="*/ 2902312 h 3498714"/>
                    <a:gd name="connsiteX74" fmla="*/ 4818179 w 5388995"/>
                    <a:gd name="connsiteY74" fmla="*/ 3013437 h 3498714"/>
                    <a:gd name="connsiteX75" fmla="*/ 4707054 w 5388995"/>
                    <a:gd name="connsiteY75" fmla="*/ 3124562 h 3498714"/>
                    <a:gd name="connsiteX76" fmla="*/ 4545125 w 5388995"/>
                    <a:gd name="connsiteY76" fmla="*/ 3124562 h 3498714"/>
                    <a:gd name="connsiteX77" fmla="*/ 4545125 w 5388995"/>
                    <a:gd name="connsiteY77" fmla="*/ 3361625 h 3498714"/>
                    <a:gd name="connsiteX78" fmla="*/ 4436113 w 5388995"/>
                    <a:gd name="connsiteY78" fmla="*/ 3470637 h 3498714"/>
                    <a:gd name="connsiteX79" fmla="*/ 4235039 w 5388995"/>
                    <a:gd name="connsiteY79" fmla="*/ 3470637 h 3498714"/>
                    <a:gd name="connsiteX80" fmla="*/ 4126027 w 5388995"/>
                    <a:gd name="connsiteY80" fmla="*/ 3361625 h 3498714"/>
                    <a:gd name="connsiteX81" fmla="*/ 4126027 w 5388995"/>
                    <a:gd name="connsiteY81" fmla="*/ 3124562 h 3498714"/>
                    <a:gd name="connsiteX82" fmla="*/ 2589325 w 5388995"/>
                    <a:gd name="connsiteY82" fmla="*/ 3124562 h 3498714"/>
                    <a:gd name="connsiteX83" fmla="*/ 2589325 w 5388995"/>
                    <a:gd name="connsiteY83" fmla="*/ 3361625 h 3498714"/>
                    <a:gd name="connsiteX84" fmla="*/ 2480313 w 5388995"/>
                    <a:gd name="connsiteY84" fmla="*/ 3470637 h 3498714"/>
                    <a:gd name="connsiteX85" fmla="*/ 2279239 w 5388995"/>
                    <a:gd name="connsiteY85" fmla="*/ 3470637 h 3498714"/>
                    <a:gd name="connsiteX86" fmla="*/ 2170227 w 5388995"/>
                    <a:gd name="connsiteY86" fmla="*/ 3361625 h 3498714"/>
                    <a:gd name="connsiteX87" fmla="*/ 2170227 w 5388995"/>
                    <a:gd name="connsiteY87" fmla="*/ 3124562 h 3498714"/>
                    <a:gd name="connsiteX88" fmla="*/ 2052754 w 5388995"/>
                    <a:gd name="connsiteY88" fmla="*/ 3124562 h 3498714"/>
                    <a:gd name="connsiteX89" fmla="*/ 1941629 w 5388995"/>
                    <a:gd name="connsiteY89" fmla="*/ 3013437 h 3498714"/>
                    <a:gd name="connsiteX90" fmla="*/ 2052754 w 5388995"/>
                    <a:gd name="connsiteY90" fmla="*/ 2902312 h 3498714"/>
                    <a:gd name="connsiteX91" fmla="*/ 682782 w 5388995"/>
                    <a:gd name="connsiteY91" fmla="*/ 0 h 3498714"/>
                    <a:gd name="connsiteX92" fmla="*/ 4492583 w 5388995"/>
                    <a:gd name="connsiteY92" fmla="*/ 2089512 h 3498714"/>
                    <a:gd name="connsiteX93" fmla="*/ 4311608 w 5388995"/>
                    <a:gd name="connsiteY93" fmla="*/ 2270487 h 3498714"/>
                    <a:gd name="connsiteX94" fmla="*/ 4492583 w 5388995"/>
                    <a:gd name="connsiteY94" fmla="*/ 2451462 h 3498714"/>
                    <a:gd name="connsiteX95" fmla="*/ 5388995 w 5388995"/>
                    <a:gd name="connsiteY95" fmla="*/ 2075460 h 3498714"/>
                    <a:gd name="connsiteX0" fmla="*/ 2979061 w 4904699"/>
                    <a:gd name="connsiteY0" fmla="*/ 2089512 h 3498714"/>
                    <a:gd name="connsiteX1" fmla="*/ 2671086 w 4904699"/>
                    <a:gd name="connsiteY1" fmla="*/ 2397487 h 3498714"/>
                    <a:gd name="connsiteX2" fmla="*/ 2671086 w 4904699"/>
                    <a:gd name="connsiteY2" fmla="*/ 2584811 h 3498714"/>
                    <a:gd name="connsiteX3" fmla="*/ 4083961 w 4904699"/>
                    <a:gd name="connsiteY3" fmla="*/ 2584811 h 3498714"/>
                    <a:gd name="connsiteX4" fmla="*/ 4083961 w 4904699"/>
                    <a:gd name="connsiteY4" fmla="*/ 2397487 h 3498714"/>
                    <a:gd name="connsiteX5" fmla="*/ 3775986 w 4904699"/>
                    <a:gd name="connsiteY5" fmla="*/ 2089512 h 3498714"/>
                    <a:gd name="connsiteX6" fmla="*/ 2979061 w 4904699"/>
                    <a:gd name="connsiteY6" fmla="*/ 2089512 h 3498714"/>
                    <a:gd name="connsiteX7" fmla="*/ 2251033 w 4904699"/>
                    <a:gd name="connsiteY7" fmla="*/ 2089512 h 3498714"/>
                    <a:gd name="connsiteX8" fmla="*/ 2070058 w 4904699"/>
                    <a:gd name="connsiteY8" fmla="*/ 2270487 h 3498714"/>
                    <a:gd name="connsiteX9" fmla="*/ 2251033 w 4904699"/>
                    <a:gd name="connsiteY9" fmla="*/ 2451462 h 3498714"/>
                    <a:gd name="connsiteX10" fmla="*/ 2432008 w 4904699"/>
                    <a:gd name="connsiteY10" fmla="*/ 2270487 h 3498714"/>
                    <a:gd name="connsiteX11" fmla="*/ 2251033 w 4904699"/>
                    <a:gd name="connsiteY11" fmla="*/ 2089512 h 3498714"/>
                    <a:gd name="connsiteX12" fmla="*/ 2842751 w 4904699"/>
                    <a:gd name="connsiteY12" fmla="*/ 1749356 h 3498714"/>
                    <a:gd name="connsiteX13" fmla="*/ 2392797 w 4904699"/>
                    <a:gd name="connsiteY13" fmla="*/ 1878907 h 3498714"/>
                    <a:gd name="connsiteX14" fmla="*/ 2478781 w 4904699"/>
                    <a:gd name="connsiteY14" fmla="*/ 1920808 h 3498714"/>
                    <a:gd name="connsiteX15" fmla="*/ 2842751 w 4904699"/>
                    <a:gd name="connsiteY15" fmla="*/ 1749356 h 3498714"/>
                    <a:gd name="connsiteX16" fmla="*/ 2534724 w 4904699"/>
                    <a:gd name="connsiteY16" fmla="*/ 982297 h 3498714"/>
                    <a:gd name="connsiteX17" fmla="*/ 4802103 w 4904699"/>
                    <a:gd name="connsiteY17" fmla="*/ 2588456 h 3498714"/>
                    <a:gd name="connsiteX18" fmla="*/ 4904699 w 4904699"/>
                    <a:gd name="connsiteY18" fmla="*/ 2705462 h 3498714"/>
                    <a:gd name="connsiteX19" fmla="*/ 4904698 w 4904699"/>
                    <a:gd name="connsiteY19" fmla="*/ 2705462 h 3498714"/>
                    <a:gd name="connsiteX20" fmla="*/ 4784047 w 4904699"/>
                    <a:gd name="connsiteY20" fmla="*/ 2826113 h 3498714"/>
                    <a:gd name="connsiteX21" fmla="*/ 1970999 w 4904699"/>
                    <a:gd name="connsiteY21" fmla="*/ 2826112 h 3498714"/>
                    <a:gd name="connsiteX22" fmla="*/ 1850348 w 4904699"/>
                    <a:gd name="connsiteY22" fmla="*/ 2705462 h 3498714"/>
                    <a:gd name="connsiteX23" fmla="*/ 1956769 w 4904699"/>
                    <a:gd name="connsiteY23" fmla="*/ 2587684 h 3498714"/>
                    <a:gd name="connsiteX24" fmla="*/ 1823360 w 4904699"/>
                    <a:gd name="connsiteY24" fmla="*/ 2279217 h 3498714"/>
                    <a:gd name="connsiteX25" fmla="*/ 2217440 w 4904699"/>
                    <a:gd name="connsiteY25" fmla="*/ 1856216 h 3498714"/>
                    <a:gd name="connsiteX26" fmla="*/ 2534724 w 4904699"/>
                    <a:gd name="connsiteY26" fmla="*/ 982297 h 3498714"/>
                    <a:gd name="connsiteX27" fmla="*/ 358791 w 4904699"/>
                    <a:gd name="connsiteY27" fmla="*/ 644545 h 3498714"/>
                    <a:gd name="connsiteX28" fmla="*/ 1006774 w 4904699"/>
                    <a:gd name="connsiteY28" fmla="*/ 644545 h 3498714"/>
                    <a:gd name="connsiteX29" fmla="*/ 1542636 w 4904699"/>
                    <a:gd name="connsiteY29" fmla="*/ 1193969 h 3498714"/>
                    <a:gd name="connsiteX30" fmla="*/ 1929878 w 4904699"/>
                    <a:gd name="connsiteY30" fmla="*/ 1193970 h 3498714"/>
                    <a:gd name="connsiteX31" fmla="*/ 2070059 w 4904699"/>
                    <a:gd name="connsiteY31" fmla="*/ 1334152 h 3498714"/>
                    <a:gd name="connsiteX32" fmla="*/ 1929878 w 4904699"/>
                    <a:gd name="connsiteY32" fmla="*/ 1474333 h 3498714"/>
                    <a:gd name="connsiteX33" fmla="*/ 1520943 w 4904699"/>
                    <a:gd name="connsiteY33" fmla="*/ 1470388 h 3498714"/>
                    <a:gd name="connsiteX34" fmla="*/ 1332825 w 4904699"/>
                    <a:gd name="connsiteY34" fmla="*/ 1367201 h 3498714"/>
                    <a:gd name="connsiteX35" fmla="*/ 1106501 w 4904699"/>
                    <a:gd name="connsiteY35" fmla="*/ 1098289 h 3498714"/>
                    <a:gd name="connsiteX36" fmla="*/ 1101049 w 4904699"/>
                    <a:gd name="connsiteY36" fmla="*/ 1092836 h 3498714"/>
                    <a:gd name="connsiteX37" fmla="*/ 1046523 w 4904699"/>
                    <a:gd name="connsiteY37" fmla="*/ 1092836 h 3498714"/>
                    <a:gd name="connsiteX38" fmla="*/ 1041071 w 4904699"/>
                    <a:gd name="connsiteY38" fmla="*/ 1098289 h 3498714"/>
                    <a:gd name="connsiteX39" fmla="*/ 1042136 w 4904699"/>
                    <a:gd name="connsiteY39" fmla="*/ 1419754 h 3498714"/>
                    <a:gd name="connsiteX40" fmla="*/ 1042136 w 4904699"/>
                    <a:gd name="connsiteY40" fmla="*/ 3337652 h 3498714"/>
                    <a:gd name="connsiteX41" fmla="*/ 881075 w 4904699"/>
                    <a:gd name="connsiteY41" fmla="*/ 3498714 h 3498714"/>
                    <a:gd name="connsiteX42" fmla="*/ 720012 w 4904699"/>
                    <a:gd name="connsiteY42" fmla="*/ 3337652 h 3498714"/>
                    <a:gd name="connsiteX43" fmla="*/ 720012 w 4904699"/>
                    <a:gd name="connsiteY43" fmla="*/ 2125717 h 3498714"/>
                    <a:gd name="connsiteX44" fmla="*/ 718947 w 4904699"/>
                    <a:gd name="connsiteY44" fmla="*/ 2033194 h 3498714"/>
                    <a:gd name="connsiteX45" fmla="*/ 714162 w 4904699"/>
                    <a:gd name="connsiteY45" fmla="*/ 2028410 h 3498714"/>
                    <a:gd name="connsiteX46" fmla="*/ 654759 w 4904699"/>
                    <a:gd name="connsiteY46" fmla="*/ 2028410 h 3498714"/>
                    <a:gd name="connsiteX47" fmla="*/ 649974 w 4904699"/>
                    <a:gd name="connsiteY47" fmla="*/ 2033194 h 3498714"/>
                    <a:gd name="connsiteX48" fmla="*/ 649974 w 4904699"/>
                    <a:gd name="connsiteY48" fmla="*/ 2125717 h 3498714"/>
                    <a:gd name="connsiteX49" fmla="*/ 649574 w 4904699"/>
                    <a:gd name="connsiteY49" fmla="*/ 3337652 h 3498714"/>
                    <a:gd name="connsiteX50" fmla="*/ 488511 w 4904699"/>
                    <a:gd name="connsiteY50" fmla="*/ 3498714 h 3498714"/>
                    <a:gd name="connsiteX51" fmla="*/ 327450 w 4904699"/>
                    <a:gd name="connsiteY51" fmla="*/ 3337652 h 3498714"/>
                    <a:gd name="connsiteX52" fmla="*/ 327450 w 4904699"/>
                    <a:gd name="connsiteY52" fmla="*/ 1458216 h 3498714"/>
                    <a:gd name="connsiteX53" fmla="*/ 322427 w 4904699"/>
                    <a:gd name="connsiteY53" fmla="*/ 1098205 h 3498714"/>
                    <a:gd name="connsiteX54" fmla="*/ 317058 w 4904699"/>
                    <a:gd name="connsiteY54" fmla="*/ 1092836 h 3498714"/>
                    <a:gd name="connsiteX55" fmla="*/ 263371 w 4904699"/>
                    <a:gd name="connsiteY55" fmla="*/ 1092836 h 3498714"/>
                    <a:gd name="connsiteX56" fmla="*/ 258001 w 4904699"/>
                    <a:gd name="connsiteY56" fmla="*/ 1098205 h 3498714"/>
                    <a:gd name="connsiteX57" fmla="*/ 258001 w 4904699"/>
                    <a:gd name="connsiteY57" fmla="*/ 1444446 h 3498714"/>
                    <a:gd name="connsiteX58" fmla="*/ 257700 w 4904699"/>
                    <a:gd name="connsiteY58" fmla="*/ 1444370 h 3498714"/>
                    <a:gd name="connsiteX59" fmla="*/ 257700 w 4904699"/>
                    <a:gd name="connsiteY59" fmla="*/ 1912573 h 3498714"/>
                    <a:gd name="connsiteX60" fmla="*/ 128850 w 4904699"/>
                    <a:gd name="connsiteY60" fmla="*/ 2041423 h 3498714"/>
                    <a:gd name="connsiteX61" fmla="*/ 0 w 4904699"/>
                    <a:gd name="connsiteY61" fmla="*/ 1912573 h 3498714"/>
                    <a:gd name="connsiteX62" fmla="*/ 0 w 4904699"/>
                    <a:gd name="connsiteY62" fmla="*/ 1101802 h 3498714"/>
                    <a:gd name="connsiteX63" fmla="*/ 0 w 4904699"/>
                    <a:gd name="connsiteY63" fmla="*/ 1003338 h 3498714"/>
                    <a:gd name="connsiteX64" fmla="*/ 0 w 4904699"/>
                    <a:gd name="connsiteY64" fmla="*/ 982486 h 3498714"/>
                    <a:gd name="connsiteX65" fmla="*/ 12733 w 4904699"/>
                    <a:gd name="connsiteY65" fmla="*/ 894663 h 3498714"/>
                    <a:gd name="connsiteX66" fmla="*/ 20539 w 4904699"/>
                    <a:gd name="connsiteY66" fmla="*/ 868773 h 3498714"/>
                    <a:gd name="connsiteX67" fmla="*/ 358791 w 4904699"/>
                    <a:gd name="connsiteY67" fmla="*/ 644545 h 3498714"/>
                    <a:gd name="connsiteX68" fmla="*/ 682782 w 4904699"/>
                    <a:gd name="connsiteY68" fmla="*/ 0 h 3498714"/>
                    <a:gd name="connsiteX69" fmla="*/ 966919 w 4904699"/>
                    <a:gd name="connsiteY69" fmla="*/ 284138 h 3498714"/>
                    <a:gd name="connsiteX70" fmla="*/ 682782 w 4904699"/>
                    <a:gd name="connsiteY70" fmla="*/ 568275 h 3498714"/>
                    <a:gd name="connsiteX71" fmla="*/ 398645 w 4904699"/>
                    <a:gd name="connsiteY71" fmla="*/ 284138 h 3498714"/>
                    <a:gd name="connsiteX72" fmla="*/ 682782 w 4904699"/>
                    <a:gd name="connsiteY72" fmla="*/ 0 h 3498714"/>
                    <a:gd name="connsiteX73" fmla="*/ 4707054 w 4904699"/>
                    <a:gd name="connsiteY73" fmla="*/ 2902312 h 3498714"/>
                    <a:gd name="connsiteX74" fmla="*/ 4818179 w 4904699"/>
                    <a:gd name="connsiteY74" fmla="*/ 3013437 h 3498714"/>
                    <a:gd name="connsiteX75" fmla="*/ 4707054 w 4904699"/>
                    <a:gd name="connsiteY75" fmla="*/ 3124562 h 3498714"/>
                    <a:gd name="connsiteX76" fmla="*/ 4545125 w 4904699"/>
                    <a:gd name="connsiteY76" fmla="*/ 3124562 h 3498714"/>
                    <a:gd name="connsiteX77" fmla="*/ 4545125 w 4904699"/>
                    <a:gd name="connsiteY77" fmla="*/ 3361625 h 3498714"/>
                    <a:gd name="connsiteX78" fmla="*/ 4436113 w 4904699"/>
                    <a:gd name="connsiteY78" fmla="*/ 3470637 h 3498714"/>
                    <a:gd name="connsiteX79" fmla="*/ 4235039 w 4904699"/>
                    <a:gd name="connsiteY79" fmla="*/ 3470637 h 3498714"/>
                    <a:gd name="connsiteX80" fmla="*/ 4126027 w 4904699"/>
                    <a:gd name="connsiteY80" fmla="*/ 3361625 h 3498714"/>
                    <a:gd name="connsiteX81" fmla="*/ 4126027 w 4904699"/>
                    <a:gd name="connsiteY81" fmla="*/ 3124562 h 3498714"/>
                    <a:gd name="connsiteX82" fmla="*/ 2589325 w 4904699"/>
                    <a:gd name="connsiteY82" fmla="*/ 3124562 h 3498714"/>
                    <a:gd name="connsiteX83" fmla="*/ 2589325 w 4904699"/>
                    <a:gd name="connsiteY83" fmla="*/ 3361625 h 3498714"/>
                    <a:gd name="connsiteX84" fmla="*/ 2480313 w 4904699"/>
                    <a:gd name="connsiteY84" fmla="*/ 3470637 h 3498714"/>
                    <a:gd name="connsiteX85" fmla="*/ 2279239 w 4904699"/>
                    <a:gd name="connsiteY85" fmla="*/ 3470637 h 3498714"/>
                    <a:gd name="connsiteX86" fmla="*/ 2170227 w 4904699"/>
                    <a:gd name="connsiteY86" fmla="*/ 3361625 h 3498714"/>
                    <a:gd name="connsiteX87" fmla="*/ 2170227 w 4904699"/>
                    <a:gd name="connsiteY87" fmla="*/ 3124562 h 3498714"/>
                    <a:gd name="connsiteX88" fmla="*/ 2052754 w 4904699"/>
                    <a:gd name="connsiteY88" fmla="*/ 3124562 h 3498714"/>
                    <a:gd name="connsiteX89" fmla="*/ 1941629 w 4904699"/>
                    <a:gd name="connsiteY89" fmla="*/ 3013437 h 3498714"/>
                    <a:gd name="connsiteX90" fmla="*/ 2052754 w 4904699"/>
                    <a:gd name="connsiteY90" fmla="*/ 2902312 h 3498714"/>
                    <a:gd name="connsiteX91" fmla="*/ 682782 w 4904699"/>
                    <a:gd name="connsiteY91" fmla="*/ 0 h 3498714"/>
                    <a:gd name="connsiteX92" fmla="*/ 4492583 w 4904699"/>
                    <a:gd name="connsiteY92" fmla="*/ 2089512 h 3498714"/>
                    <a:gd name="connsiteX93" fmla="*/ 4311608 w 4904699"/>
                    <a:gd name="connsiteY93" fmla="*/ 2270487 h 3498714"/>
                    <a:gd name="connsiteX94" fmla="*/ 4492583 w 4904699"/>
                    <a:gd name="connsiteY94" fmla="*/ 2451462 h 3498714"/>
                    <a:gd name="connsiteX0" fmla="*/ 2979061 w 4904699"/>
                    <a:gd name="connsiteY0" fmla="*/ 2089512 h 3498714"/>
                    <a:gd name="connsiteX1" fmla="*/ 2671086 w 4904699"/>
                    <a:gd name="connsiteY1" fmla="*/ 2397487 h 3498714"/>
                    <a:gd name="connsiteX2" fmla="*/ 2671086 w 4904699"/>
                    <a:gd name="connsiteY2" fmla="*/ 2584811 h 3498714"/>
                    <a:gd name="connsiteX3" fmla="*/ 4083961 w 4904699"/>
                    <a:gd name="connsiteY3" fmla="*/ 2584811 h 3498714"/>
                    <a:gd name="connsiteX4" fmla="*/ 4083961 w 4904699"/>
                    <a:gd name="connsiteY4" fmla="*/ 2397487 h 3498714"/>
                    <a:gd name="connsiteX5" fmla="*/ 3775986 w 4904699"/>
                    <a:gd name="connsiteY5" fmla="*/ 2089512 h 3498714"/>
                    <a:gd name="connsiteX6" fmla="*/ 2979061 w 4904699"/>
                    <a:gd name="connsiteY6" fmla="*/ 2089512 h 3498714"/>
                    <a:gd name="connsiteX7" fmla="*/ 2251033 w 4904699"/>
                    <a:gd name="connsiteY7" fmla="*/ 2089512 h 3498714"/>
                    <a:gd name="connsiteX8" fmla="*/ 2070058 w 4904699"/>
                    <a:gd name="connsiteY8" fmla="*/ 2270487 h 3498714"/>
                    <a:gd name="connsiteX9" fmla="*/ 2251033 w 4904699"/>
                    <a:gd name="connsiteY9" fmla="*/ 2451462 h 3498714"/>
                    <a:gd name="connsiteX10" fmla="*/ 2432008 w 4904699"/>
                    <a:gd name="connsiteY10" fmla="*/ 2270487 h 3498714"/>
                    <a:gd name="connsiteX11" fmla="*/ 2251033 w 4904699"/>
                    <a:gd name="connsiteY11" fmla="*/ 2089512 h 3498714"/>
                    <a:gd name="connsiteX12" fmla="*/ 2842751 w 4904699"/>
                    <a:gd name="connsiteY12" fmla="*/ 1749356 h 3498714"/>
                    <a:gd name="connsiteX13" fmla="*/ 2392797 w 4904699"/>
                    <a:gd name="connsiteY13" fmla="*/ 1878907 h 3498714"/>
                    <a:gd name="connsiteX14" fmla="*/ 2478781 w 4904699"/>
                    <a:gd name="connsiteY14" fmla="*/ 1920808 h 3498714"/>
                    <a:gd name="connsiteX15" fmla="*/ 2842751 w 4904699"/>
                    <a:gd name="connsiteY15" fmla="*/ 1749356 h 3498714"/>
                    <a:gd name="connsiteX16" fmla="*/ 2534724 w 4904699"/>
                    <a:gd name="connsiteY16" fmla="*/ 982297 h 3498714"/>
                    <a:gd name="connsiteX17" fmla="*/ 4802103 w 4904699"/>
                    <a:gd name="connsiteY17" fmla="*/ 2588456 h 3498714"/>
                    <a:gd name="connsiteX18" fmla="*/ 4904699 w 4904699"/>
                    <a:gd name="connsiteY18" fmla="*/ 2705462 h 3498714"/>
                    <a:gd name="connsiteX19" fmla="*/ 4904698 w 4904699"/>
                    <a:gd name="connsiteY19" fmla="*/ 2705462 h 3498714"/>
                    <a:gd name="connsiteX20" fmla="*/ 4784047 w 4904699"/>
                    <a:gd name="connsiteY20" fmla="*/ 2826113 h 3498714"/>
                    <a:gd name="connsiteX21" fmla="*/ 1970999 w 4904699"/>
                    <a:gd name="connsiteY21" fmla="*/ 2826112 h 3498714"/>
                    <a:gd name="connsiteX22" fmla="*/ 1850348 w 4904699"/>
                    <a:gd name="connsiteY22" fmla="*/ 2705462 h 3498714"/>
                    <a:gd name="connsiteX23" fmla="*/ 1956769 w 4904699"/>
                    <a:gd name="connsiteY23" fmla="*/ 2587684 h 3498714"/>
                    <a:gd name="connsiteX24" fmla="*/ 1823360 w 4904699"/>
                    <a:gd name="connsiteY24" fmla="*/ 2279217 h 3498714"/>
                    <a:gd name="connsiteX25" fmla="*/ 2217440 w 4904699"/>
                    <a:gd name="connsiteY25" fmla="*/ 1856216 h 3498714"/>
                    <a:gd name="connsiteX26" fmla="*/ 2534724 w 4904699"/>
                    <a:gd name="connsiteY26" fmla="*/ 982297 h 3498714"/>
                    <a:gd name="connsiteX27" fmla="*/ 358791 w 4904699"/>
                    <a:gd name="connsiteY27" fmla="*/ 644545 h 3498714"/>
                    <a:gd name="connsiteX28" fmla="*/ 1006774 w 4904699"/>
                    <a:gd name="connsiteY28" fmla="*/ 644545 h 3498714"/>
                    <a:gd name="connsiteX29" fmla="*/ 1542636 w 4904699"/>
                    <a:gd name="connsiteY29" fmla="*/ 1193969 h 3498714"/>
                    <a:gd name="connsiteX30" fmla="*/ 1929878 w 4904699"/>
                    <a:gd name="connsiteY30" fmla="*/ 1193970 h 3498714"/>
                    <a:gd name="connsiteX31" fmla="*/ 2070059 w 4904699"/>
                    <a:gd name="connsiteY31" fmla="*/ 1334152 h 3498714"/>
                    <a:gd name="connsiteX32" fmla="*/ 1929878 w 4904699"/>
                    <a:gd name="connsiteY32" fmla="*/ 1474333 h 3498714"/>
                    <a:gd name="connsiteX33" fmla="*/ 1520943 w 4904699"/>
                    <a:gd name="connsiteY33" fmla="*/ 1470388 h 3498714"/>
                    <a:gd name="connsiteX34" fmla="*/ 1332825 w 4904699"/>
                    <a:gd name="connsiteY34" fmla="*/ 1367201 h 3498714"/>
                    <a:gd name="connsiteX35" fmla="*/ 1106501 w 4904699"/>
                    <a:gd name="connsiteY35" fmla="*/ 1098289 h 3498714"/>
                    <a:gd name="connsiteX36" fmla="*/ 1101049 w 4904699"/>
                    <a:gd name="connsiteY36" fmla="*/ 1092836 h 3498714"/>
                    <a:gd name="connsiteX37" fmla="*/ 1046523 w 4904699"/>
                    <a:gd name="connsiteY37" fmla="*/ 1092836 h 3498714"/>
                    <a:gd name="connsiteX38" fmla="*/ 1041071 w 4904699"/>
                    <a:gd name="connsiteY38" fmla="*/ 1098289 h 3498714"/>
                    <a:gd name="connsiteX39" fmla="*/ 1042136 w 4904699"/>
                    <a:gd name="connsiteY39" fmla="*/ 1419754 h 3498714"/>
                    <a:gd name="connsiteX40" fmla="*/ 1042136 w 4904699"/>
                    <a:gd name="connsiteY40" fmla="*/ 3337652 h 3498714"/>
                    <a:gd name="connsiteX41" fmla="*/ 881075 w 4904699"/>
                    <a:gd name="connsiteY41" fmla="*/ 3498714 h 3498714"/>
                    <a:gd name="connsiteX42" fmla="*/ 720012 w 4904699"/>
                    <a:gd name="connsiteY42" fmla="*/ 3337652 h 3498714"/>
                    <a:gd name="connsiteX43" fmla="*/ 720012 w 4904699"/>
                    <a:gd name="connsiteY43" fmla="*/ 2125717 h 3498714"/>
                    <a:gd name="connsiteX44" fmla="*/ 718947 w 4904699"/>
                    <a:gd name="connsiteY44" fmla="*/ 2033194 h 3498714"/>
                    <a:gd name="connsiteX45" fmla="*/ 714162 w 4904699"/>
                    <a:gd name="connsiteY45" fmla="*/ 2028410 h 3498714"/>
                    <a:gd name="connsiteX46" fmla="*/ 654759 w 4904699"/>
                    <a:gd name="connsiteY46" fmla="*/ 2028410 h 3498714"/>
                    <a:gd name="connsiteX47" fmla="*/ 649974 w 4904699"/>
                    <a:gd name="connsiteY47" fmla="*/ 2033194 h 3498714"/>
                    <a:gd name="connsiteX48" fmla="*/ 649974 w 4904699"/>
                    <a:gd name="connsiteY48" fmla="*/ 2125717 h 3498714"/>
                    <a:gd name="connsiteX49" fmla="*/ 649574 w 4904699"/>
                    <a:gd name="connsiteY49" fmla="*/ 3337652 h 3498714"/>
                    <a:gd name="connsiteX50" fmla="*/ 488511 w 4904699"/>
                    <a:gd name="connsiteY50" fmla="*/ 3498714 h 3498714"/>
                    <a:gd name="connsiteX51" fmla="*/ 327450 w 4904699"/>
                    <a:gd name="connsiteY51" fmla="*/ 3337652 h 3498714"/>
                    <a:gd name="connsiteX52" fmla="*/ 327450 w 4904699"/>
                    <a:gd name="connsiteY52" fmla="*/ 1458216 h 3498714"/>
                    <a:gd name="connsiteX53" fmla="*/ 322427 w 4904699"/>
                    <a:gd name="connsiteY53" fmla="*/ 1098205 h 3498714"/>
                    <a:gd name="connsiteX54" fmla="*/ 317058 w 4904699"/>
                    <a:gd name="connsiteY54" fmla="*/ 1092836 h 3498714"/>
                    <a:gd name="connsiteX55" fmla="*/ 263371 w 4904699"/>
                    <a:gd name="connsiteY55" fmla="*/ 1092836 h 3498714"/>
                    <a:gd name="connsiteX56" fmla="*/ 258001 w 4904699"/>
                    <a:gd name="connsiteY56" fmla="*/ 1098205 h 3498714"/>
                    <a:gd name="connsiteX57" fmla="*/ 258001 w 4904699"/>
                    <a:gd name="connsiteY57" fmla="*/ 1444446 h 3498714"/>
                    <a:gd name="connsiteX58" fmla="*/ 257700 w 4904699"/>
                    <a:gd name="connsiteY58" fmla="*/ 1444370 h 3498714"/>
                    <a:gd name="connsiteX59" fmla="*/ 257700 w 4904699"/>
                    <a:gd name="connsiteY59" fmla="*/ 1912573 h 3498714"/>
                    <a:gd name="connsiteX60" fmla="*/ 128850 w 4904699"/>
                    <a:gd name="connsiteY60" fmla="*/ 2041423 h 3498714"/>
                    <a:gd name="connsiteX61" fmla="*/ 0 w 4904699"/>
                    <a:gd name="connsiteY61" fmla="*/ 1912573 h 3498714"/>
                    <a:gd name="connsiteX62" fmla="*/ 0 w 4904699"/>
                    <a:gd name="connsiteY62" fmla="*/ 1101802 h 3498714"/>
                    <a:gd name="connsiteX63" fmla="*/ 0 w 4904699"/>
                    <a:gd name="connsiteY63" fmla="*/ 1003338 h 3498714"/>
                    <a:gd name="connsiteX64" fmla="*/ 0 w 4904699"/>
                    <a:gd name="connsiteY64" fmla="*/ 982486 h 3498714"/>
                    <a:gd name="connsiteX65" fmla="*/ 12733 w 4904699"/>
                    <a:gd name="connsiteY65" fmla="*/ 894663 h 3498714"/>
                    <a:gd name="connsiteX66" fmla="*/ 20539 w 4904699"/>
                    <a:gd name="connsiteY66" fmla="*/ 868773 h 3498714"/>
                    <a:gd name="connsiteX67" fmla="*/ 358791 w 4904699"/>
                    <a:gd name="connsiteY67" fmla="*/ 644545 h 3498714"/>
                    <a:gd name="connsiteX68" fmla="*/ 682782 w 4904699"/>
                    <a:gd name="connsiteY68" fmla="*/ 0 h 3498714"/>
                    <a:gd name="connsiteX69" fmla="*/ 966919 w 4904699"/>
                    <a:gd name="connsiteY69" fmla="*/ 284138 h 3498714"/>
                    <a:gd name="connsiteX70" fmla="*/ 682782 w 4904699"/>
                    <a:gd name="connsiteY70" fmla="*/ 568275 h 3498714"/>
                    <a:gd name="connsiteX71" fmla="*/ 398645 w 4904699"/>
                    <a:gd name="connsiteY71" fmla="*/ 284138 h 3498714"/>
                    <a:gd name="connsiteX72" fmla="*/ 682782 w 4904699"/>
                    <a:gd name="connsiteY72" fmla="*/ 0 h 3498714"/>
                    <a:gd name="connsiteX73" fmla="*/ 4707054 w 4904699"/>
                    <a:gd name="connsiteY73" fmla="*/ 2902312 h 3498714"/>
                    <a:gd name="connsiteX74" fmla="*/ 4818179 w 4904699"/>
                    <a:gd name="connsiteY74" fmla="*/ 3013437 h 3498714"/>
                    <a:gd name="connsiteX75" fmla="*/ 4707054 w 4904699"/>
                    <a:gd name="connsiteY75" fmla="*/ 3124562 h 3498714"/>
                    <a:gd name="connsiteX76" fmla="*/ 4545125 w 4904699"/>
                    <a:gd name="connsiteY76" fmla="*/ 3124562 h 3498714"/>
                    <a:gd name="connsiteX77" fmla="*/ 4545125 w 4904699"/>
                    <a:gd name="connsiteY77" fmla="*/ 3361625 h 3498714"/>
                    <a:gd name="connsiteX78" fmla="*/ 4436113 w 4904699"/>
                    <a:gd name="connsiteY78" fmla="*/ 3470637 h 3498714"/>
                    <a:gd name="connsiteX79" fmla="*/ 4235039 w 4904699"/>
                    <a:gd name="connsiteY79" fmla="*/ 3470637 h 3498714"/>
                    <a:gd name="connsiteX80" fmla="*/ 4126027 w 4904699"/>
                    <a:gd name="connsiteY80" fmla="*/ 3361625 h 3498714"/>
                    <a:gd name="connsiteX81" fmla="*/ 4126027 w 4904699"/>
                    <a:gd name="connsiteY81" fmla="*/ 3124562 h 3498714"/>
                    <a:gd name="connsiteX82" fmla="*/ 2589325 w 4904699"/>
                    <a:gd name="connsiteY82" fmla="*/ 3124562 h 3498714"/>
                    <a:gd name="connsiteX83" fmla="*/ 2589325 w 4904699"/>
                    <a:gd name="connsiteY83" fmla="*/ 3361625 h 3498714"/>
                    <a:gd name="connsiteX84" fmla="*/ 2480313 w 4904699"/>
                    <a:gd name="connsiteY84" fmla="*/ 3470637 h 3498714"/>
                    <a:gd name="connsiteX85" fmla="*/ 2279239 w 4904699"/>
                    <a:gd name="connsiteY85" fmla="*/ 3470637 h 3498714"/>
                    <a:gd name="connsiteX86" fmla="*/ 2170227 w 4904699"/>
                    <a:gd name="connsiteY86" fmla="*/ 3361625 h 3498714"/>
                    <a:gd name="connsiteX87" fmla="*/ 2170227 w 4904699"/>
                    <a:gd name="connsiteY87" fmla="*/ 3124562 h 3498714"/>
                    <a:gd name="connsiteX88" fmla="*/ 2052754 w 4904699"/>
                    <a:gd name="connsiteY88" fmla="*/ 3124562 h 3498714"/>
                    <a:gd name="connsiteX89" fmla="*/ 1941629 w 4904699"/>
                    <a:gd name="connsiteY89" fmla="*/ 3013437 h 3498714"/>
                    <a:gd name="connsiteX90" fmla="*/ 2052754 w 4904699"/>
                    <a:gd name="connsiteY90" fmla="*/ 2902312 h 3498714"/>
                    <a:gd name="connsiteX91" fmla="*/ 682782 w 4904699"/>
                    <a:gd name="connsiteY91" fmla="*/ 0 h 3498714"/>
                    <a:gd name="connsiteX92" fmla="*/ 4311608 w 4904699"/>
                    <a:gd name="connsiteY92" fmla="*/ 2270487 h 3498714"/>
                    <a:gd name="connsiteX93" fmla="*/ 4492583 w 4904699"/>
                    <a:gd name="connsiteY93" fmla="*/ 2451462 h 3498714"/>
                    <a:gd name="connsiteX0" fmla="*/ 2979061 w 4904699"/>
                    <a:gd name="connsiteY0" fmla="*/ 2089512 h 3498714"/>
                    <a:gd name="connsiteX1" fmla="*/ 2671086 w 4904699"/>
                    <a:gd name="connsiteY1" fmla="*/ 2397487 h 3498714"/>
                    <a:gd name="connsiteX2" fmla="*/ 2671086 w 4904699"/>
                    <a:gd name="connsiteY2" fmla="*/ 2584811 h 3498714"/>
                    <a:gd name="connsiteX3" fmla="*/ 4083961 w 4904699"/>
                    <a:gd name="connsiteY3" fmla="*/ 2584811 h 3498714"/>
                    <a:gd name="connsiteX4" fmla="*/ 4083961 w 4904699"/>
                    <a:gd name="connsiteY4" fmla="*/ 2397487 h 3498714"/>
                    <a:gd name="connsiteX5" fmla="*/ 3775986 w 4904699"/>
                    <a:gd name="connsiteY5" fmla="*/ 2089512 h 3498714"/>
                    <a:gd name="connsiteX6" fmla="*/ 2979061 w 4904699"/>
                    <a:gd name="connsiteY6" fmla="*/ 2089512 h 3498714"/>
                    <a:gd name="connsiteX7" fmla="*/ 2251033 w 4904699"/>
                    <a:gd name="connsiteY7" fmla="*/ 2089512 h 3498714"/>
                    <a:gd name="connsiteX8" fmla="*/ 2070058 w 4904699"/>
                    <a:gd name="connsiteY8" fmla="*/ 2270487 h 3498714"/>
                    <a:gd name="connsiteX9" fmla="*/ 2251033 w 4904699"/>
                    <a:gd name="connsiteY9" fmla="*/ 2451462 h 3498714"/>
                    <a:gd name="connsiteX10" fmla="*/ 2432008 w 4904699"/>
                    <a:gd name="connsiteY10" fmla="*/ 2270487 h 3498714"/>
                    <a:gd name="connsiteX11" fmla="*/ 2251033 w 4904699"/>
                    <a:gd name="connsiteY11" fmla="*/ 2089512 h 3498714"/>
                    <a:gd name="connsiteX12" fmla="*/ 2842751 w 4904699"/>
                    <a:gd name="connsiteY12" fmla="*/ 1749356 h 3498714"/>
                    <a:gd name="connsiteX13" fmla="*/ 2392797 w 4904699"/>
                    <a:gd name="connsiteY13" fmla="*/ 1878907 h 3498714"/>
                    <a:gd name="connsiteX14" fmla="*/ 2478781 w 4904699"/>
                    <a:gd name="connsiteY14" fmla="*/ 1920808 h 3498714"/>
                    <a:gd name="connsiteX15" fmla="*/ 2842751 w 4904699"/>
                    <a:gd name="connsiteY15" fmla="*/ 1749356 h 3498714"/>
                    <a:gd name="connsiteX16" fmla="*/ 2534724 w 4904699"/>
                    <a:gd name="connsiteY16" fmla="*/ 982297 h 3498714"/>
                    <a:gd name="connsiteX17" fmla="*/ 4802103 w 4904699"/>
                    <a:gd name="connsiteY17" fmla="*/ 2588456 h 3498714"/>
                    <a:gd name="connsiteX18" fmla="*/ 4904699 w 4904699"/>
                    <a:gd name="connsiteY18" fmla="*/ 2705462 h 3498714"/>
                    <a:gd name="connsiteX19" fmla="*/ 4904698 w 4904699"/>
                    <a:gd name="connsiteY19" fmla="*/ 2705462 h 3498714"/>
                    <a:gd name="connsiteX20" fmla="*/ 4784047 w 4904699"/>
                    <a:gd name="connsiteY20" fmla="*/ 2826113 h 3498714"/>
                    <a:gd name="connsiteX21" fmla="*/ 1970999 w 4904699"/>
                    <a:gd name="connsiteY21" fmla="*/ 2826112 h 3498714"/>
                    <a:gd name="connsiteX22" fmla="*/ 1850348 w 4904699"/>
                    <a:gd name="connsiteY22" fmla="*/ 2705462 h 3498714"/>
                    <a:gd name="connsiteX23" fmla="*/ 1956769 w 4904699"/>
                    <a:gd name="connsiteY23" fmla="*/ 2587684 h 3498714"/>
                    <a:gd name="connsiteX24" fmla="*/ 1823360 w 4904699"/>
                    <a:gd name="connsiteY24" fmla="*/ 2279217 h 3498714"/>
                    <a:gd name="connsiteX25" fmla="*/ 2217440 w 4904699"/>
                    <a:gd name="connsiteY25" fmla="*/ 1856216 h 3498714"/>
                    <a:gd name="connsiteX26" fmla="*/ 2534724 w 4904699"/>
                    <a:gd name="connsiteY26" fmla="*/ 982297 h 3498714"/>
                    <a:gd name="connsiteX27" fmla="*/ 358791 w 4904699"/>
                    <a:gd name="connsiteY27" fmla="*/ 644545 h 3498714"/>
                    <a:gd name="connsiteX28" fmla="*/ 1006774 w 4904699"/>
                    <a:gd name="connsiteY28" fmla="*/ 644545 h 3498714"/>
                    <a:gd name="connsiteX29" fmla="*/ 1542636 w 4904699"/>
                    <a:gd name="connsiteY29" fmla="*/ 1193969 h 3498714"/>
                    <a:gd name="connsiteX30" fmla="*/ 1929878 w 4904699"/>
                    <a:gd name="connsiteY30" fmla="*/ 1193970 h 3498714"/>
                    <a:gd name="connsiteX31" fmla="*/ 2070059 w 4904699"/>
                    <a:gd name="connsiteY31" fmla="*/ 1334152 h 3498714"/>
                    <a:gd name="connsiteX32" fmla="*/ 1929878 w 4904699"/>
                    <a:gd name="connsiteY32" fmla="*/ 1474333 h 3498714"/>
                    <a:gd name="connsiteX33" fmla="*/ 1520943 w 4904699"/>
                    <a:gd name="connsiteY33" fmla="*/ 1470388 h 3498714"/>
                    <a:gd name="connsiteX34" fmla="*/ 1332825 w 4904699"/>
                    <a:gd name="connsiteY34" fmla="*/ 1367201 h 3498714"/>
                    <a:gd name="connsiteX35" fmla="*/ 1106501 w 4904699"/>
                    <a:gd name="connsiteY35" fmla="*/ 1098289 h 3498714"/>
                    <a:gd name="connsiteX36" fmla="*/ 1101049 w 4904699"/>
                    <a:gd name="connsiteY36" fmla="*/ 1092836 h 3498714"/>
                    <a:gd name="connsiteX37" fmla="*/ 1046523 w 4904699"/>
                    <a:gd name="connsiteY37" fmla="*/ 1092836 h 3498714"/>
                    <a:gd name="connsiteX38" fmla="*/ 1041071 w 4904699"/>
                    <a:gd name="connsiteY38" fmla="*/ 1098289 h 3498714"/>
                    <a:gd name="connsiteX39" fmla="*/ 1042136 w 4904699"/>
                    <a:gd name="connsiteY39" fmla="*/ 1419754 h 3498714"/>
                    <a:gd name="connsiteX40" fmla="*/ 1042136 w 4904699"/>
                    <a:gd name="connsiteY40" fmla="*/ 3337652 h 3498714"/>
                    <a:gd name="connsiteX41" fmla="*/ 881075 w 4904699"/>
                    <a:gd name="connsiteY41" fmla="*/ 3498714 h 3498714"/>
                    <a:gd name="connsiteX42" fmla="*/ 720012 w 4904699"/>
                    <a:gd name="connsiteY42" fmla="*/ 3337652 h 3498714"/>
                    <a:gd name="connsiteX43" fmla="*/ 720012 w 4904699"/>
                    <a:gd name="connsiteY43" fmla="*/ 2125717 h 3498714"/>
                    <a:gd name="connsiteX44" fmla="*/ 718947 w 4904699"/>
                    <a:gd name="connsiteY44" fmla="*/ 2033194 h 3498714"/>
                    <a:gd name="connsiteX45" fmla="*/ 714162 w 4904699"/>
                    <a:gd name="connsiteY45" fmla="*/ 2028410 h 3498714"/>
                    <a:gd name="connsiteX46" fmla="*/ 654759 w 4904699"/>
                    <a:gd name="connsiteY46" fmla="*/ 2028410 h 3498714"/>
                    <a:gd name="connsiteX47" fmla="*/ 649974 w 4904699"/>
                    <a:gd name="connsiteY47" fmla="*/ 2033194 h 3498714"/>
                    <a:gd name="connsiteX48" fmla="*/ 649974 w 4904699"/>
                    <a:gd name="connsiteY48" fmla="*/ 2125717 h 3498714"/>
                    <a:gd name="connsiteX49" fmla="*/ 649574 w 4904699"/>
                    <a:gd name="connsiteY49" fmla="*/ 3337652 h 3498714"/>
                    <a:gd name="connsiteX50" fmla="*/ 488511 w 4904699"/>
                    <a:gd name="connsiteY50" fmla="*/ 3498714 h 3498714"/>
                    <a:gd name="connsiteX51" fmla="*/ 327450 w 4904699"/>
                    <a:gd name="connsiteY51" fmla="*/ 3337652 h 3498714"/>
                    <a:gd name="connsiteX52" fmla="*/ 327450 w 4904699"/>
                    <a:gd name="connsiteY52" fmla="*/ 1458216 h 3498714"/>
                    <a:gd name="connsiteX53" fmla="*/ 322427 w 4904699"/>
                    <a:gd name="connsiteY53" fmla="*/ 1098205 h 3498714"/>
                    <a:gd name="connsiteX54" fmla="*/ 317058 w 4904699"/>
                    <a:gd name="connsiteY54" fmla="*/ 1092836 h 3498714"/>
                    <a:gd name="connsiteX55" fmla="*/ 263371 w 4904699"/>
                    <a:gd name="connsiteY55" fmla="*/ 1092836 h 3498714"/>
                    <a:gd name="connsiteX56" fmla="*/ 258001 w 4904699"/>
                    <a:gd name="connsiteY56" fmla="*/ 1098205 h 3498714"/>
                    <a:gd name="connsiteX57" fmla="*/ 258001 w 4904699"/>
                    <a:gd name="connsiteY57" fmla="*/ 1444446 h 3498714"/>
                    <a:gd name="connsiteX58" fmla="*/ 257700 w 4904699"/>
                    <a:gd name="connsiteY58" fmla="*/ 1444370 h 3498714"/>
                    <a:gd name="connsiteX59" fmla="*/ 257700 w 4904699"/>
                    <a:gd name="connsiteY59" fmla="*/ 1912573 h 3498714"/>
                    <a:gd name="connsiteX60" fmla="*/ 128850 w 4904699"/>
                    <a:gd name="connsiteY60" fmla="*/ 2041423 h 3498714"/>
                    <a:gd name="connsiteX61" fmla="*/ 0 w 4904699"/>
                    <a:gd name="connsiteY61" fmla="*/ 1912573 h 3498714"/>
                    <a:gd name="connsiteX62" fmla="*/ 0 w 4904699"/>
                    <a:gd name="connsiteY62" fmla="*/ 1101802 h 3498714"/>
                    <a:gd name="connsiteX63" fmla="*/ 0 w 4904699"/>
                    <a:gd name="connsiteY63" fmla="*/ 1003338 h 3498714"/>
                    <a:gd name="connsiteX64" fmla="*/ 0 w 4904699"/>
                    <a:gd name="connsiteY64" fmla="*/ 982486 h 3498714"/>
                    <a:gd name="connsiteX65" fmla="*/ 12733 w 4904699"/>
                    <a:gd name="connsiteY65" fmla="*/ 894663 h 3498714"/>
                    <a:gd name="connsiteX66" fmla="*/ 20539 w 4904699"/>
                    <a:gd name="connsiteY66" fmla="*/ 868773 h 3498714"/>
                    <a:gd name="connsiteX67" fmla="*/ 358791 w 4904699"/>
                    <a:gd name="connsiteY67" fmla="*/ 644545 h 3498714"/>
                    <a:gd name="connsiteX68" fmla="*/ 682782 w 4904699"/>
                    <a:gd name="connsiteY68" fmla="*/ 0 h 3498714"/>
                    <a:gd name="connsiteX69" fmla="*/ 966919 w 4904699"/>
                    <a:gd name="connsiteY69" fmla="*/ 284138 h 3498714"/>
                    <a:gd name="connsiteX70" fmla="*/ 682782 w 4904699"/>
                    <a:gd name="connsiteY70" fmla="*/ 568275 h 3498714"/>
                    <a:gd name="connsiteX71" fmla="*/ 398645 w 4904699"/>
                    <a:gd name="connsiteY71" fmla="*/ 284138 h 3498714"/>
                    <a:gd name="connsiteX72" fmla="*/ 682782 w 4904699"/>
                    <a:gd name="connsiteY72" fmla="*/ 0 h 3498714"/>
                    <a:gd name="connsiteX73" fmla="*/ 4707054 w 4904699"/>
                    <a:gd name="connsiteY73" fmla="*/ 2902312 h 3498714"/>
                    <a:gd name="connsiteX74" fmla="*/ 4818179 w 4904699"/>
                    <a:gd name="connsiteY74" fmla="*/ 3013437 h 3498714"/>
                    <a:gd name="connsiteX75" fmla="*/ 4707054 w 4904699"/>
                    <a:gd name="connsiteY75" fmla="*/ 3124562 h 3498714"/>
                    <a:gd name="connsiteX76" fmla="*/ 4545125 w 4904699"/>
                    <a:gd name="connsiteY76" fmla="*/ 3124562 h 3498714"/>
                    <a:gd name="connsiteX77" fmla="*/ 4545125 w 4904699"/>
                    <a:gd name="connsiteY77" fmla="*/ 3361625 h 3498714"/>
                    <a:gd name="connsiteX78" fmla="*/ 4436113 w 4904699"/>
                    <a:gd name="connsiteY78" fmla="*/ 3470637 h 3498714"/>
                    <a:gd name="connsiteX79" fmla="*/ 4235039 w 4904699"/>
                    <a:gd name="connsiteY79" fmla="*/ 3470637 h 3498714"/>
                    <a:gd name="connsiteX80" fmla="*/ 4126027 w 4904699"/>
                    <a:gd name="connsiteY80" fmla="*/ 3361625 h 3498714"/>
                    <a:gd name="connsiteX81" fmla="*/ 4126027 w 4904699"/>
                    <a:gd name="connsiteY81" fmla="*/ 3124562 h 3498714"/>
                    <a:gd name="connsiteX82" fmla="*/ 2589325 w 4904699"/>
                    <a:gd name="connsiteY82" fmla="*/ 3124562 h 3498714"/>
                    <a:gd name="connsiteX83" fmla="*/ 2589325 w 4904699"/>
                    <a:gd name="connsiteY83" fmla="*/ 3361625 h 3498714"/>
                    <a:gd name="connsiteX84" fmla="*/ 2480313 w 4904699"/>
                    <a:gd name="connsiteY84" fmla="*/ 3470637 h 3498714"/>
                    <a:gd name="connsiteX85" fmla="*/ 2279239 w 4904699"/>
                    <a:gd name="connsiteY85" fmla="*/ 3470637 h 3498714"/>
                    <a:gd name="connsiteX86" fmla="*/ 2170227 w 4904699"/>
                    <a:gd name="connsiteY86" fmla="*/ 3361625 h 3498714"/>
                    <a:gd name="connsiteX87" fmla="*/ 2170227 w 4904699"/>
                    <a:gd name="connsiteY87" fmla="*/ 3124562 h 3498714"/>
                    <a:gd name="connsiteX88" fmla="*/ 2052754 w 4904699"/>
                    <a:gd name="connsiteY88" fmla="*/ 3124562 h 3498714"/>
                    <a:gd name="connsiteX89" fmla="*/ 1941629 w 4904699"/>
                    <a:gd name="connsiteY89" fmla="*/ 3013437 h 3498714"/>
                    <a:gd name="connsiteX90" fmla="*/ 2052754 w 4904699"/>
                    <a:gd name="connsiteY90" fmla="*/ 2902312 h 3498714"/>
                    <a:gd name="connsiteX91" fmla="*/ 682782 w 4904699"/>
                    <a:gd name="connsiteY91" fmla="*/ 0 h 3498714"/>
                    <a:gd name="connsiteX92" fmla="*/ 4311608 w 4904699"/>
                    <a:gd name="connsiteY92" fmla="*/ 2270487 h 3498714"/>
                    <a:gd name="connsiteX93" fmla="*/ 4492583 w 4904699"/>
                    <a:gd name="connsiteY93" fmla="*/ 2451462 h 3498714"/>
                    <a:gd name="connsiteX0" fmla="*/ 2979061 w 4904699"/>
                    <a:gd name="connsiteY0" fmla="*/ 2089512 h 3498714"/>
                    <a:gd name="connsiteX1" fmla="*/ 2671086 w 4904699"/>
                    <a:gd name="connsiteY1" fmla="*/ 2397487 h 3498714"/>
                    <a:gd name="connsiteX2" fmla="*/ 2671086 w 4904699"/>
                    <a:gd name="connsiteY2" fmla="*/ 2584811 h 3498714"/>
                    <a:gd name="connsiteX3" fmla="*/ 4083961 w 4904699"/>
                    <a:gd name="connsiteY3" fmla="*/ 2584811 h 3498714"/>
                    <a:gd name="connsiteX4" fmla="*/ 4083961 w 4904699"/>
                    <a:gd name="connsiteY4" fmla="*/ 2397487 h 3498714"/>
                    <a:gd name="connsiteX5" fmla="*/ 3775986 w 4904699"/>
                    <a:gd name="connsiteY5" fmla="*/ 2089512 h 3498714"/>
                    <a:gd name="connsiteX6" fmla="*/ 2979061 w 4904699"/>
                    <a:gd name="connsiteY6" fmla="*/ 2089512 h 3498714"/>
                    <a:gd name="connsiteX7" fmla="*/ 2251033 w 4904699"/>
                    <a:gd name="connsiteY7" fmla="*/ 2089512 h 3498714"/>
                    <a:gd name="connsiteX8" fmla="*/ 2070058 w 4904699"/>
                    <a:gd name="connsiteY8" fmla="*/ 2270487 h 3498714"/>
                    <a:gd name="connsiteX9" fmla="*/ 2251033 w 4904699"/>
                    <a:gd name="connsiteY9" fmla="*/ 2451462 h 3498714"/>
                    <a:gd name="connsiteX10" fmla="*/ 2432008 w 4904699"/>
                    <a:gd name="connsiteY10" fmla="*/ 2270487 h 3498714"/>
                    <a:gd name="connsiteX11" fmla="*/ 2251033 w 4904699"/>
                    <a:gd name="connsiteY11" fmla="*/ 2089512 h 3498714"/>
                    <a:gd name="connsiteX12" fmla="*/ 2842751 w 4904699"/>
                    <a:gd name="connsiteY12" fmla="*/ 1749356 h 3498714"/>
                    <a:gd name="connsiteX13" fmla="*/ 2392797 w 4904699"/>
                    <a:gd name="connsiteY13" fmla="*/ 1878907 h 3498714"/>
                    <a:gd name="connsiteX14" fmla="*/ 2478781 w 4904699"/>
                    <a:gd name="connsiteY14" fmla="*/ 1920808 h 3498714"/>
                    <a:gd name="connsiteX15" fmla="*/ 2842751 w 4904699"/>
                    <a:gd name="connsiteY15" fmla="*/ 1749356 h 3498714"/>
                    <a:gd name="connsiteX16" fmla="*/ 2534724 w 4904699"/>
                    <a:gd name="connsiteY16" fmla="*/ 982297 h 3498714"/>
                    <a:gd name="connsiteX17" fmla="*/ 4904699 w 4904699"/>
                    <a:gd name="connsiteY17" fmla="*/ 2705462 h 3498714"/>
                    <a:gd name="connsiteX18" fmla="*/ 4904698 w 4904699"/>
                    <a:gd name="connsiteY18" fmla="*/ 2705462 h 3498714"/>
                    <a:gd name="connsiteX19" fmla="*/ 4784047 w 4904699"/>
                    <a:gd name="connsiteY19" fmla="*/ 2826113 h 3498714"/>
                    <a:gd name="connsiteX20" fmla="*/ 1970999 w 4904699"/>
                    <a:gd name="connsiteY20" fmla="*/ 2826112 h 3498714"/>
                    <a:gd name="connsiteX21" fmla="*/ 1850348 w 4904699"/>
                    <a:gd name="connsiteY21" fmla="*/ 2705462 h 3498714"/>
                    <a:gd name="connsiteX22" fmla="*/ 1956769 w 4904699"/>
                    <a:gd name="connsiteY22" fmla="*/ 2587684 h 3498714"/>
                    <a:gd name="connsiteX23" fmla="*/ 1823360 w 4904699"/>
                    <a:gd name="connsiteY23" fmla="*/ 2279217 h 3498714"/>
                    <a:gd name="connsiteX24" fmla="*/ 2217440 w 4904699"/>
                    <a:gd name="connsiteY24" fmla="*/ 1856216 h 3498714"/>
                    <a:gd name="connsiteX25" fmla="*/ 2534724 w 4904699"/>
                    <a:gd name="connsiteY25" fmla="*/ 982297 h 3498714"/>
                    <a:gd name="connsiteX26" fmla="*/ 358791 w 4904699"/>
                    <a:gd name="connsiteY26" fmla="*/ 644545 h 3498714"/>
                    <a:gd name="connsiteX27" fmla="*/ 1006774 w 4904699"/>
                    <a:gd name="connsiteY27" fmla="*/ 644545 h 3498714"/>
                    <a:gd name="connsiteX28" fmla="*/ 1542636 w 4904699"/>
                    <a:gd name="connsiteY28" fmla="*/ 1193969 h 3498714"/>
                    <a:gd name="connsiteX29" fmla="*/ 1929878 w 4904699"/>
                    <a:gd name="connsiteY29" fmla="*/ 1193970 h 3498714"/>
                    <a:gd name="connsiteX30" fmla="*/ 2070059 w 4904699"/>
                    <a:gd name="connsiteY30" fmla="*/ 1334152 h 3498714"/>
                    <a:gd name="connsiteX31" fmla="*/ 1929878 w 4904699"/>
                    <a:gd name="connsiteY31" fmla="*/ 1474333 h 3498714"/>
                    <a:gd name="connsiteX32" fmla="*/ 1520943 w 4904699"/>
                    <a:gd name="connsiteY32" fmla="*/ 1470388 h 3498714"/>
                    <a:gd name="connsiteX33" fmla="*/ 1332825 w 4904699"/>
                    <a:gd name="connsiteY33" fmla="*/ 1367201 h 3498714"/>
                    <a:gd name="connsiteX34" fmla="*/ 1106501 w 4904699"/>
                    <a:gd name="connsiteY34" fmla="*/ 1098289 h 3498714"/>
                    <a:gd name="connsiteX35" fmla="*/ 1101049 w 4904699"/>
                    <a:gd name="connsiteY35" fmla="*/ 1092836 h 3498714"/>
                    <a:gd name="connsiteX36" fmla="*/ 1046523 w 4904699"/>
                    <a:gd name="connsiteY36" fmla="*/ 1092836 h 3498714"/>
                    <a:gd name="connsiteX37" fmla="*/ 1041071 w 4904699"/>
                    <a:gd name="connsiteY37" fmla="*/ 1098289 h 3498714"/>
                    <a:gd name="connsiteX38" fmla="*/ 1042136 w 4904699"/>
                    <a:gd name="connsiteY38" fmla="*/ 1419754 h 3498714"/>
                    <a:gd name="connsiteX39" fmla="*/ 1042136 w 4904699"/>
                    <a:gd name="connsiteY39" fmla="*/ 3337652 h 3498714"/>
                    <a:gd name="connsiteX40" fmla="*/ 881075 w 4904699"/>
                    <a:gd name="connsiteY40" fmla="*/ 3498714 h 3498714"/>
                    <a:gd name="connsiteX41" fmla="*/ 720012 w 4904699"/>
                    <a:gd name="connsiteY41" fmla="*/ 3337652 h 3498714"/>
                    <a:gd name="connsiteX42" fmla="*/ 720012 w 4904699"/>
                    <a:gd name="connsiteY42" fmla="*/ 2125717 h 3498714"/>
                    <a:gd name="connsiteX43" fmla="*/ 718947 w 4904699"/>
                    <a:gd name="connsiteY43" fmla="*/ 2033194 h 3498714"/>
                    <a:gd name="connsiteX44" fmla="*/ 714162 w 4904699"/>
                    <a:gd name="connsiteY44" fmla="*/ 2028410 h 3498714"/>
                    <a:gd name="connsiteX45" fmla="*/ 654759 w 4904699"/>
                    <a:gd name="connsiteY45" fmla="*/ 2028410 h 3498714"/>
                    <a:gd name="connsiteX46" fmla="*/ 649974 w 4904699"/>
                    <a:gd name="connsiteY46" fmla="*/ 2033194 h 3498714"/>
                    <a:gd name="connsiteX47" fmla="*/ 649974 w 4904699"/>
                    <a:gd name="connsiteY47" fmla="*/ 2125717 h 3498714"/>
                    <a:gd name="connsiteX48" fmla="*/ 649574 w 4904699"/>
                    <a:gd name="connsiteY48" fmla="*/ 3337652 h 3498714"/>
                    <a:gd name="connsiteX49" fmla="*/ 488511 w 4904699"/>
                    <a:gd name="connsiteY49" fmla="*/ 3498714 h 3498714"/>
                    <a:gd name="connsiteX50" fmla="*/ 327450 w 4904699"/>
                    <a:gd name="connsiteY50" fmla="*/ 3337652 h 3498714"/>
                    <a:gd name="connsiteX51" fmla="*/ 327450 w 4904699"/>
                    <a:gd name="connsiteY51" fmla="*/ 1458216 h 3498714"/>
                    <a:gd name="connsiteX52" fmla="*/ 322427 w 4904699"/>
                    <a:gd name="connsiteY52" fmla="*/ 1098205 h 3498714"/>
                    <a:gd name="connsiteX53" fmla="*/ 317058 w 4904699"/>
                    <a:gd name="connsiteY53" fmla="*/ 1092836 h 3498714"/>
                    <a:gd name="connsiteX54" fmla="*/ 263371 w 4904699"/>
                    <a:gd name="connsiteY54" fmla="*/ 1092836 h 3498714"/>
                    <a:gd name="connsiteX55" fmla="*/ 258001 w 4904699"/>
                    <a:gd name="connsiteY55" fmla="*/ 1098205 h 3498714"/>
                    <a:gd name="connsiteX56" fmla="*/ 258001 w 4904699"/>
                    <a:gd name="connsiteY56" fmla="*/ 1444446 h 3498714"/>
                    <a:gd name="connsiteX57" fmla="*/ 257700 w 4904699"/>
                    <a:gd name="connsiteY57" fmla="*/ 1444370 h 3498714"/>
                    <a:gd name="connsiteX58" fmla="*/ 257700 w 4904699"/>
                    <a:gd name="connsiteY58" fmla="*/ 1912573 h 3498714"/>
                    <a:gd name="connsiteX59" fmla="*/ 128850 w 4904699"/>
                    <a:gd name="connsiteY59" fmla="*/ 2041423 h 3498714"/>
                    <a:gd name="connsiteX60" fmla="*/ 0 w 4904699"/>
                    <a:gd name="connsiteY60" fmla="*/ 1912573 h 3498714"/>
                    <a:gd name="connsiteX61" fmla="*/ 0 w 4904699"/>
                    <a:gd name="connsiteY61" fmla="*/ 1101802 h 3498714"/>
                    <a:gd name="connsiteX62" fmla="*/ 0 w 4904699"/>
                    <a:gd name="connsiteY62" fmla="*/ 1003338 h 3498714"/>
                    <a:gd name="connsiteX63" fmla="*/ 0 w 4904699"/>
                    <a:gd name="connsiteY63" fmla="*/ 982486 h 3498714"/>
                    <a:gd name="connsiteX64" fmla="*/ 12733 w 4904699"/>
                    <a:gd name="connsiteY64" fmla="*/ 894663 h 3498714"/>
                    <a:gd name="connsiteX65" fmla="*/ 20539 w 4904699"/>
                    <a:gd name="connsiteY65" fmla="*/ 868773 h 3498714"/>
                    <a:gd name="connsiteX66" fmla="*/ 358791 w 4904699"/>
                    <a:gd name="connsiteY66" fmla="*/ 644545 h 3498714"/>
                    <a:gd name="connsiteX67" fmla="*/ 682782 w 4904699"/>
                    <a:gd name="connsiteY67" fmla="*/ 0 h 3498714"/>
                    <a:gd name="connsiteX68" fmla="*/ 966919 w 4904699"/>
                    <a:gd name="connsiteY68" fmla="*/ 284138 h 3498714"/>
                    <a:gd name="connsiteX69" fmla="*/ 682782 w 4904699"/>
                    <a:gd name="connsiteY69" fmla="*/ 568275 h 3498714"/>
                    <a:gd name="connsiteX70" fmla="*/ 398645 w 4904699"/>
                    <a:gd name="connsiteY70" fmla="*/ 284138 h 3498714"/>
                    <a:gd name="connsiteX71" fmla="*/ 682782 w 4904699"/>
                    <a:gd name="connsiteY71" fmla="*/ 0 h 3498714"/>
                    <a:gd name="connsiteX72" fmla="*/ 4707054 w 4904699"/>
                    <a:gd name="connsiteY72" fmla="*/ 2902312 h 3498714"/>
                    <a:gd name="connsiteX73" fmla="*/ 4818179 w 4904699"/>
                    <a:gd name="connsiteY73" fmla="*/ 3013437 h 3498714"/>
                    <a:gd name="connsiteX74" fmla="*/ 4707054 w 4904699"/>
                    <a:gd name="connsiteY74" fmla="*/ 3124562 h 3498714"/>
                    <a:gd name="connsiteX75" fmla="*/ 4545125 w 4904699"/>
                    <a:gd name="connsiteY75" fmla="*/ 3124562 h 3498714"/>
                    <a:gd name="connsiteX76" fmla="*/ 4545125 w 4904699"/>
                    <a:gd name="connsiteY76" fmla="*/ 3361625 h 3498714"/>
                    <a:gd name="connsiteX77" fmla="*/ 4436113 w 4904699"/>
                    <a:gd name="connsiteY77" fmla="*/ 3470637 h 3498714"/>
                    <a:gd name="connsiteX78" fmla="*/ 4235039 w 4904699"/>
                    <a:gd name="connsiteY78" fmla="*/ 3470637 h 3498714"/>
                    <a:gd name="connsiteX79" fmla="*/ 4126027 w 4904699"/>
                    <a:gd name="connsiteY79" fmla="*/ 3361625 h 3498714"/>
                    <a:gd name="connsiteX80" fmla="*/ 4126027 w 4904699"/>
                    <a:gd name="connsiteY80" fmla="*/ 3124562 h 3498714"/>
                    <a:gd name="connsiteX81" fmla="*/ 2589325 w 4904699"/>
                    <a:gd name="connsiteY81" fmla="*/ 3124562 h 3498714"/>
                    <a:gd name="connsiteX82" fmla="*/ 2589325 w 4904699"/>
                    <a:gd name="connsiteY82" fmla="*/ 3361625 h 3498714"/>
                    <a:gd name="connsiteX83" fmla="*/ 2480313 w 4904699"/>
                    <a:gd name="connsiteY83" fmla="*/ 3470637 h 3498714"/>
                    <a:gd name="connsiteX84" fmla="*/ 2279239 w 4904699"/>
                    <a:gd name="connsiteY84" fmla="*/ 3470637 h 3498714"/>
                    <a:gd name="connsiteX85" fmla="*/ 2170227 w 4904699"/>
                    <a:gd name="connsiteY85" fmla="*/ 3361625 h 3498714"/>
                    <a:gd name="connsiteX86" fmla="*/ 2170227 w 4904699"/>
                    <a:gd name="connsiteY86" fmla="*/ 3124562 h 3498714"/>
                    <a:gd name="connsiteX87" fmla="*/ 2052754 w 4904699"/>
                    <a:gd name="connsiteY87" fmla="*/ 3124562 h 3498714"/>
                    <a:gd name="connsiteX88" fmla="*/ 1941629 w 4904699"/>
                    <a:gd name="connsiteY88" fmla="*/ 3013437 h 3498714"/>
                    <a:gd name="connsiteX89" fmla="*/ 2052754 w 4904699"/>
                    <a:gd name="connsiteY89" fmla="*/ 2902312 h 3498714"/>
                    <a:gd name="connsiteX90" fmla="*/ 682782 w 4904699"/>
                    <a:gd name="connsiteY90" fmla="*/ 0 h 3498714"/>
                    <a:gd name="connsiteX91" fmla="*/ 4311608 w 4904699"/>
                    <a:gd name="connsiteY91" fmla="*/ 2270487 h 3498714"/>
                    <a:gd name="connsiteX92" fmla="*/ 4492583 w 4904699"/>
                    <a:gd name="connsiteY92" fmla="*/ 2451462 h 3498714"/>
                    <a:gd name="connsiteX0" fmla="*/ 2979061 w 4904699"/>
                    <a:gd name="connsiteY0" fmla="*/ 2089512 h 3498714"/>
                    <a:gd name="connsiteX1" fmla="*/ 2671086 w 4904699"/>
                    <a:gd name="connsiteY1" fmla="*/ 2397487 h 3498714"/>
                    <a:gd name="connsiteX2" fmla="*/ 2671086 w 4904699"/>
                    <a:gd name="connsiteY2" fmla="*/ 2584811 h 3498714"/>
                    <a:gd name="connsiteX3" fmla="*/ 4083961 w 4904699"/>
                    <a:gd name="connsiteY3" fmla="*/ 2584811 h 3498714"/>
                    <a:gd name="connsiteX4" fmla="*/ 4083961 w 4904699"/>
                    <a:gd name="connsiteY4" fmla="*/ 2397487 h 3498714"/>
                    <a:gd name="connsiteX5" fmla="*/ 3775986 w 4904699"/>
                    <a:gd name="connsiteY5" fmla="*/ 2089512 h 3498714"/>
                    <a:gd name="connsiteX6" fmla="*/ 2979061 w 4904699"/>
                    <a:gd name="connsiteY6" fmla="*/ 2089512 h 3498714"/>
                    <a:gd name="connsiteX7" fmla="*/ 2251033 w 4904699"/>
                    <a:gd name="connsiteY7" fmla="*/ 2089512 h 3498714"/>
                    <a:gd name="connsiteX8" fmla="*/ 2070058 w 4904699"/>
                    <a:gd name="connsiteY8" fmla="*/ 2270487 h 3498714"/>
                    <a:gd name="connsiteX9" fmla="*/ 2251033 w 4904699"/>
                    <a:gd name="connsiteY9" fmla="*/ 2451462 h 3498714"/>
                    <a:gd name="connsiteX10" fmla="*/ 2432008 w 4904699"/>
                    <a:gd name="connsiteY10" fmla="*/ 2270487 h 3498714"/>
                    <a:gd name="connsiteX11" fmla="*/ 2251033 w 4904699"/>
                    <a:gd name="connsiteY11" fmla="*/ 2089512 h 3498714"/>
                    <a:gd name="connsiteX12" fmla="*/ 2842751 w 4904699"/>
                    <a:gd name="connsiteY12" fmla="*/ 1749356 h 3498714"/>
                    <a:gd name="connsiteX13" fmla="*/ 2392797 w 4904699"/>
                    <a:gd name="connsiteY13" fmla="*/ 1878907 h 3498714"/>
                    <a:gd name="connsiteX14" fmla="*/ 2478781 w 4904699"/>
                    <a:gd name="connsiteY14" fmla="*/ 1920808 h 3498714"/>
                    <a:gd name="connsiteX15" fmla="*/ 2842751 w 4904699"/>
                    <a:gd name="connsiteY15" fmla="*/ 1749356 h 3498714"/>
                    <a:gd name="connsiteX16" fmla="*/ 2534724 w 4904699"/>
                    <a:gd name="connsiteY16" fmla="*/ 982297 h 3498714"/>
                    <a:gd name="connsiteX17" fmla="*/ 4904699 w 4904699"/>
                    <a:gd name="connsiteY17" fmla="*/ 2705462 h 3498714"/>
                    <a:gd name="connsiteX18" fmla="*/ 4784047 w 4904699"/>
                    <a:gd name="connsiteY18" fmla="*/ 2826113 h 3498714"/>
                    <a:gd name="connsiteX19" fmla="*/ 1970999 w 4904699"/>
                    <a:gd name="connsiteY19" fmla="*/ 2826112 h 3498714"/>
                    <a:gd name="connsiteX20" fmla="*/ 1850348 w 4904699"/>
                    <a:gd name="connsiteY20" fmla="*/ 2705462 h 3498714"/>
                    <a:gd name="connsiteX21" fmla="*/ 1956769 w 4904699"/>
                    <a:gd name="connsiteY21" fmla="*/ 2587684 h 3498714"/>
                    <a:gd name="connsiteX22" fmla="*/ 1823360 w 4904699"/>
                    <a:gd name="connsiteY22" fmla="*/ 2279217 h 3498714"/>
                    <a:gd name="connsiteX23" fmla="*/ 2217440 w 4904699"/>
                    <a:gd name="connsiteY23" fmla="*/ 1856216 h 3498714"/>
                    <a:gd name="connsiteX24" fmla="*/ 2534724 w 4904699"/>
                    <a:gd name="connsiteY24" fmla="*/ 982297 h 3498714"/>
                    <a:gd name="connsiteX25" fmla="*/ 358791 w 4904699"/>
                    <a:gd name="connsiteY25" fmla="*/ 644545 h 3498714"/>
                    <a:gd name="connsiteX26" fmla="*/ 1006774 w 4904699"/>
                    <a:gd name="connsiteY26" fmla="*/ 644545 h 3498714"/>
                    <a:gd name="connsiteX27" fmla="*/ 1542636 w 4904699"/>
                    <a:gd name="connsiteY27" fmla="*/ 1193969 h 3498714"/>
                    <a:gd name="connsiteX28" fmla="*/ 1929878 w 4904699"/>
                    <a:gd name="connsiteY28" fmla="*/ 1193970 h 3498714"/>
                    <a:gd name="connsiteX29" fmla="*/ 2070059 w 4904699"/>
                    <a:gd name="connsiteY29" fmla="*/ 1334152 h 3498714"/>
                    <a:gd name="connsiteX30" fmla="*/ 1929878 w 4904699"/>
                    <a:gd name="connsiteY30" fmla="*/ 1474333 h 3498714"/>
                    <a:gd name="connsiteX31" fmla="*/ 1520943 w 4904699"/>
                    <a:gd name="connsiteY31" fmla="*/ 1470388 h 3498714"/>
                    <a:gd name="connsiteX32" fmla="*/ 1332825 w 4904699"/>
                    <a:gd name="connsiteY32" fmla="*/ 1367201 h 3498714"/>
                    <a:gd name="connsiteX33" fmla="*/ 1106501 w 4904699"/>
                    <a:gd name="connsiteY33" fmla="*/ 1098289 h 3498714"/>
                    <a:gd name="connsiteX34" fmla="*/ 1101049 w 4904699"/>
                    <a:gd name="connsiteY34" fmla="*/ 1092836 h 3498714"/>
                    <a:gd name="connsiteX35" fmla="*/ 1046523 w 4904699"/>
                    <a:gd name="connsiteY35" fmla="*/ 1092836 h 3498714"/>
                    <a:gd name="connsiteX36" fmla="*/ 1041071 w 4904699"/>
                    <a:gd name="connsiteY36" fmla="*/ 1098289 h 3498714"/>
                    <a:gd name="connsiteX37" fmla="*/ 1042136 w 4904699"/>
                    <a:gd name="connsiteY37" fmla="*/ 1419754 h 3498714"/>
                    <a:gd name="connsiteX38" fmla="*/ 1042136 w 4904699"/>
                    <a:gd name="connsiteY38" fmla="*/ 3337652 h 3498714"/>
                    <a:gd name="connsiteX39" fmla="*/ 881075 w 4904699"/>
                    <a:gd name="connsiteY39" fmla="*/ 3498714 h 3498714"/>
                    <a:gd name="connsiteX40" fmla="*/ 720012 w 4904699"/>
                    <a:gd name="connsiteY40" fmla="*/ 3337652 h 3498714"/>
                    <a:gd name="connsiteX41" fmla="*/ 720012 w 4904699"/>
                    <a:gd name="connsiteY41" fmla="*/ 2125717 h 3498714"/>
                    <a:gd name="connsiteX42" fmla="*/ 718947 w 4904699"/>
                    <a:gd name="connsiteY42" fmla="*/ 2033194 h 3498714"/>
                    <a:gd name="connsiteX43" fmla="*/ 714162 w 4904699"/>
                    <a:gd name="connsiteY43" fmla="*/ 2028410 h 3498714"/>
                    <a:gd name="connsiteX44" fmla="*/ 654759 w 4904699"/>
                    <a:gd name="connsiteY44" fmla="*/ 2028410 h 3498714"/>
                    <a:gd name="connsiteX45" fmla="*/ 649974 w 4904699"/>
                    <a:gd name="connsiteY45" fmla="*/ 2033194 h 3498714"/>
                    <a:gd name="connsiteX46" fmla="*/ 649974 w 4904699"/>
                    <a:gd name="connsiteY46" fmla="*/ 2125717 h 3498714"/>
                    <a:gd name="connsiteX47" fmla="*/ 649574 w 4904699"/>
                    <a:gd name="connsiteY47" fmla="*/ 3337652 h 3498714"/>
                    <a:gd name="connsiteX48" fmla="*/ 488511 w 4904699"/>
                    <a:gd name="connsiteY48" fmla="*/ 3498714 h 3498714"/>
                    <a:gd name="connsiteX49" fmla="*/ 327450 w 4904699"/>
                    <a:gd name="connsiteY49" fmla="*/ 3337652 h 3498714"/>
                    <a:gd name="connsiteX50" fmla="*/ 327450 w 4904699"/>
                    <a:gd name="connsiteY50" fmla="*/ 1458216 h 3498714"/>
                    <a:gd name="connsiteX51" fmla="*/ 322427 w 4904699"/>
                    <a:gd name="connsiteY51" fmla="*/ 1098205 h 3498714"/>
                    <a:gd name="connsiteX52" fmla="*/ 317058 w 4904699"/>
                    <a:gd name="connsiteY52" fmla="*/ 1092836 h 3498714"/>
                    <a:gd name="connsiteX53" fmla="*/ 263371 w 4904699"/>
                    <a:gd name="connsiteY53" fmla="*/ 1092836 h 3498714"/>
                    <a:gd name="connsiteX54" fmla="*/ 258001 w 4904699"/>
                    <a:gd name="connsiteY54" fmla="*/ 1098205 h 3498714"/>
                    <a:gd name="connsiteX55" fmla="*/ 258001 w 4904699"/>
                    <a:gd name="connsiteY55" fmla="*/ 1444446 h 3498714"/>
                    <a:gd name="connsiteX56" fmla="*/ 257700 w 4904699"/>
                    <a:gd name="connsiteY56" fmla="*/ 1444370 h 3498714"/>
                    <a:gd name="connsiteX57" fmla="*/ 257700 w 4904699"/>
                    <a:gd name="connsiteY57" fmla="*/ 1912573 h 3498714"/>
                    <a:gd name="connsiteX58" fmla="*/ 128850 w 4904699"/>
                    <a:gd name="connsiteY58" fmla="*/ 2041423 h 3498714"/>
                    <a:gd name="connsiteX59" fmla="*/ 0 w 4904699"/>
                    <a:gd name="connsiteY59" fmla="*/ 1912573 h 3498714"/>
                    <a:gd name="connsiteX60" fmla="*/ 0 w 4904699"/>
                    <a:gd name="connsiteY60" fmla="*/ 1101802 h 3498714"/>
                    <a:gd name="connsiteX61" fmla="*/ 0 w 4904699"/>
                    <a:gd name="connsiteY61" fmla="*/ 1003338 h 3498714"/>
                    <a:gd name="connsiteX62" fmla="*/ 0 w 4904699"/>
                    <a:gd name="connsiteY62" fmla="*/ 982486 h 3498714"/>
                    <a:gd name="connsiteX63" fmla="*/ 12733 w 4904699"/>
                    <a:gd name="connsiteY63" fmla="*/ 894663 h 3498714"/>
                    <a:gd name="connsiteX64" fmla="*/ 20539 w 4904699"/>
                    <a:gd name="connsiteY64" fmla="*/ 868773 h 3498714"/>
                    <a:gd name="connsiteX65" fmla="*/ 358791 w 4904699"/>
                    <a:gd name="connsiteY65" fmla="*/ 644545 h 3498714"/>
                    <a:gd name="connsiteX66" fmla="*/ 682782 w 4904699"/>
                    <a:gd name="connsiteY66" fmla="*/ 0 h 3498714"/>
                    <a:gd name="connsiteX67" fmla="*/ 966919 w 4904699"/>
                    <a:gd name="connsiteY67" fmla="*/ 284138 h 3498714"/>
                    <a:gd name="connsiteX68" fmla="*/ 682782 w 4904699"/>
                    <a:gd name="connsiteY68" fmla="*/ 568275 h 3498714"/>
                    <a:gd name="connsiteX69" fmla="*/ 398645 w 4904699"/>
                    <a:gd name="connsiteY69" fmla="*/ 284138 h 3498714"/>
                    <a:gd name="connsiteX70" fmla="*/ 682782 w 4904699"/>
                    <a:gd name="connsiteY70" fmla="*/ 0 h 3498714"/>
                    <a:gd name="connsiteX71" fmla="*/ 4707054 w 4904699"/>
                    <a:gd name="connsiteY71" fmla="*/ 2902312 h 3498714"/>
                    <a:gd name="connsiteX72" fmla="*/ 4818179 w 4904699"/>
                    <a:gd name="connsiteY72" fmla="*/ 3013437 h 3498714"/>
                    <a:gd name="connsiteX73" fmla="*/ 4707054 w 4904699"/>
                    <a:gd name="connsiteY73" fmla="*/ 3124562 h 3498714"/>
                    <a:gd name="connsiteX74" fmla="*/ 4545125 w 4904699"/>
                    <a:gd name="connsiteY74" fmla="*/ 3124562 h 3498714"/>
                    <a:gd name="connsiteX75" fmla="*/ 4545125 w 4904699"/>
                    <a:gd name="connsiteY75" fmla="*/ 3361625 h 3498714"/>
                    <a:gd name="connsiteX76" fmla="*/ 4436113 w 4904699"/>
                    <a:gd name="connsiteY76" fmla="*/ 3470637 h 3498714"/>
                    <a:gd name="connsiteX77" fmla="*/ 4235039 w 4904699"/>
                    <a:gd name="connsiteY77" fmla="*/ 3470637 h 3498714"/>
                    <a:gd name="connsiteX78" fmla="*/ 4126027 w 4904699"/>
                    <a:gd name="connsiteY78" fmla="*/ 3361625 h 3498714"/>
                    <a:gd name="connsiteX79" fmla="*/ 4126027 w 4904699"/>
                    <a:gd name="connsiteY79" fmla="*/ 3124562 h 3498714"/>
                    <a:gd name="connsiteX80" fmla="*/ 2589325 w 4904699"/>
                    <a:gd name="connsiteY80" fmla="*/ 3124562 h 3498714"/>
                    <a:gd name="connsiteX81" fmla="*/ 2589325 w 4904699"/>
                    <a:gd name="connsiteY81" fmla="*/ 3361625 h 3498714"/>
                    <a:gd name="connsiteX82" fmla="*/ 2480313 w 4904699"/>
                    <a:gd name="connsiteY82" fmla="*/ 3470637 h 3498714"/>
                    <a:gd name="connsiteX83" fmla="*/ 2279239 w 4904699"/>
                    <a:gd name="connsiteY83" fmla="*/ 3470637 h 3498714"/>
                    <a:gd name="connsiteX84" fmla="*/ 2170227 w 4904699"/>
                    <a:gd name="connsiteY84" fmla="*/ 3361625 h 3498714"/>
                    <a:gd name="connsiteX85" fmla="*/ 2170227 w 4904699"/>
                    <a:gd name="connsiteY85" fmla="*/ 3124562 h 3498714"/>
                    <a:gd name="connsiteX86" fmla="*/ 2052754 w 4904699"/>
                    <a:gd name="connsiteY86" fmla="*/ 3124562 h 3498714"/>
                    <a:gd name="connsiteX87" fmla="*/ 1941629 w 4904699"/>
                    <a:gd name="connsiteY87" fmla="*/ 3013437 h 3498714"/>
                    <a:gd name="connsiteX88" fmla="*/ 2052754 w 4904699"/>
                    <a:gd name="connsiteY88" fmla="*/ 2902312 h 3498714"/>
                    <a:gd name="connsiteX89" fmla="*/ 682782 w 4904699"/>
                    <a:gd name="connsiteY89" fmla="*/ 0 h 3498714"/>
                    <a:gd name="connsiteX90" fmla="*/ 4311608 w 4904699"/>
                    <a:gd name="connsiteY90" fmla="*/ 2270487 h 3498714"/>
                    <a:gd name="connsiteX91" fmla="*/ 4492583 w 4904699"/>
                    <a:gd name="connsiteY91" fmla="*/ 2451462 h 3498714"/>
                    <a:gd name="connsiteX0" fmla="*/ 2979061 w 4904699"/>
                    <a:gd name="connsiteY0" fmla="*/ 2089512 h 3498714"/>
                    <a:gd name="connsiteX1" fmla="*/ 2671086 w 4904699"/>
                    <a:gd name="connsiteY1" fmla="*/ 2397487 h 3498714"/>
                    <a:gd name="connsiteX2" fmla="*/ 2671086 w 4904699"/>
                    <a:gd name="connsiteY2" fmla="*/ 2584811 h 3498714"/>
                    <a:gd name="connsiteX3" fmla="*/ 4083961 w 4904699"/>
                    <a:gd name="connsiteY3" fmla="*/ 2584811 h 3498714"/>
                    <a:gd name="connsiteX4" fmla="*/ 4083961 w 4904699"/>
                    <a:gd name="connsiteY4" fmla="*/ 2397487 h 3498714"/>
                    <a:gd name="connsiteX5" fmla="*/ 3775986 w 4904699"/>
                    <a:gd name="connsiteY5" fmla="*/ 2089512 h 3498714"/>
                    <a:gd name="connsiteX6" fmla="*/ 2979061 w 4904699"/>
                    <a:gd name="connsiteY6" fmla="*/ 2089512 h 3498714"/>
                    <a:gd name="connsiteX7" fmla="*/ 2251033 w 4904699"/>
                    <a:gd name="connsiteY7" fmla="*/ 2089512 h 3498714"/>
                    <a:gd name="connsiteX8" fmla="*/ 2070058 w 4904699"/>
                    <a:gd name="connsiteY8" fmla="*/ 2270487 h 3498714"/>
                    <a:gd name="connsiteX9" fmla="*/ 2251033 w 4904699"/>
                    <a:gd name="connsiteY9" fmla="*/ 2451462 h 3498714"/>
                    <a:gd name="connsiteX10" fmla="*/ 2432008 w 4904699"/>
                    <a:gd name="connsiteY10" fmla="*/ 2270487 h 3498714"/>
                    <a:gd name="connsiteX11" fmla="*/ 2251033 w 4904699"/>
                    <a:gd name="connsiteY11" fmla="*/ 2089512 h 3498714"/>
                    <a:gd name="connsiteX12" fmla="*/ 2842751 w 4904699"/>
                    <a:gd name="connsiteY12" fmla="*/ 1749356 h 3498714"/>
                    <a:gd name="connsiteX13" fmla="*/ 2392797 w 4904699"/>
                    <a:gd name="connsiteY13" fmla="*/ 1878907 h 3498714"/>
                    <a:gd name="connsiteX14" fmla="*/ 2478781 w 4904699"/>
                    <a:gd name="connsiteY14" fmla="*/ 1920808 h 3498714"/>
                    <a:gd name="connsiteX15" fmla="*/ 2842751 w 4904699"/>
                    <a:gd name="connsiteY15" fmla="*/ 1749356 h 3498714"/>
                    <a:gd name="connsiteX16" fmla="*/ 2534724 w 4904699"/>
                    <a:gd name="connsiteY16" fmla="*/ 982297 h 3498714"/>
                    <a:gd name="connsiteX17" fmla="*/ 4904699 w 4904699"/>
                    <a:gd name="connsiteY17" fmla="*/ 2705462 h 3498714"/>
                    <a:gd name="connsiteX18" fmla="*/ 1970999 w 4904699"/>
                    <a:gd name="connsiteY18" fmla="*/ 2826112 h 3498714"/>
                    <a:gd name="connsiteX19" fmla="*/ 1850348 w 4904699"/>
                    <a:gd name="connsiteY19" fmla="*/ 2705462 h 3498714"/>
                    <a:gd name="connsiteX20" fmla="*/ 1956769 w 4904699"/>
                    <a:gd name="connsiteY20" fmla="*/ 2587684 h 3498714"/>
                    <a:gd name="connsiteX21" fmla="*/ 1823360 w 4904699"/>
                    <a:gd name="connsiteY21" fmla="*/ 2279217 h 3498714"/>
                    <a:gd name="connsiteX22" fmla="*/ 2217440 w 4904699"/>
                    <a:gd name="connsiteY22" fmla="*/ 1856216 h 3498714"/>
                    <a:gd name="connsiteX23" fmla="*/ 2534724 w 4904699"/>
                    <a:gd name="connsiteY23" fmla="*/ 982297 h 3498714"/>
                    <a:gd name="connsiteX24" fmla="*/ 358791 w 4904699"/>
                    <a:gd name="connsiteY24" fmla="*/ 644545 h 3498714"/>
                    <a:gd name="connsiteX25" fmla="*/ 1006774 w 4904699"/>
                    <a:gd name="connsiteY25" fmla="*/ 644545 h 3498714"/>
                    <a:gd name="connsiteX26" fmla="*/ 1542636 w 4904699"/>
                    <a:gd name="connsiteY26" fmla="*/ 1193969 h 3498714"/>
                    <a:gd name="connsiteX27" fmla="*/ 1929878 w 4904699"/>
                    <a:gd name="connsiteY27" fmla="*/ 1193970 h 3498714"/>
                    <a:gd name="connsiteX28" fmla="*/ 2070059 w 4904699"/>
                    <a:gd name="connsiteY28" fmla="*/ 1334152 h 3498714"/>
                    <a:gd name="connsiteX29" fmla="*/ 1929878 w 4904699"/>
                    <a:gd name="connsiteY29" fmla="*/ 1474333 h 3498714"/>
                    <a:gd name="connsiteX30" fmla="*/ 1520943 w 4904699"/>
                    <a:gd name="connsiteY30" fmla="*/ 1470388 h 3498714"/>
                    <a:gd name="connsiteX31" fmla="*/ 1332825 w 4904699"/>
                    <a:gd name="connsiteY31" fmla="*/ 1367201 h 3498714"/>
                    <a:gd name="connsiteX32" fmla="*/ 1106501 w 4904699"/>
                    <a:gd name="connsiteY32" fmla="*/ 1098289 h 3498714"/>
                    <a:gd name="connsiteX33" fmla="*/ 1101049 w 4904699"/>
                    <a:gd name="connsiteY33" fmla="*/ 1092836 h 3498714"/>
                    <a:gd name="connsiteX34" fmla="*/ 1046523 w 4904699"/>
                    <a:gd name="connsiteY34" fmla="*/ 1092836 h 3498714"/>
                    <a:gd name="connsiteX35" fmla="*/ 1041071 w 4904699"/>
                    <a:gd name="connsiteY35" fmla="*/ 1098289 h 3498714"/>
                    <a:gd name="connsiteX36" fmla="*/ 1042136 w 4904699"/>
                    <a:gd name="connsiteY36" fmla="*/ 1419754 h 3498714"/>
                    <a:gd name="connsiteX37" fmla="*/ 1042136 w 4904699"/>
                    <a:gd name="connsiteY37" fmla="*/ 3337652 h 3498714"/>
                    <a:gd name="connsiteX38" fmla="*/ 881075 w 4904699"/>
                    <a:gd name="connsiteY38" fmla="*/ 3498714 h 3498714"/>
                    <a:gd name="connsiteX39" fmla="*/ 720012 w 4904699"/>
                    <a:gd name="connsiteY39" fmla="*/ 3337652 h 3498714"/>
                    <a:gd name="connsiteX40" fmla="*/ 720012 w 4904699"/>
                    <a:gd name="connsiteY40" fmla="*/ 2125717 h 3498714"/>
                    <a:gd name="connsiteX41" fmla="*/ 718947 w 4904699"/>
                    <a:gd name="connsiteY41" fmla="*/ 2033194 h 3498714"/>
                    <a:gd name="connsiteX42" fmla="*/ 714162 w 4904699"/>
                    <a:gd name="connsiteY42" fmla="*/ 2028410 h 3498714"/>
                    <a:gd name="connsiteX43" fmla="*/ 654759 w 4904699"/>
                    <a:gd name="connsiteY43" fmla="*/ 2028410 h 3498714"/>
                    <a:gd name="connsiteX44" fmla="*/ 649974 w 4904699"/>
                    <a:gd name="connsiteY44" fmla="*/ 2033194 h 3498714"/>
                    <a:gd name="connsiteX45" fmla="*/ 649974 w 4904699"/>
                    <a:gd name="connsiteY45" fmla="*/ 2125717 h 3498714"/>
                    <a:gd name="connsiteX46" fmla="*/ 649574 w 4904699"/>
                    <a:gd name="connsiteY46" fmla="*/ 3337652 h 3498714"/>
                    <a:gd name="connsiteX47" fmla="*/ 488511 w 4904699"/>
                    <a:gd name="connsiteY47" fmla="*/ 3498714 h 3498714"/>
                    <a:gd name="connsiteX48" fmla="*/ 327450 w 4904699"/>
                    <a:gd name="connsiteY48" fmla="*/ 3337652 h 3498714"/>
                    <a:gd name="connsiteX49" fmla="*/ 327450 w 4904699"/>
                    <a:gd name="connsiteY49" fmla="*/ 1458216 h 3498714"/>
                    <a:gd name="connsiteX50" fmla="*/ 322427 w 4904699"/>
                    <a:gd name="connsiteY50" fmla="*/ 1098205 h 3498714"/>
                    <a:gd name="connsiteX51" fmla="*/ 317058 w 4904699"/>
                    <a:gd name="connsiteY51" fmla="*/ 1092836 h 3498714"/>
                    <a:gd name="connsiteX52" fmla="*/ 263371 w 4904699"/>
                    <a:gd name="connsiteY52" fmla="*/ 1092836 h 3498714"/>
                    <a:gd name="connsiteX53" fmla="*/ 258001 w 4904699"/>
                    <a:gd name="connsiteY53" fmla="*/ 1098205 h 3498714"/>
                    <a:gd name="connsiteX54" fmla="*/ 258001 w 4904699"/>
                    <a:gd name="connsiteY54" fmla="*/ 1444446 h 3498714"/>
                    <a:gd name="connsiteX55" fmla="*/ 257700 w 4904699"/>
                    <a:gd name="connsiteY55" fmla="*/ 1444370 h 3498714"/>
                    <a:gd name="connsiteX56" fmla="*/ 257700 w 4904699"/>
                    <a:gd name="connsiteY56" fmla="*/ 1912573 h 3498714"/>
                    <a:gd name="connsiteX57" fmla="*/ 128850 w 4904699"/>
                    <a:gd name="connsiteY57" fmla="*/ 2041423 h 3498714"/>
                    <a:gd name="connsiteX58" fmla="*/ 0 w 4904699"/>
                    <a:gd name="connsiteY58" fmla="*/ 1912573 h 3498714"/>
                    <a:gd name="connsiteX59" fmla="*/ 0 w 4904699"/>
                    <a:gd name="connsiteY59" fmla="*/ 1101802 h 3498714"/>
                    <a:gd name="connsiteX60" fmla="*/ 0 w 4904699"/>
                    <a:gd name="connsiteY60" fmla="*/ 1003338 h 3498714"/>
                    <a:gd name="connsiteX61" fmla="*/ 0 w 4904699"/>
                    <a:gd name="connsiteY61" fmla="*/ 982486 h 3498714"/>
                    <a:gd name="connsiteX62" fmla="*/ 12733 w 4904699"/>
                    <a:gd name="connsiteY62" fmla="*/ 894663 h 3498714"/>
                    <a:gd name="connsiteX63" fmla="*/ 20539 w 4904699"/>
                    <a:gd name="connsiteY63" fmla="*/ 868773 h 3498714"/>
                    <a:gd name="connsiteX64" fmla="*/ 358791 w 4904699"/>
                    <a:gd name="connsiteY64" fmla="*/ 644545 h 3498714"/>
                    <a:gd name="connsiteX65" fmla="*/ 682782 w 4904699"/>
                    <a:gd name="connsiteY65" fmla="*/ 0 h 3498714"/>
                    <a:gd name="connsiteX66" fmla="*/ 966919 w 4904699"/>
                    <a:gd name="connsiteY66" fmla="*/ 284138 h 3498714"/>
                    <a:gd name="connsiteX67" fmla="*/ 682782 w 4904699"/>
                    <a:gd name="connsiteY67" fmla="*/ 568275 h 3498714"/>
                    <a:gd name="connsiteX68" fmla="*/ 398645 w 4904699"/>
                    <a:gd name="connsiteY68" fmla="*/ 284138 h 3498714"/>
                    <a:gd name="connsiteX69" fmla="*/ 682782 w 4904699"/>
                    <a:gd name="connsiteY69" fmla="*/ 0 h 3498714"/>
                    <a:gd name="connsiteX70" fmla="*/ 4707054 w 4904699"/>
                    <a:gd name="connsiteY70" fmla="*/ 2902312 h 3498714"/>
                    <a:gd name="connsiteX71" fmla="*/ 4818179 w 4904699"/>
                    <a:gd name="connsiteY71" fmla="*/ 3013437 h 3498714"/>
                    <a:gd name="connsiteX72" fmla="*/ 4707054 w 4904699"/>
                    <a:gd name="connsiteY72" fmla="*/ 3124562 h 3498714"/>
                    <a:gd name="connsiteX73" fmla="*/ 4545125 w 4904699"/>
                    <a:gd name="connsiteY73" fmla="*/ 3124562 h 3498714"/>
                    <a:gd name="connsiteX74" fmla="*/ 4545125 w 4904699"/>
                    <a:gd name="connsiteY74" fmla="*/ 3361625 h 3498714"/>
                    <a:gd name="connsiteX75" fmla="*/ 4436113 w 4904699"/>
                    <a:gd name="connsiteY75" fmla="*/ 3470637 h 3498714"/>
                    <a:gd name="connsiteX76" fmla="*/ 4235039 w 4904699"/>
                    <a:gd name="connsiteY76" fmla="*/ 3470637 h 3498714"/>
                    <a:gd name="connsiteX77" fmla="*/ 4126027 w 4904699"/>
                    <a:gd name="connsiteY77" fmla="*/ 3361625 h 3498714"/>
                    <a:gd name="connsiteX78" fmla="*/ 4126027 w 4904699"/>
                    <a:gd name="connsiteY78" fmla="*/ 3124562 h 3498714"/>
                    <a:gd name="connsiteX79" fmla="*/ 2589325 w 4904699"/>
                    <a:gd name="connsiteY79" fmla="*/ 3124562 h 3498714"/>
                    <a:gd name="connsiteX80" fmla="*/ 2589325 w 4904699"/>
                    <a:gd name="connsiteY80" fmla="*/ 3361625 h 3498714"/>
                    <a:gd name="connsiteX81" fmla="*/ 2480313 w 4904699"/>
                    <a:gd name="connsiteY81" fmla="*/ 3470637 h 3498714"/>
                    <a:gd name="connsiteX82" fmla="*/ 2279239 w 4904699"/>
                    <a:gd name="connsiteY82" fmla="*/ 3470637 h 3498714"/>
                    <a:gd name="connsiteX83" fmla="*/ 2170227 w 4904699"/>
                    <a:gd name="connsiteY83" fmla="*/ 3361625 h 3498714"/>
                    <a:gd name="connsiteX84" fmla="*/ 2170227 w 4904699"/>
                    <a:gd name="connsiteY84" fmla="*/ 3124562 h 3498714"/>
                    <a:gd name="connsiteX85" fmla="*/ 2052754 w 4904699"/>
                    <a:gd name="connsiteY85" fmla="*/ 3124562 h 3498714"/>
                    <a:gd name="connsiteX86" fmla="*/ 1941629 w 4904699"/>
                    <a:gd name="connsiteY86" fmla="*/ 3013437 h 3498714"/>
                    <a:gd name="connsiteX87" fmla="*/ 2052754 w 4904699"/>
                    <a:gd name="connsiteY87" fmla="*/ 2902312 h 3498714"/>
                    <a:gd name="connsiteX88" fmla="*/ 682782 w 4904699"/>
                    <a:gd name="connsiteY88" fmla="*/ 0 h 3498714"/>
                    <a:gd name="connsiteX89" fmla="*/ 4311608 w 4904699"/>
                    <a:gd name="connsiteY89" fmla="*/ 2270487 h 3498714"/>
                    <a:gd name="connsiteX90" fmla="*/ 4492583 w 4904699"/>
                    <a:gd name="connsiteY90" fmla="*/ 2451462 h 3498714"/>
                    <a:gd name="connsiteX0" fmla="*/ 2979061 w 4818179"/>
                    <a:gd name="connsiteY0" fmla="*/ 2089512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4083961 w 4818179"/>
                    <a:gd name="connsiteY4" fmla="*/ 2397487 h 3498714"/>
                    <a:gd name="connsiteX5" fmla="*/ 3775986 w 4818179"/>
                    <a:gd name="connsiteY5" fmla="*/ 2089512 h 3498714"/>
                    <a:gd name="connsiteX6" fmla="*/ 2979061 w 4818179"/>
                    <a:gd name="connsiteY6" fmla="*/ 2089512 h 3498714"/>
                    <a:gd name="connsiteX7" fmla="*/ 2251033 w 4818179"/>
                    <a:gd name="connsiteY7" fmla="*/ 2089512 h 3498714"/>
                    <a:gd name="connsiteX8" fmla="*/ 2070058 w 4818179"/>
                    <a:gd name="connsiteY8" fmla="*/ 2270487 h 3498714"/>
                    <a:gd name="connsiteX9" fmla="*/ 2251033 w 4818179"/>
                    <a:gd name="connsiteY9" fmla="*/ 2451462 h 3498714"/>
                    <a:gd name="connsiteX10" fmla="*/ 2432008 w 4818179"/>
                    <a:gd name="connsiteY10" fmla="*/ 2270487 h 3498714"/>
                    <a:gd name="connsiteX11" fmla="*/ 2251033 w 4818179"/>
                    <a:gd name="connsiteY11" fmla="*/ 2089512 h 3498714"/>
                    <a:gd name="connsiteX12" fmla="*/ 2842751 w 4818179"/>
                    <a:gd name="connsiteY12" fmla="*/ 1749356 h 3498714"/>
                    <a:gd name="connsiteX13" fmla="*/ 2392797 w 4818179"/>
                    <a:gd name="connsiteY13" fmla="*/ 1878907 h 3498714"/>
                    <a:gd name="connsiteX14" fmla="*/ 2478781 w 4818179"/>
                    <a:gd name="connsiteY14" fmla="*/ 1920808 h 3498714"/>
                    <a:gd name="connsiteX15" fmla="*/ 2842751 w 4818179"/>
                    <a:gd name="connsiteY15" fmla="*/ 1749356 h 3498714"/>
                    <a:gd name="connsiteX16" fmla="*/ 2534724 w 4818179"/>
                    <a:gd name="connsiteY16" fmla="*/ 982297 h 3498714"/>
                    <a:gd name="connsiteX17" fmla="*/ 1970999 w 4818179"/>
                    <a:gd name="connsiteY17" fmla="*/ 2826112 h 3498714"/>
                    <a:gd name="connsiteX18" fmla="*/ 1850348 w 4818179"/>
                    <a:gd name="connsiteY18" fmla="*/ 2705462 h 3498714"/>
                    <a:gd name="connsiteX19" fmla="*/ 1956769 w 4818179"/>
                    <a:gd name="connsiteY19" fmla="*/ 2587684 h 3498714"/>
                    <a:gd name="connsiteX20" fmla="*/ 1823360 w 4818179"/>
                    <a:gd name="connsiteY20" fmla="*/ 2279217 h 3498714"/>
                    <a:gd name="connsiteX21" fmla="*/ 2217440 w 4818179"/>
                    <a:gd name="connsiteY21" fmla="*/ 1856216 h 3498714"/>
                    <a:gd name="connsiteX22" fmla="*/ 2534724 w 4818179"/>
                    <a:gd name="connsiteY22" fmla="*/ 982297 h 3498714"/>
                    <a:gd name="connsiteX23" fmla="*/ 358791 w 4818179"/>
                    <a:gd name="connsiteY23" fmla="*/ 644545 h 3498714"/>
                    <a:gd name="connsiteX24" fmla="*/ 1006774 w 4818179"/>
                    <a:gd name="connsiteY24" fmla="*/ 644545 h 3498714"/>
                    <a:gd name="connsiteX25" fmla="*/ 1542636 w 4818179"/>
                    <a:gd name="connsiteY25" fmla="*/ 1193969 h 3498714"/>
                    <a:gd name="connsiteX26" fmla="*/ 1929878 w 4818179"/>
                    <a:gd name="connsiteY26" fmla="*/ 1193970 h 3498714"/>
                    <a:gd name="connsiteX27" fmla="*/ 2070059 w 4818179"/>
                    <a:gd name="connsiteY27" fmla="*/ 1334152 h 3498714"/>
                    <a:gd name="connsiteX28" fmla="*/ 1929878 w 4818179"/>
                    <a:gd name="connsiteY28" fmla="*/ 1474333 h 3498714"/>
                    <a:gd name="connsiteX29" fmla="*/ 1520943 w 4818179"/>
                    <a:gd name="connsiteY29" fmla="*/ 1470388 h 3498714"/>
                    <a:gd name="connsiteX30" fmla="*/ 1332825 w 4818179"/>
                    <a:gd name="connsiteY30" fmla="*/ 1367201 h 3498714"/>
                    <a:gd name="connsiteX31" fmla="*/ 1106501 w 4818179"/>
                    <a:gd name="connsiteY31" fmla="*/ 1098289 h 3498714"/>
                    <a:gd name="connsiteX32" fmla="*/ 1101049 w 4818179"/>
                    <a:gd name="connsiteY32" fmla="*/ 1092836 h 3498714"/>
                    <a:gd name="connsiteX33" fmla="*/ 1046523 w 4818179"/>
                    <a:gd name="connsiteY33" fmla="*/ 1092836 h 3498714"/>
                    <a:gd name="connsiteX34" fmla="*/ 1041071 w 4818179"/>
                    <a:gd name="connsiteY34" fmla="*/ 1098289 h 3498714"/>
                    <a:gd name="connsiteX35" fmla="*/ 1042136 w 4818179"/>
                    <a:gd name="connsiteY35" fmla="*/ 1419754 h 3498714"/>
                    <a:gd name="connsiteX36" fmla="*/ 1042136 w 4818179"/>
                    <a:gd name="connsiteY36" fmla="*/ 3337652 h 3498714"/>
                    <a:gd name="connsiteX37" fmla="*/ 881075 w 4818179"/>
                    <a:gd name="connsiteY37" fmla="*/ 3498714 h 3498714"/>
                    <a:gd name="connsiteX38" fmla="*/ 720012 w 4818179"/>
                    <a:gd name="connsiteY38" fmla="*/ 3337652 h 3498714"/>
                    <a:gd name="connsiteX39" fmla="*/ 720012 w 4818179"/>
                    <a:gd name="connsiteY39" fmla="*/ 2125717 h 3498714"/>
                    <a:gd name="connsiteX40" fmla="*/ 718947 w 4818179"/>
                    <a:gd name="connsiteY40" fmla="*/ 2033194 h 3498714"/>
                    <a:gd name="connsiteX41" fmla="*/ 714162 w 4818179"/>
                    <a:gd name="connsiteY41" fmla="*/ 2028410 h 3498714"/>
                    <a:gd name="connsiteX42" fmla="*/ 654759 w 4818179"/>
                    <a:gd name="connsiteY42" fmla="*/ 2028410 h 3498714"/>
                    <a:gd name="connsiteX43" fmla="*/ 649974 w 4818179"/>
                    <a:gd name="connsiteY43" fmla="*/ 2033194 h 3498714"/>
                    <a:gd name="connsiteX44" fmla="*/ 649974 w 4818179"/>
                    <a:gd name="connsiteY44" fmla="*/ 2125717 h 3498714"/>
                    <a:gd name="connsiteX45" fmla="*/ 649574 w 4818179"/>
                    <a:gd name="connsiteY45" fmla="*/ 3337652 h 3498714"/>
                    <a:gd name="connsiteX46" fmla="*/ 488511 w 4818179"/>
                    <a:gd name="connsiteY46" fmla="*/ 3498714 h 3498714"/>
                    <a:gd name="connsiteX47" fmla="*/ 327450 w 4818179"/>
                    <a:gd name="connsiteY47" fmla="*/ 3337652 h 3498714"/>
                    <a:gd name="connsiteX48" fmla="*/ 327450 w 4818179"/>
                    <a:gd name="connsiteY48" fmla="*/ 1458216 h 3498714"/>
                    <a:gd name="connsiteX49" fmla="*/ 322427 w 4818179"/>
                    <a:gd name="connsiteY49" fmla="*/ 1098205 h 3498714"/>
                    <a:gd name="connsiteX50" fmla="*/ 317058 w 4818179"/>
                    <a:gd name="connsiteY50" fmla="*/ 1092836 h 3498714"/>
                    <a:gd name="connsiteX51" fmla="*/ 263371 w 4818179"/>
                    <a:gd name="connsiteY51" fmla="*/ 1092836 h 3498714"/>
                    <a:gd name="connsiteX52" fmla="*/ 258001 w 4818179"/>
                    <a:gd name="connsiteY52" fmla="*/ 1098205 h 3498714"/>
                    <a:gd name="connsiteX53" fmla="*/ 258001 w 4818179"/>
                    <a:gd name="connsiteY53" fmla="*/ 1444446 h 3498714"/>
                    <a:gd name="connsiteX54" fmla="*/ 257700 w 4818179"/>
                    <a:gd name="connsiteY54" fmla="*/ 1444370 h 3498714"/>
                    <a:gd name="connsiteX55" fmla="*/ 257700 w 4818179"/>
                    <a:gd name="connsiteY55" fmla="*/ 1912573 h 3498714"/>
                    <a:gd name="connsiteX56" fmla="*/ 128850 w 4818179"/>
                    <a:gd name="connsiteY56" fmla="*/ 2041423 h 3498714"/>
                    <a:gd name="connsiteX57" fmla="*/ 0 w 4818179"/>
                    <a:gd name="connsiteY57" fmla="*/ 1912573 h 3498714"/>
                    <a:gd name="connsiteX58" fmla="*/ 0 w 4818179"/>
                    <a:gd name="connsiteY58" fmla="*/ 1101802 h 3498714"/>
                    <a:gd name="connsiteX59" fmla="*/ 0 w 4818179"/>
                    <a:gd name="connsiteY59" fmla="*/ 1003338 h 3498714"/>
                    <a:gd name="connsiteX60" fmla="*/ 0 w 4818179"/>
                    <a:gd name="connsiteY60" fmla="*/ 982486 h 3498714"/>
                    <a:gd name="connsiteX61" fmla="*/ 12733 w 4818179"/>
                    <a:gd name="connsiteY61" fmla="*/ 894663 h 3498714"/>
                    <a:gd name="connsiteX62" fmla="*/ 20539 w 4818179"/>
                    <a:gd name="connsiteY62" fmla="*/ 868773 h 3498714"/>
                    <a:gd name="connsiteX63" fmla="*/ 358791 w 4818179"/>
                    <a:gd name="connsiteY63" fmla="*/ 644545 h 3498714"/>
                    <a:gd name="connsiteX64" fmla="*/ 682782 w 4818179"/>
                    <a:gd name="connsiteY64" fmla="*/ 0 h 3498714"/>
                    <a:gd name="connsiteX65" fmla="*/ 966919 w 4818179"/>
                    <a:gd name="connsiteY65" fmla="*/ 284138 h 3498714"/>
                    <a:gd name="connsiteX66" fmla="*/ 682782 w 4818179"/>
                    <a:gd name="connsiteY66" fmla="*/ 568275 h 3498714"/>
                    <a:gd name="connsiteX67" fmla="*/ 398645 w 4818179"/>
                    <a:gd name="connsiteY67" fmla="*/ 284138 h 3498714"/>
                    <a:gd name="connsiteX68" fmla="*/ 682782 w 4818179"/>
                    <a:gd name="connsiteY68" fmla="*/ 0 h 3498714"/>
                    <a:gd name="connsiteX69" fmla="*/ 4707054 w 4818179"/>
                    <a:gd name="connsiteY69" fmla="*/ 2902312 h 3498714"/>
                    <a:gd name="connsiteX70" fmla="*/ 4818179 w 4818179"/>
                    <a:gd name="connsiteY70" fmla="*/ 3013437 h 3498714"/>
                    <a:gd name="connsiteX71" fmla="*/ 4707054 w 4818179"/>
                    <a:gd name="connsiteY71" fmla="*/ 3124562 h 3498714"/>
                    <a:gd name="connsiteX72" fmla="*/ 4545125 w 4818179"/>
                    <a:gd name="connsiteY72" fmla="*/ 3124562 h 3498714"/>
                    <a:gd name="connsiteX73" fmla="*/ 4545125 w 4818179"/>
                    <a:gd name="connsiteY73" fmla="*/ 3361625 h 3498714"/>
                    <a:gd name="connsiteX74" fmla="*/ 4436113 w 4818179"/>
                    <a:gd name="connsiteY74" fmla="*/ 3470637 h 3498714"/>
                    <a:gd name="connsiteX75" fmla="*/ 4235039 w 4818179"/>
                    <a:gd name="connsiteY75" fmla="*/ 3470637 h 3498714"/>
                    <a:gd name="connsiteX76" fmla="*/ 4126027 w 4818179"/>
                    <a:gd name="connsiteY76" fmla="*/ 3361625 h 3498714"/>
                    <a:gd name="connsiteX77" fmla="*/ 4126027 w 4818179"/>
                    <a:gd name="connsiteY77" fmla="*/ 3124562 h 3498714"/>
                    <a:gd name="connsiteX78" fmla="*/ 2589325 w 4818179"/>
                    <a:gd name="connsiteY78" fmla="*/ 3124562 h 3498714"/>
                    <a:gd name="connsiteX79" fmla="*/ 2589325 w 4818179"/>
                    <a:gd name="connsiteY79" fmla="*/ 3361625 h 3498714"/>
                    <a:gd name="connsiteX80" fmla="*/ 2480313 w 4818179"/>
                    <a:gd name="connsiteY80" fmla="*/ 3470637 h 3498714"/>
                    <a:gd name="connsiteX81" fmla="*/ 2279239 w 4818179"/>
                    <a:gd name="connsiteY81" fmla="*/ 3470637 h 3498714"/>
                    <a:gd name="connsiteX82" fmla="*/ 2170227 w 4818179"/>
                    <a:gd name="connsiteY82" fmla="*/ 3361625 h 3498714"/>
                    <a:gd name="connsiteX83" fmla="*/ 2170227 w 4818179"/>
                    <a:gd name="connsiteY83" fmla="*/ 3124562 h 3498714"/>
                    <a:gd name="connsiteX84" fmla="*/ 2052754 w 4818179"/>
                    <a:gd name="connsiteY84" fmla="*/ 3124562 h 3498714"/>
                    <a:gd name="connsiteX85" fmla="*/ 1941629 w 4818179"/>
                    <a:gd name="connsiteY85" fmla="*/ 3013437 h 3498714"/>
                    <a:gd name="connsiteX86" fmla="*/ 2052754 w 4818179"/>
                    <a:gd name="connsiteY86" fmla="*/ 2902312 h 3498714"/>
                    <a:gd name="connsiteX87" fmla="*/ 682782 w 4818179"/>
                    <a:gd name="connsiteY87" fmla="*/ 0 h 3498714"/>
                    <a:gd name="connsiteX88" fmla="*/ 4311608 w 4818179"/>
                    <a:gd name="connsiteY88" fmla="*/ 2270487 h 3498714"/>
                    <a:gd name="connsiteX89" fmla="*/ 4492583 w 4818179"/>
                    <a:gd name="connsiteY89" fmla="*/ 2451462 h 3498714"/>
                    <a:gd name="connsiteX0" fmla="*/ 2979061 w 4818179"/>
                    <a:gd name="connsiteY0" fmla="*/ 2089512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4083961 w 4818179"/>
                    <a:gd name="connsiteY4" fmla="*/ 2397487 h 3498714"/>
                    <a:gd name="connsiteX5" fmla="*/ 3775986 w 4818179"/>
                    <a:gd name="connsiteY5" fmla="*/ 2089512 h 3498714"/>
                    <a:gd name="connsiteX6" fmla="*/ 2979061 w 4818179"/>
                    <a:gd name="connsiteY6" fmla="*/ 2089512 h 3498714"/>
                    <a:gd name="connsiteX7" fmla="*/ 2251033 w 4818179"/>
                    <a:gd name="connsiteY7" fmla="*/ 2089512 h 3498714"/>
                    <a:gd name="connsiteX8" fmla="*/ 2070058 w 4818179"/>
                    <a:gd name="connsiteY8" fmla="*/ 2270487 h 3498714"/>
                    <a:gd name="connsiteX9" fmla="*/ 2251033 w 4818179"/>
                    <a:gd name="connsiteY9" fmla="*/ 2451462 h 3498714"/>
                    <a:gd name="connsiteX10" fmla="*/ 2432008 w 4818179"/>
                    <a:gd name="connsiteY10" fmla="*/ 2270487 h 3498714"/>
                    <a:gd name="connsiteX11" fmla="*/ 2251033 w 4818179"/>
                    <a:gd name="connsiteY11" fmla="*/ 2089512 h 3498714"/>
                    <a:gd name="connsiteX12" fmla="*/ 2842751 w 4818179"/>
                    <a:gd name="connsiteY12" fmla="*/ 1749356 h 3498714"/>
                    <a:gd name="connsiteX13" fmla="*/ 2392797 w 4818179"/>
                    <a:gd name="connsiteY13" fmla="*/ 1878907 h 3498714"/>
                    <a:gd name="connsiteX14" fmla="*/ 2478781 w 4818179"/>
                    <a:gd name="connsiteY14" fmla="*/ 1920808 h 3498714"/>
                    <a:gd name="connsiteX15" fmla="*/ 2842751 w 4818179"/>
                    <a:gd name="connsiteY15" fmla="*/ 1749356 h 3498714"/>
                    <a:gd name="connsiteX16" fmla="*/ 2534724 w 4818179"/>
                    <a:gd name="connsiteY16" fmla="*/ 982297 h 3498714"/>
                    <a:gd name="connsiteX17" fmla="*/ 1970999 w 4818179"/>
                    <a:gd name="connsiteY17" fmla="*/ 2826112 h 3498714"/>
                    <a:gd name="connsiteX18" fmla="*/ 1850348 w 4818179"/>
                    <a:gd name="connsiteY18" fmla="*/ 2705462 h 3498714"/>
                    <a:gd name="connsiteX19" fmla="*/ 1956769 w 4818179"/>
                    <a:gd name="connsiteY19" fmla="*/ 2587684 h 3498714"/>
                    <a:gd name="connsiteX20" fmla="*/ 1823360 w 4818179"/>
                    <a:gd name="connsiteY20" fmla="*/ 2279217 h 3498714"/>
                    <a:gd name="connsiteX21" fmla="*/ 2217440 w 4818179"/>
                    <a:gd name="connsiteY21" fmla="*/ 1856216 h 3498714"/>
                    <a:gd name="connsiteX22" fmla="*/ 2534724 w 4818179"/>
                    <a:gd name="connsiteY22" fmla="*/ 982297 h 3498714"/>
                    <a:gd name="connsiteX23" fmla="*/ 358791 w 4818179"/>
                    <a:gd name="connsiteY23" fmla="*/ 644545 h 3498714"/>
                    <a:gd name="connsiteX24" fmla="*/ 1006774 w 4818179"/>
                    <a:gd name="connsiteY24" fmla="*/ 644545 h 3498714"/>
                    <a:gd name="connsiteX25" fmla="*/ 1542636 w 4818179"/>
                    <a:gd name="connsiteY25" fmla="*/ 1193969 h 3498714"/>
                    <a:gd name="connsiteX26" fmla="*/ 1929878 w 4818179"/>
                    <a:gd name="connsiteY26" fmla="*/ 1193970 h 3498714"/>
                    <a:gd name="connsiteX27" fmla="*/ 2070059 w 4818179"/>
                    <a:gd name="connsiteY27" fmla="*/ 1334152 h 3498714"/>
                    <a:gd name="connsiteX28" fmla="*/ 1929878 w 4818179"/>
                    <a:gd name="connsiteY28" fmla="*/ 1474333 h 3498714"/>
                    <a:gd name="connsiteX29" fmla="*/ 1520943 w 4818179"/>
                    <a:gd name="connsiteY29" fmla="*/ 1470388 h 3498714"/>
                    <a:gd name="connsiteX30" fmla="*/ 1332825 w 4818179"/>
                    <a:gd name="connsiteY30" fmla="*/ 1367201 h 3498714"/>
                    <a:gd name="connsiteX31" fmla="*/ 1106501 w 4818179"/>
                    <a:gd name="connsiteY31" fmla="*/ 1098289 h 3498714"/>
                    <a:gd name="connsiteX32" fmla="*/ 1101049 w 4818179"/>
                    <a:gd name="connsiteY32" fmla="*/ 1092836 h 3498714"/>
                    <a:gd name="connsiteX33" fmla="*/ 1046523 w 4818179"/>
                    <a:gd name="connsiteY33" fmla="*/ 1092836 h 3498714"/>
                    <a:gd name="connsiteX34" fmla="*/ 1041071 w 4818179"/>
                    <a:gd name="connsiteY34" fmla="*/ 1098289 h 3498714"/>
                    <a:gd name="connsiteX35" fmla="*/ 1042136 w 4818179"/>
                    <a:gd name="connsiteY35" fmla="*/ 1419754 h 3498714"/>
                    <a:gd name="connsiteX36" fmla="*/ 1042136 w 4818179"/>
                    <a:gd name="connsiteY36" fmla="*/ 3337652 h 3498714"/>
                    <a:gd name="connsiteX37" fmla="*/ 881075 w 4818179"/>
                    <a:gd name="connsiteY37" fmla="*/ 3498714 h 3498714"/>
                    <a:gd name="connsiteX38" fmla="*/ 720012 w 4818179"/>
                    <a:gd name="connsiteY38" fmla="*/ 3337652 h 3498714"/>
                    <a:gd name="connsiteX39" fmla="*/ 720012 w 4818179"/>
                    <a:gd name="connsiteY39" fmla="*/ 2125717 h 3498714"/>
                    <a:gd name="connsiteX40" fmla="*/ 718947 w 4818179"/>
                    <a:gd name="connsiteY40" fmla="*/ 2033194 h 3498714"/>
                    <a:gd name="connsiteX41" fmla="*/ 714162 w 4818179"/>
                    <a:gd name="connsiteY41" fmla="*/ 2028410 h 3498714"/>
                    <a:gd name="connsiteX42" fmla="*/ 654759 w 4818179"/>
                    <a:gd name="connsiteY42" fmla="*/ 2028410 h 3498714"/>
                    <a:gd name="connsiteX43" fmla="*/ 649974 w 4818179"/>
                    <a:gd name="connsiteY43" fmla="*/ 2033194 h 3498714"/>
                    <a:gd name="connsiteX44" fmla="*/ 649974 w 4818179"/>
                    <a:gd name="connsiteY44" fmla="*/ 2125717 h 3498714"/>
                    <a:gd name="connsiteX45" fmla="*/ 649574 w 4818179"/>
                    <a:gd name="connsiteY45" fmla="*/ 3337652 h 3498714"/>
                    <a:gd name="connsiteX46" fmla="*/ 488511 w 4818179"/>
                    <a:gd name="connsiteY46" fmla="*/ 3498714 h 3498714"/>
                    <a:gd name="connsiteX47" fmla="*/ 327450 w 4818179"/>
                    <a:gd name="connsiteY47" fmla="*/ 3337652 h 3498714"/>
                    <a:gd name="connsiteX48" fmla="*/ 327450 w 4818179"/>
                    <a:gd name="connsiteY48" fmla="*/ 1458216 h 3498714"/>
                    <a:gd name="connsiteX49" fmla="*/ 322427 w 4818179"/>
                    <a:gd name="connsiteY49" fmla="*/ 1098205 h 3498714"/>
                    <a:gd name="connsiteX50" fmla="*/ 317058 w 4818179"/>
                    <a:gd name="connsiteY50" fmla="*/ 1092836 h 3498714"/>
                    <a:gd name="connsiteX51" fmla="*/ 263371 w 4818179"/>
                    <a:gd name="connsiteY51" fmla="*/ 1092836 h 3498714"/>
                    <a:gd name="connsiteX52" fmla="*/ 258001 w 4818179"/>
                    <a:gd name="connsiteY52" fmla="*/ 1098205 h 3498714"/>
                    <a:gd name="connsiteX53" fmla="*/ 258001 w 4818179"/>
                    <a:gd name="connsiteY53" fmla="*/ 1444446 h 3498714"/>
                    <a:gd name="connsiteX54" fmla="*/ 257700 w 4818179"/>
                    <a:gd name="connsiteY54" fmla="*/ 1444370 h 3498714"/>
                    <a:gd name="connsiteX55" fmla="*/ 257700 w 4818179"/>
                    <a:gd name="connsiteY55" fmla="*/ 1912573 h 3498714"/>
                    <a:gd name="connsiteX56" fmla="*/ 128850 w 4818179"/>
                    <a:gd name="connsiteY56" fmla="*/ 2041423 h 3498714"/>
                    <a:gd name="connsiteX57" fmla="*/ 0 w 4818179"/>
                    <a:gd name="connsiteY57" fmla="*/ 1912573 h 3498714"/>
                    <a:gd name="connsiteX58" fmla="*/ 0 w 4818179"/>
                    <a:gd name="connsiteY58" fmla="*/ 1101802 h 3498714"/>
                    <a:gd name="connsiteX59" fmla="*/ 0 w 4818179"/>
                    <a:gd name="connsiteY59" fmla="*/ 1003338 h 3498714"/>
                    <a:gd name="connsiteX60" fmla="*/ 0 w 4818179"/>
                    <a:gd name="connsiteY60" fmla="*/ 982486 h 3498714"/>
                    <a:gd name="connsiteX61" fmla="*/ 12733 w 4818179"/>
                    <a:gd name="connsiteY61" fmla="*/ 894663 h 3498714"/>
                    <a:gd name="connsiteX62" fmla="*/ 20539 w 4818179"/>
                    <a:gd name="connsiteY62" fmla="*/ 868773 h 3498714"/>
                    <a:gd name="connsiteX63" fmla="*/ 358791 w 4818179"/>
                    <a:gd name="connsiteY63" fmla="*/ 644545 h 3498714"/>
                    <a:gd name="connsiteX64" fmla="*/ 682782 w 4818179"/>
                    <a:gd name="connsiteY64" fmla="*/ 0 h 3498714"/>
                    <a:gd name="connsiteX65" fmla="*/ 966919 w 4818179"/>
                    <a:gd name="connsiteY65" fmla="*/ 284138 h 3498714"/>
                    <a:gd name="connsiteX66" fmla="*/ 682782 w 4818179"/>
                    <a:gd name="connsiteY66" fmla="*/ 568275 h 3498714"/>
                    <a:gd name="connsiteX67" fmla="*/ 398645 w 4818179"/>
                    <a:gd name="connsiteY67" fmla="*/ 284138 h 3498714"/>
                    <a:gd name="connsiteX68" fmla="*/ 682782 w 4818179"/>
                    <a:gd name="connsiteY68" fmla="*/ 0 h 3498714"/>
                    <a:gd name="connsiteX69" fmla="*/ 4707054 w 4818179"/>
                    <a:gd name="connsiteY69" fmla="*/ 2902312 h 3498714"/>
                    <a:gd name="connsiteX70" fmla="*/ 4818179 w 4818179"/>
                    <a:gd name="connsiteY70" fmla="*/ 3013437 h 3498714"/>
                    <a:gd name="connsiteX71" fmla="*/ 4707054 w 4818179"/>
                    <a:gd name="connsiteY71" fmla="*/ 3124562 h 3498714"/>
                    <a:gd name="connsiteX72" fmla="*/ 4545125 w 4818179"/>
                    <a:gd name="connsiteY72" fmla="*/ 3124562 h 3498714"/>
                    <a:gd name="connsiteX73" fmla="*/ 4545125 w 4818179"/>
                    <a:gd name="connsiteY73" fmla="*/ 3361625 h 3498714"/>
                    <a:gd name="connsiteX74" fmla="*/ 4436113 w 4818179"/>
                    <a:gd name="connsiteY74" fmla="*/ 3470637 h 3498714"/>
                    <a:gd name="connsiteX75" fmla="*/ 4235039 w 4818179"/>
                    <a:gd name="connsiteY75" fmla="*/ 3470637 h 3498714"/>
                    <a:gd name="connsiteX76" fmla="*/ 4126027 w 4818179"/>
                    <a:gd name="connsiteY76" fmla="*/ 3361625 h 3498714"/>
                    <a:gd name="connsiteX77" fmla="*/ 4126027 w 4818179"/>
                    <a:gd name="connsiteY77" fmla="*/ 3124562 h 3498714"/>
                    <a:gd name="connsiteX78" fmla="*/ 2589325 w 4818179"/>
                    <a:gd name="connsiteY78" fmla="*/ 3124562 h 3498714"/>
                    <a:gd name="connsiteX79" fmla="*/ 2589325 w 4818179"/>
                    <a:gd name="connsiteY79" fmla="*/ 3361625 h 3498714"/>
                    <a:gd name="connsiteX80" fmla="*/ 2480313 w 4818179"/>
                    <a:gd name="connsiteY80" fmla="*/ 3470637 h 3498714"/>
                    <a:gd name="connsiteX81" fmla="*/ 2279239 w 4818179"/>
                    <a:gd name="connsiteY81" fmla="*/ 3470637 h 3498714"/>
                    <a:gd name="connsiteX82" fmla="*/ 2170227 w 4818179"/>
                    <a:gd name="connsiteY82" fmla="*/ 3361625 h 3498714"/>
                    <a:gd name="connsiteX83" fmla="*/ 2170227 w 4818179"/>
                    <a:gd name="connsiteY83" fmla="*/ 3124562 h 3498714"/>
                    <a:gd name="connsiteX84" fmla="*/ 2052754 w 4818179"/>
                    <a:gd name="connsiteY84" fmla="*/ 3124562 h 3498714"/>
                    <a:gd name="connsiteX85" fmla="*/ 1941629 w 4818179"/>
                    <a:gd name="connsiteY85" fmla="*/ 3013437 h 3498714"/>
                    <a:gd name="connsiteX86" fmla="*/ 2052754 w 4818179"/>
                    <a:gd name="connsiteY86" fmla="*/ 2902312 h 3498714"/>
                    <a:gd name="connsiteX87" fmla="*/ 682782 w 4818179"/>
                    <a:gd name="connsiteY87" fmla="*/ 0 h 3498714"/>
                    <a:gd name="connsiteX0" fmla="*/ 2979061 w 4818179"/>
                    <a:gd name="connsiteY0" fmla="*/ 2089512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3775986 w 4818179"/>
                    <a:gd name="connsiteY4" fmla="*/ 2089512 h 3498714"/>
                    <a:gd name="connsiteX5" fmla="*/ 2979061 w 4818179"/>
                    <a:gd name="connsiteY5" fmla="*/ 2089512 h 3498714"/>
                    <a:gd name="connsiteX6" fmla="*/ 2251033 w 4818179"/>
                    <a:gd name="connsiteY6" fmla="*/ 2089512 h 3498714"/>
                    <a:gd name="connsiteX7" fmla="*/ 2070058 w 4818179"/>
                    <a:gd name="connsiteY7" fmla="*/ 2270487 h 3498714"/>
                    <a:gd name="connsiteX8" fmla="*/ 2251033 w 4818179"/>
                    <a:gd name="connsiteY8" fmla="*/ 2451462 h 3498714"/>
                    <a:gd name="connsiteX9" fmla="*/ 2432008 w 4818179"/>
                    <a:gd name="connsiteY9" fmla="*/ 2270487 h 3498714"/>
                    <a:gd name="connsiteX10" fmla="*/ 2251033 w 4818179"/>
                    <a:gd name="connsiteY10" fmla="*/ 2089512 h 3498714"/>
                    <a:gd name="connsiteX11" fmla="*/ 2842751 w 4818179"/>
                    <a:gd name="connsiteY11" fmla="*/ 1749356 h 3498714"/>
                    <a:gd name="connsiteX12" fmla="*/ 2392797 w 4818179"/>
                    <a:gd name="connsiteY12" fmla="*/ 1878907 h 3498714"/>
                    <a:gd name="connsiteX13" fmla="*/ 2478781 w 4818179"/>
                    <a:gd name="connsiteY13" fmla="*/ 1920808 h 3498714"/>
                    <a:gd name="connsiteX14" fmla="*/ 2842751 w 4818179"/>
                    <a:gd name="connsiteY14" fmla="*/ 1749356 h 3498714"/>
                    <a:gd name="connsiteX15" fmla="*/ 2534724 w 4818179"/>
                    <a:gd name="connsiteY15" fmla="*/ 982297 h 3498714"/>
                    <a:gd name="connsiteX16" fmla="*/ 1970999 w 4818179"/>
                    <a:gd name="connsiteY16" fmla="*/ 2826112 h 3498714"/>
                    <a:gd name="connsiteX17" fmla="*/ 1850348 w 4818179"/>
                    <a:gd name="connsiteY17" fmla="*/ 2705462 h 3498714"/>
                    <a:gd name="connsiteX18" fmla="*/ 1956769 w 4818179"/>
                    <a:gd name="connsiteY18" fmla="*/ 2587684 h 3498714"/>
                    <a:gd name="connsiteX19" fmla="*/ 1823360 w 4818179"/>
                    <a:gd name="connsiteY19" fmla="*/ 2279217 h 3498714"/>
                    <a:gd name="connsiteX20" fmla="*/ 2217440 w 4818179"/>
                    <a:gd name="connsiteY20" fmla="*/ 1856216 h 3498714"/>
                    <a:gd name="connsiteX21" fmla="*/ 2534724 w 4818179"/>
                    <a:gd name="connsiteY21" fmla="*/ 982297 h 3498714"/>
                    <a:gd name="connsiteX22" fmla="*/ 358791 w 4818179"/>
                    <a:gd name="connsiteY22" fmla="*/ 644545 h 3498714"/>
                    <a:gd name="connsiteX23" fmla="*/ 1006774 w 4818179"/>
                    <a:gd name="connsiteY23" fmla="*/ 644545 h 3498714"/>
                    <a:gd name="connsiteX24" fmla="*/ 1542636 w 4818179"/>
                    <a:gd name="connsiteY24" fmla="*/ 1193969 h 3498714"/>
                    <a:gd name="connsiteX25" fmla="*/ 1929878 w 4818179"/>
                    <a:gd name="connsiteY25" fmla="*/ 1193970 h 3498714"/>
                    <a:gd name="connsiteX26" fmla="*/ 2070059 w 4818179"/>
                    <a:gd name="connsiteY26" fmla="*/ 1334152 h 3498714"/>
                    <a:gd name="connsiteX27" fmla="*/ 1929878 w 4818179"/>
                    <a:gd name="connsiteY27" fmla="*/ 1474333 h 3498714"/>
                    <a:gd name="connsiteX28" fmla="*/ 1520943 w 4818179"/>
                    <a:gd name="connsiteY28" fmla="*/ 1470388 h 3498714"/>
                    <a:gd name="connsiteX29" fmla="*/ 1332825 w 4818179"/>
                    <a:gd name="connsiteY29" fmla="*/ 1367201 h 3498714"/>
                    <a:gd name="connsiteX30" fmla="*/ 1106501 w 4818179"/>
                    <a:gd name="connsiteY30" fmla="*/ 1098289 h 3498714"/>
                    <a:gd name="connsiteX31" fmla="*/ 1101049 w 4818179"/>
                    <a:gd name="connsiteY31" fmla="*/ 1092836 h 3498714"/>
                    <a:gd name="connsiteX32" fmla="*/ 1046523 w 4818179"/>
                    <a:gd name="connsiteY32" fmla="*/ 1092836 h 3498714"/>
                    <a:gd name="connsiteX33" fmla="*/ 1041071 w 4818179"/>
                    <a:gd name="connsiteY33" fmla="*/ 1098289 h 3498714"/>
                    <a:gd name="connsiteX34" fmla="*/ 1042136 w 4818179"/>
                    <a:gd name="connsiteY34" fmla="*/ 1419754 h 3498714"/>
                    <a:gd name="connsiteX35" fmla="*/ 1042136 w 4818179"/>
                    <a:gd name="connsiteY35" fmla="*/ 3337652 h 3498714"/>
                    <a:gd name="connsiteX36" fmla="*/ 881075 w 4818179"/>
                    <a:gd name="connsiteY36" fmla="*/ 3498714 h 3498714"/>
                    <a:gd name="connsiteX37" fmla="*/ 720012 w 4818179"/>
                    <a:gd name="connsiteY37" fmla="*/ 3337652 h 3498714"/>
                    <a:gd name="connsiteX38" fmla="*/ 720012 w 4818179"/>
                    <a:gd name="connsiteY38" fmla="*/ 2125717 h 3498714"/>
                    <a:gd name="connsiteX39" fmla="*/ 718947 w 4818179"/>
                    <a:gd name="connsiteY39" fmla="*/ 2033194 h 3498714"/>
                    <a:gd name="connsiteX40" fmla="*/ 714162 w 4818179"/>
                    <a:gd name="connsiteY40" fmla="*/ 2028410 h 3498714"/>
                    <a:gd name="connsiteX41" fmla="*/ 654759 w 4818179"/>
                    <a:gd name="connsiteY41" fmla="*/ 2028410 h 3498714"/>
                    <a:gd name="connsiteX42" fmla="*/ 649974 w 4818179"/>
                    <a:gd name="connsiteY42" fmla="*/ 2033194 h 3498714"/>
                    <a:gd name="connsiteX43" fmla="*/ 649974 w 4818179"/>
                    <a:gd name="connsiteY43" fmla="*/ 2125717 h 3498714"/>
                    <a:gd name="connsiteX44" fmla="*/ 649574 w 4818179"/>
                    <a:gd name="connsiteY44" fmla="*/ 3337652 h 3498714"/>
                    <a:gd name="connsiteX45" fmla="*/ 488511 w 4818179"/>
                    <a:gd name="connsiteY45" fmla="*/ 3498714 h 3498714"/>
                    <a:gd name="connsiteX46" fmla="*/ 327450 w 4818179"/>
                    <a:gd name="connsiteY46" fmla="*/ 3337652 h 3498714"/>
                    <a:gd name="connsiteX47" fmla="*/ 327450 w 4818179"/>
                    <a:gd name="connsiteY47" fmla="*/ 1458216 h 3498714"/>
                    <a:gd name="connsiteX48" fmla="*/ 322427 w 4818179"/>
                    <a:gd name="connsiteY48" fmla="*/ 1098205 h 3498714"/>
                    <a:gd name="connsiteX49" fmla="*/ 317058 w 4818179"/>
                    <a:gd name="connsiteY49" fmla="*/ 1092836 h 3498714"/>
                    <a:gd name="connsiteX50" fmla="*/ 263371 w 4818179"/>
                    <a:gd name="connsiteY50" fmla="*/ 1092836 h 3498714"/>
                    <a:gd name="connsiteX51" fmla="*/ 258001 w 4818179"/>
                    <a:gd name="connsiteY51" fmla="*/ 1098205 h 3498714"/>
                    <a:gd name="connsiteX52" fmla="*/ 258001 w 4818179"/>
                    <a:gd name="connsiteY52" fmla="*/ 1444446 h 3498714"/>
                    <a:gd name="connsiteX53" fmla="*/ 257700 w 4818179"/>
                    <a:gd name="connsiteY53" fmla="*/ 1444370 h 3498714"/>
                    <a:gd name="connsiteX54" fmla="*/ 257700 w 4818179"/>
                    <a:gd name="connsiteY54" fmla="*/ 1912573 h 3498714"/>
                    <a:gd name="connsiteX55" fmla="*/ 128850 w 4818179"/>
                    <a:gd name="connsiteY55" fmla="*/ 2041423 h 3498714"/>
                    <a:gd name="connsiteX56" fmla="*/ 0 w 4818179"/>
                    <a:gd name="connsiteY56" fmla="*/ 1912573 h 3498714"/>
                    <a:gd name="connsiteX57" fmla="*/ 0 w 4818179"/>
                    <a:gd name="connsiteY57" fmla="*/ 1101802 h 3498714"/>
                    <a:gd name="connsiteX58" fmla="*/ 0 w 4818179"/>
                    <a:gd name="connsiteY58" fmla="*/ 1003338 h 3498714"/>
                    <a:gd name="connsiteX59" fmla="*/ 0 w 4818179"/>
                    <a:gd name="connsiteY59" fmla="*/ 982486 h 3498714"/>
                    <a:gd name="connsiteX60" fmla="*/ 12733 w 4818179"/>
                    <a:gd name="connsiteY60" fmla="*/ 894663 h 3498714"/>
                    <a:gd name="connsiteX61" fmla="*/ 20539 w 4818179"/>
                    <a:gd name="connsiteY61" fmla="*/ 868773 h 3498714"/>
                    <a:gd name="connsiteX62" fmla="*/ 358791 w 4818179"/>
                    <a:gd name="connsiteY62" fmla="*/ 644545 h 3498714"/>
                    <a:gd name="connsiteX63" fmla="*/ 682782 w 4818179"/>
                    <a:gd name="connsiteY63" fmla="*/ 0 h 3498714"/>
                    <a:gd name="connsiteX64" fmla="*/ 966919 w 4818179"/>
                    <a:gd name="connsiteY64" fmla="*/ 284138 h 3498714"/>
                    <a:gd name="connsiteX65" fmla="*/ 682782 w 4818179"/>
                    <a:gd name="connsiteY65" fmla="*/ 568275 h 3498714"/>
                    <a:gd name="connsiteX66" fmla="*/ 398645 w 4818179"/>
                    <a:gd name="connsiteY66" fmla="*/ 284138 h 3498714"/>
                    <a:gd name="connsiteX67" fmla="*/ 682782 w 4818179"/>
                    <a:gd name="connsiteY67" fmla="*/ 0 h 3498714"/>
                    <a:gd name="connsiteX68" fmla="*/ 4707054 w 4818179"/>
                    <a:gd name="connsiteY68" fmla="*/ 2902312 h 3498714"/>
                    <a:gd name="connsiteX69" fmla="*/ 4818179 w 4818179"/>
                    <a:gd name="connsiteY69" fmla="*/ 3013437 h 3498714"/>
                    <a:gd name="connsiteX70" fmla="*/ 4707054 w 4818179"/>
                    <a:gd name="connsiteY70" fmla="*/ 3124562 h 3498714"/>
                    <a:gd name="connsiteX71" fmla="*/ 4545125 w 4818179"/>
                    <a:gd name="connsiteY71" fmla="*/ 3124562 h 3498714"/>
                    <a:gd name="connsiteX72" fmla="*/ 4545125 w 4818179"/>
                    <a:gd name="connsiteY72" fmla="*/ 3361625 h 3498714"/>
                    <a:gd name="connsiteX73" fmla="*/ 4436113 w 4818179"/>
                    <a:gd name="connsiteY73" fmla="*/ 3470637 h 3498714"/>
                    <a:gd name="connsiteX74" fmla="*/ 4235039 w 4818179"/>
                    <a:gd name="connsiteY74" fmla="*/ 3470637 h 3498714"/>
                    <a:gd name="connsiteX75" fmla="*/ 4126027 w 4818179"/>
                    <a:gd name="connsiteY75" fmla="*/ 3361625 h 3498714"/>
                    <a:gd name="connsiteX76" fmla="*/ 4126027 w 4818179"/>
                    <a:gd name="connsiteY76" fmla="*/ 3124562 h 3498714"/>
                    <a:gd name="connsiteX77" fmla="*/ 2589325 w 4818179"/>
                    <a:gd name="connsiteY77" fmla="*/ 3124562 h 3498714"/>
                    <a:gd name="connsiteX78" fmla="*/ 2589325 w 4818179"/>
                    <a:gd name="connsiteY78" fmla="*/ 3361625 h 3498714"/>
                    <a:gd name="connsiteX79" fmla="*/ 2480313 w 4818179"/>
                    <a:gd name="connsiteY79" fmla="*/ 3470637 h 3498714"/>
                    <a:gd name="connsiteX80" fmla="*/ 2279239 w 4818179"/>
                    <a:gd name="connsiteY80" fmla="*/ 3470637 h 3498714"/>
                    <a:gd name="connsiteX81" fmla="*/ 2170227 w 4818179"/>
                    <a:gd name="connsiteY81" fmla="*/ 3361625 h 3498714"/>
                    <a:gd name="connsiteX82" fmla="*/ 2170227 w 4818179"/>
                    <a:gd name="connsiteY82" fmla="*/ 3124562 h 3498714"/>
                    <a:gd name="connsiteX83" fmla="*/ 2052754 w 4818179"/>
                    <a:gd name="connsiteY83" fmla="*/ 3124562 h 3498714"/>
                    <a:gd name="connsiteX84" fmla="*/ 1941629 w 4818179"/>
                    <a:gd name="connsiteY84" fmla="*/ 3013437 h 3498714"/>
                    <a:gd name="connsiteX85" fmla="*/ 2052754 w 4818179"/>
                    <a:gd name="connsiteY85" fmla="*/ 2902312 h 3498714"/>
                    <a:gd name="connsiteX86" fmla="*/ 682782 w 4818179"/>
                    <a:gd name="connsiteY86" fmla="*/ 0 h 3498714"/>
                    <a:gd name="connsiteX0" fmla="*/ 2979061 w 4818179"/>
                    <a:gd name="connsiteY0" fmla="*/ 2089512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3775986 w 4818179"/>
                    <a:gd name="connsiteY4" fmla="*/ 2089512 h 3498714"/>
                    <a:gd name="connsiteX5" fmla="*/ 2979061 w 4818179"/>
                    <a:gd name="connsiteY5" fmla="*/ 2089512 h 3498714"/>
                    <a:gd name="connsiteX6" fmla="*/ 2251033 w 4818179"/>
                    <a:gd name="connsiteY6" fmla="*/ 2089512 h 3498714"/>
                    <a:gd name="connsiteX7" fmla="*/ 2070058 w 4818179"/>
                    <a:gd name="connsiteY7" fmla="*/ 2270487 h 3498714"/>
                    <a:gd name="connsiteX8" fmla="*/ 2251033 w 4818179"/>
                    <a:gd name="connsiteY8" fmla="*/ 2451462 h 3498714"/>
                    <a:gd name="connsiteX9" fmla="*/ 2432008 w 4818179"/>
                    <a:gd name="connsiteY9" fmla="*/ 2270487 h 3498714"/>
                    <a:gd name="connsiteX10" fmla="*/ 2251033 w 4818179"/>
                    <a:gd name="connsiteY10" fmla="*/ 2089512 h 3498714"/>
                    <a:gd name="connsiteX11" fmla="*/ 2842751 w 4818179"/>
                    <a:gd name="connsiteY11" fmla="*/ 1749356 h 3498714"/>
                    <a:gd name="connsiteX12" fmla="*/ 2392797 w 4818179"/>
                    <a:gd name="connsiteY12" fmla="*/ 1878907 h 3498714"/>
                    <a:gd name="connsiteX13" fmla="*/ 2478781 w 4818179"/>
                    <a:gd name="connsiteY13" fmla="*/ 1920808 h 3498714"/>
                    <a:gd name="connsiteX14" fmla="*/ 2842751 w 4818179"/>
                    <a:gd name="connsiteY14" fmla="*/ 1749356 h 3498714"/>
                    <a:gd name="connsiteX15" fmla="*/ 2534724 w 4818179"/>
                    <a:gd name="connsiteY15" fmla="*/ 982297 h 3498714"/>
                    <a:gd name="connsiteX16" fmla="*/ 1970999 w 4818179"/>
                    <a:gd name="connsiteY16" fmla="*/ 2826112 h 3498714"/>
                    <a:gd name="connsiteX17" fmla="*/ 1850348 w 4818179"/>
                    <a:gd name="connsiteY17" fmla="*/ 2705462 h 3498714"/>
                    <a:gd name="connsiteX18" fmla="*/ 1956769 w 4818179"/>
                    <a:gd name="connsiteY18" fmla="*/ 2587684 h 3498714"/>
                    <a:gd name="connsiteX19" fmla="*/ 1823360 w 4818179"/>
                    <a:gd name="connsiteY19" fmla="*/ 2279217 h 3498714"/>
                    <a:gd name="connsiteX20" fmla="*/ 2217440 w 4818179"/>
                    <a:gd name="connsiteY20" fmla="*/ 1856216 h 3498714"/>
                    <a:gd name="connsiteX21" fmla="*/ 2534724 w 4818179"/>
                    <a:gd name="connsiteY21" fmla="*/ 982297 h 3498714"/>
                    <a:gd name="connsiteX22" fmla="*/ 358791 w 4818179"/>
                    <a:gd name="connsiteY22" fmla="*/ 644545 h 3498714"/>
                    <a:gd name="connsiteX23" fmla="*/ 1006774 w 4818179"/>
                    <a:gd name="connsiteY23" fmla="*/ 644545 h 3498714"/>
                    <a:gd name="connsiteX24" fmla="*/ 1542636 w 4818179"/>
                    <a:gd name="connsiteY24" fmla="*/ 1193969 h 3498714"/>
                    <a:gd name="connsiteX25" fmla="*/ 1929878 w 4818179"/>
                    <a:gd name="connsiteY25" fmla="*/ 1193970 h 3498714"/>
                    <a:gd name="connsiteX26" fmla="*/ 2070059 w 4818179"/>
                    <a:gd name="connsiteY26" fmla="*/ 1334152 h 3498714"/>
                    <a:gd name="connsiteX27" fmla="*/ 1929878 w 4818179"/>
                    <a:gd name="connsiteY27" fmla="*/ 1474333 h 3498714"/>
                    <a:gd name="connsiteX28" fmla="*/ 1520943 w 4818179"/>
                    <a:gd name="connsiteY28" fmla="*/ 1470388 h 3498714"/>
                    <a:gd name="connsiteX29" fmla="*/ 1332825 w 4818179"/>
                    <a:gd name="connsiteY29" fmla="*/ 1367201 h 3498714"/>
                    <a:gd name="connsiteX30" fmla="*/ 1106501 w 4818179"/>
                    <a:gd name="connsiteY30" fmla="*/ 1098289 h 3498714"/>
                    <a:gd name="connsiteX31" fmla="*/ 1101049 w 4818179"/>
                    <a:gd name="connsiteY31" fmla="*/ 1092836 h 3498714"/>
                    <a:gd name="connsiteX32" fmla="*/ 1046523 w 4818179"/>
                    <a:gd name="connsiteY32" fmla="*/ 1092836 h 3498714"/>
                    <a:gd name="connsiteX33" fmla="*/ 1041071 w 4818179"/>
                    <a:gd name="connsiteY33" fmla="*/ 1098289 h 3498714"/>
                    <a:gd name="connsiteX34" fmla="*/ 1042136 w 4818179"/>
                    <a:gd name="connsiteY34" fmla="*/ 1419754 h 3498714"/>
                    <a:gd name="connsiteX35" fmla="*/ 1042136 w 4818179"/>
                    <a:gd name="connsiteY35" fmla="*/ 3337652 h 3498714"/>
                    <a:gd name="connsiteX36" fmla="*/ 881075 w 4818179"/>
                    <a:gd name="connsiteY36" fmla="*/ 3498714 h 3498714"/>
                    <a:gd name="connsiteX37" fmla="*/ 720012 w 4818179"/>
                    <a:gd name="connsiteY37" fmla="*/ 3337652 h 3498714"/>
                    <a:gd name="connsiteX38" fmla="*/ 720012 w 4818179"/>
                    <a:gd name="connsiteY38" fmla="*/ 2125717 h 3498714"/>
                    <a:gd name="connsiteX39" fmla="*/ 718947 w 4818179"/>
                    <a:gd name="connsiteY39" fmla="*/ 2033194 h 3498714"/>
                    <a:gd name="connsiteX40" fmla="*/ 714162 w 4818179"/>
                    <a:gd name="connsiteY40" fmla="*/ 2028410 h 3498714"/>
                    <a:gd name="connsiteX41" fmla="*/ 654759 w 4818179"/>
                    <a:gd name="connsiteY41" fmla="*/ 2028410 h 3498714"/>
                    <a:gd name="connsiteX42" fmla="*/ 649974 w 4818179"/>
                    <a:gd name="connsiteY42" fmla="*/ 2033194 h 3498714"/>
                    <a:gd name="connsiteX43" fmla="*/ 649974 w 4818179"/>
                    <a:gd name="connsiteY43" fmla="*/ 2125717 h 3498714"/>
                    <a:gd name="connsiteX44" fmla="*/ 649574 w 4818179"/>
                    <a:gd name="connsiteY44" fmla="*/ 3337652 h 3498714"/>
                    <a:gd name="connsiteX45" fmla="*/ 488511 w 4818179"/>
                    <a:gd name="connsiteY45" fmla="*/ 3498714 h 3498714"/>
                    <a:gd name="connsiteX46" fmla="*/ 327450 w 4818179"/>
                    <a:gd name="connsiteY46" fmla="*/ 3337652 h 3498714"/>
                    <a:gd name="connsiteX47" fmla="*/ 327450 w 4818179"/>
                    <a:gd name="connsiteY47" fmla="*/ 1458216 h 3498714"/>
                    <a:gd name="connsiteX48" fmla="*/ 322427 w 4818179"/>
                    <a:gd name="connsiteY48" fmla="*/ 1098205 h 3498714"/>
                    <a:gd name="connsiteX49" fmla="*/ 317058 w 4818179"/>
                    <a:gd name="connsiteY49" fmla="*/ 1092836 h 3498714"/>
                    <a:gd name="connsiteX50" fmla="*/ 263371 w 4818179"/>
                    <a:gd name="connsiteY50" fmla="*/ 1092836 h 3498714"/>
                    <a:gd name="connsiteX51" fmla="*/ 258001 w 4818179"/>
                    <a:gd name="connsiteY51" fmla="*/ 1098205 h 3498714"/>
                    <a:gd name="connsiteX52" fmla="*/ 258001 w 4818179"/>
                    <a:gd name="connsiteY52" fmla="*/ 1444446 h 3498714"/>
                    <a:gd name="connsiteX53" fmla="*/ 257700 w 4818179"/>
                    <a:gd name="connsiteY53" fmla="*/ 1444370 h 3498714"/>
                    <a:gd name="connsiteX54" fmla="*/ 257700 w 4818179"/>
                    <a:gd name="connsiteY54" fmla="*/ 1912573 h 3498714"/>
                    <a:gd name="connsiteX55" fmla="*/ 128850 w 4818179"/>
                    <a:gd name="connsiteY55" fmla="*/ 2041423 h 3498714"/>
                    <a:gd name="connsiteX56" fmla="*/ 0 w 4818179"/>
                    <a:gd name="connsiteY56" fmla="*/ 1912573 h 3498714"/>
                    <a:gd name="connsiteX57" fmla="*/ 0 w 4818179"/>
                    <a:gd name="connsiteY57" fmla="*/ 1101802 h 3498714"/>
                    <a:gd name="connsiteX58" fmla="*/ 0 w 4818179"/>
                    <a:gd name="connsiteY58" fmla="*/ 1003338 h 3498714"/>
                    <a:gd name="connsiteX59" fmla="*/ 0 w 4818179"/>
                    <a:gd name="connsiteY59" fmla="*/ 982486 h 3498714"/>
                    <a:gd name="connsiteX60" fmla="*/ 12733 w 4818179"/>
                    <a:gd name="connsiteY60" fmla="*/ 894663 h 3498714"/>
                    <a:gd name="connsiteX61" fmla="*/ 20539 w 4818179"/>
                    <a:gd name="connsiteY61" fmla="*/ 868773 h 3498714"/>
                    <a:gd name="connsiteX62" fmla="*/ 358791 w 4818179"/>
                    <a:gd name="connsiteY62" fmla="*/ 644545 h 3498714"/>
                    <a:gd name="connsiteX63" fmla="*/ 682782 w 4818179"/>
                    <a:gd name="connsiteY63" fmla="*/ 0 h 3498714"/>
                    <a:gd name="connsiteX64" fmla="*/ 966919 w 4818179"/>
                    <a:gd name="connsiteY64" fmla="*/ 284138 h 3498714"/>
                    <a:gd name="connsiteX65" fmla="*/ 682782 w 4818179"/>
                    <a:gd name="connsiteY65" fmla="*/ 568275 h 3498714"/>
                    <a:gd name="connsiteX66" fmla="*/ 398645 w 4818179"/>
                    <a:gd name="connsiteY66" fmla="*/ 284138 h 3498714"/>
                    <a:gd name="connsiteX67" fmla="*/ 682782 w 4818179"/>
                    <a:gd name="connsiteY67" fmla="*/ 0 h 3498714"/>
                    <a:gd name="connsiteX68" fmla="*/ 4707054 w 4818179"/>
                    <a:gd name="connsiteY68" fmla="*/ 2902312 h 3498714"/>
                    <a:gd name="connsiteX69" fmla="*/ 4818179 w 4818179"/>
                    <a:gd name="connsiteY69" fmla="*/ 3013437 h 3498714"/>
                    <a:gd name="connsiteX70" fmla="*/ 4707054 w 4818179"/>
                    <a:gd name="connsiteY70" fmla="*/ 3124562 h 3498714"/>
                    <a:gd name="connsiteX71" fmla="*/ 4545125 w 4818179"/>
                    <a:gd name="connsiteY71" fmla="*/ 3124562 h 3498714"/>
                    <a:gd name="connsiteX72" fmla="*/ 4545125 w 4818179"/>
                    <a:gd name="connsiteY72" fmla="*/ 3361625 h 3498714"/>
                    <a:gd name="connsiteX73" fmla="*/ 4436113 w 4818179"/>
                    <a:gd name="connsiteY73" fmla="*/ 3470637 h 3498714"/>
                    <a:gd name="connsiteX74" fmla="*/ 4235039 w 4818179"/>
                    <a:gd name="connsiteY74" fmla="*/ 3470637 h 3498714"/>
                    <a:gd name="connsiteX75" fmla="*/ 4126027 w 4818179"/>
                    <a:gd name="connsiteY75" fmla="*/ 3361625 h 3498714"/>
                    <a:gd name="connsiteX76" fmla="*/ 2589325 w 4818179"/>
                    <a:gd name="connsiteY76" fmla="*/ 3124562 h 3498714"/>
                    <a:gd name="connsiteX77" fmla="*/ 2589325 w 4818179"/>
                    <a:gd name="connsiteY77" fmla="*/ 3361625 h 3498714"/>
                    <a:gd name="connsiteX78" fmla="*/ 2480313 w 4818179"/>
                    <a:gd name="connsiteY78" fmla="*/ 3470637 h 3498714"/>
                    <a:gd name="connsiteX79" fmla="*/ 2279239 w 4818179"/>
                    <a:gd name="connsiteY79" fmla="*/ 3470637 h 3498714"/>
                    <a:gd name="connsiteX80" fmla="*/ 2170227 w 4818179"/>
                    <a:gd name="connsiteY80" fmla="*/ 3361625 h 3498714"/>
                    <a:gd name="connsiteX81" fmla="*/ 2170227 w 4818179"/>
                    <a:gd name="connsiteY81" fmla="*/ 3124562 h 3498714"/>
                    <a:gd name="connsiteX82" fmla="*/ 2052754 w 4818179"/>
                    <a:gd name="connsiteY82" fmla="*/ 3124562 h 3498714"/>
                    <a:gd name="connsiteX83" fmla="*/ 1941629 w 4818179"/>
                    <a:gd name="connsiteY83" fmla="*/ 3013437 h 3498714"/>
                    <a:gd name="connsiteX84" fmla="*/ 2052754 w 4818179"/>
                    <a:gd name="connsiteY84" fmla="*/ 2902312 h 3498714"/>
                    <a:gd name="connsiteX85" fmla="*/ 682782 w 4818179"/>
                    <a:gd name="connsiteY85" fmla="*/ 0 h 3498714"/>
                    <a:gd name="connsiteX0" fmla="*/ 2979061 w 4818179"/>
                    <a:gd name="connsiteY0" fmla="*/ 2089512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3775986 w 4818179"/>
                    <a:gd name="connsiteY4" fmla="*/ 2089512 h 3498714"/>
                    <a:gd name="connsiteX5" fmla="*/ 2979061 w 4818179"/>
                    <a:gd name="connsiteY5" fmla="*/ 2089512 h 3498714"/>
                    <a:gd name="connsiteX6" fmla="*/ 2251033 w 4818179"/>
                    <a:gd name="connsiteY6" fmla="*/ 2089512 h 3498714"/>
                    <a:gd name="connsiteX7" fmla="*/ 2070058 w 4818179"/>
                    <a:gd name="connsiteY7" fmla="*/ 2270487 h 3498714"/>
                    <a:gd name="connsiteX8" fmla="*/ 2251033 w 4818179"/>
                    <a:gd name="connsiteY8" fmla="*/ 2451462 h 3498714"/>
                    <a:gd name="connsiteX9" fmla="*/ 2432008 w 4818179"/>
                    <a:gd name="connsiteY9" fmla="*/ 2270487 h 3498714"/>
                    <a:gd name="connsiteX10" fmla="*/ 2251033 w 4818179"/>
                    <a:gd name="connsiteY10" fmla="*/ 2089512 h 3498714"/>
                    <a:gd name="connsiteX11" fmla="*/ 2842751 w 4818179"/>
                    <a:gd name="connsiteY11" fmla="*/ 1749356 h 3498714"/>
                    <a:gd name="connsiteX12" fmla="*/ 2392797 w 4818179"/>
                    <a:gd name="connsiteY12" fmla="*/ 1878907 h 3498714"/>
                    <a:gd name="connsiteX13" fmla="*/ 2478781 w 4818179"/>
                    <a:gd name="connsiteY13" fmla="*/ 1920808 h 3498714"/>
                    <a:gd name="connsiteX14" fmla="*/ 2842751 w 4818179"/>
                    <a:gd name="connsiteY14" fmla="*/ 1749356 h 3498714"/>
                    <a:gd name="connsiteX15" fmla="*/ 2534724 w 4818179"/>
                    <a:gd name="connsiteY15" fmla="*/ 982297 h 3498714"/>
                    <a:gd name="connsiteX16" fmla="*/ 1970999 w 4818179"/>
                    <a:gd name="connsiteY16" fmla="*/ 2826112 h 3498714"/>
                    <a:gd name="connsiteX17" fmla="*/ 1850348 w 4818179"/>
                    <a:gd name="connsiteY17" fmla="*/ 2705462 h 3498714"/>
                    <a:gd name="connsiteX18" fmla="*/ 1956769 w 4818179"/>
                    <a:gd name="connsiteY18" fmla="*/ 2587684 h 3498714"/>
                    <a:gd name="connsiteX19" fmla="*/ 1823360 w 4818179"/>
                    <a:gd name="connsiteY19" fmla="*/ 2279217 h 3498714"/>
                    <a:gd name="connsiteX20" fmla="*/ 2217440 w 4818179"/>
                    <a:gd name="connsiteY20" fmla="*/ 1856216 h 3498714"/>
                    <a:gd name="connsiteX21" fmla="*/ 2534724 w 4818179"/>
                    <a:gd name="connsiteY21" fmla="*/ 982297 h 3498714"/>
                    <a:gd name="connsiteX22" fmla="*/ 358791 w 4818179"/>
                    <a:gd name="connsiteY22" fmla="*/ 644545 h 3498714"/>
                    <a:gd name="connsiteX23" fmla="*/ 1006774 w 4818179"/>
                    <a:gd name="connsiteY23" fmla="*/ 644545 h 3498714"/>
                    <a:gd name="connsiteX24" fmla="*/ 1542636 w 4818179"/>
                    <a:gd name="connsiteY24" fmla="*/ 1193969 h 3498714"/>
                    <a:gd name="connsiteX25" fmla="*/ 1929878 w 4818179"/>
                    <a:gd name="connsiteY25" fmla="*/ 1193970 h 3498714"/>
                    <a:gd name="connsiteX26" fmla="*/ 2070059 w 4818179"/>
                    <a:gd name="connsiteY26" fmla="*/ 1334152 h 3498714"/>
                    <a:gd name="connsiteX27" fmla="*/ 1929878 w 4818179"/>
                    <a:gd name="connsiteY27" fmla="*/ 1474333 h 3498714"/>
                    <a:gd name="connsiteX28" fmla="*/ 1520943 w 4818179"/>
                    <a:gd name="connsiteY28" fmla="*/ 1470388 h 3498714"/>
                    <a:gd name="connsiteX29" fmla="*/ 1332825 w 4818179"/>
                    <a:gd name="connsiteY29" fmla="*/ 1367201 h 3498714"/>
                    <a:gd name="connsiteX30" fmla="*/ 1106501 w 4818179"/>
                    <a:gd name="connsiteY30" fmla="*/ 1098289 h 3498714"/>
                    <a:gd name="connsiteX31" fmla="*/ 1101049 w 4818179"/>
                    <a:gd name="connsiteY31" fmla="*/ 1092836 h 3498714"/>
                    <a:gd name="connsiteX32" fmla="*/ 1046523 w 4818179"/>
                    <a:gd name="connsiteY32" fmla="*/ 1092836 h 3498714"/>
                    <a:gd name="connsiteX33" fmla="*/ 1041071 w 4818179"/>
                    <a:gd name="connsiteY33" fmla="*/ 1098289 h 3498714"/>
                    <a:gd name="connsiteX34" fmla="*/ 1042136 w 4818179"/>
                    <a:gd name="connsiteY34" fmla="*/ 1419754 h 3498714"/>
                    <a:gd name="connsiteX35" fmla="*/ 1042136 w 4818179"/>
                    <a:gd name="connsiteY35" fmla="*/ 3337652 h 3498714"/>
                    <a:gd name="connsiteX36" fmla="*/ 881075 w 4818179"/>
                    <a:gd name="connsiteY36" fmla="*/ 3498714 h 3498714"/>
                    <a:gd name="connsiteX37" fmla="*/ 720012 w 4818179"/>
                    <a:gd name="connsiteY37" fmla="*/ 3337652 h 3498714"/>
                    <a:gd name="connsiteX38" fmla="*/ 720012 w 4818179"/>
                    <a:gd name="connsiteY38" fmla="*/ 2125717 h 3498714"/>
                    <a:gd name="connsiteX39" fmla="*/ 718947 w 4818179"/>
                    <a:gd name="connsiteY39" fmla="*/ 2033194 h 3498714"/>
                    <a:gd name="connsiteX40" fmla="*/ 714162 w 4818179"/>
                    <a:gd name="connsiteY40" fmla="*/ 2028410 h 3498714"/>
                    <a:gd name="connsiteX41" fmla="*/ 654759 w 4818179"/>
                    <a:gd name="connsiteY41" fmla="*/ 2028410 h 3498714"/>
                    <a:gd name="connsiteX42" fmla="*/ 649974 w 4818179"/>
                    <a:gd name="connsiteY42" fmla="*/ 2033194 h 3498714"/>
                    <a:gd name="connsiteX43" fmla="*/ 649974 w 4818179"/>
                    <a:gd name="connsiteY43" fmla="*/ 2125717 h 3498714"/>
                    <a:gd name="connsiteX44" fmla="*/ 649574 w 4818179"/>
                    <a:gd name="connsiteY44" fmla="*/ 3337652 h 3498714"/>
                    <a:gd name="connsiteX45" fmla="*/ 488511 w 4818179"/>
                    <a:gd name="connsiteY45" fmla="*/ 3498714 h 3498714"/>
                    <a:gd name="connsiteX46" fmla="*/ 327450 w 4818179"/>
                    <a:gd name="connsiteY46" fmla="*/ 3337652 h 3498714"/>
                    <a:gd name="connsiteX47" fmla="*/ 327450 w 4818179"/>
                    <a:gd name="connsiteY47" fmla="*/ 1458216 h 3498714"/>
                    <a:gd name="connsiteX48" fmla="*/ 322427 w 4818179"/>
                    <a:gd name="connsiteY48" fmla="*/ 1098205 h 3498714"/>
                    <a:gd name="connsiteX49" fmla="*/ 317058 w 4818179"/>
                    <a:gd name="connsiteY49" fmla="*/ 1092836 h 3498714"/>
                    <a:gd name="connsiteX50" fmla="*/ 263371 w 4818179"/>
                    <a:gd name="connsiteY50" fmla="*/ 1092836 h 3498714"/>
                    <a:gd name="connsiteX51" fmla="*/ 258001 w 4818179"/>
                    <a:gd name="connsiteY51" fmla="*/ 1098205 h 3498714"/>
                    <a:gd name="connsiteX52" fmla="*/ 258001 w 4818179"/>
                    <a:gd name="connsiteY52" fmla="*/ 1444446 h 3498714"/>
                    <a:gd name="connsiteX53" fmla="*/ 257700 w 4818179"/>
                    <a:gd name="connsiteY53" fmla="*/ 1444370 h 3498714"/>
                    <a:gd name="connsiteX54" fmla="*/ 257700 w 4818179"/>
                    <a:gd name="connsiteY54" fmla="*/ 1912573 h 3498714"/>
                    <a:gd name="connsiteX55" fmla="*/ 128850 w 4818179"/>
                    <a:gd name="connsiteY55" fmla="*/ 2041423 h 3498714"/>
                    <a:gd name="connsiteX56" fmla="*/ 0 w 4818179"/>
                    <a:gd name="connsiteY56" fmla="*/ 1912573 h 3498714"/>
                    <a:gd name="connsiteX57" fmla="*/ 0 w 4818179"/>
                    <a:gd name="connsiteY57" fmla="*/ 1101802 h 3498714"/>
                    <a:gd name="connsiteX58" fmla="*/ 0 w 4818179"/>
                    <a:gd name="connsiteY58" fmla="*/ 1003338 h 3498714"/>
                    <a:gd name="connsiteX59" fmla="*/ 0 w 4818179"/>
                    <a:gd name="connsiteY59" fmla="*/ 982486 h 3498714"/>
                    <a:gd name="connsiteX60" fmla="*/ 12733 w 4818179"/>
                    <a:gd name="connsiteY60" fmla="*/ 894663 h 3498714"/>
                    <a:gd name="connsiteX61" fmla="*/ 20539 w 4818179"/>
                    <a:gd name="connsiteY61" fmla="*/ 868773 h 3498714"/>
                    <a:gd name="connsiteX62" fmla="*/ 358791 w 4818179"/>
                    <a:gd name="connsiteY62" fmla="*/ 644545 h 3498714"/>
                    <a:gd name="connsiteX63" fmla="*/ 682782 w 4818179"/>
                    <a:gd name="connsiteY63" fmla="*/ 0 h 3498714"/>
                    <a:gd name="connsiteX64" fmla="*/ 966919 w 4818179"/>
                    <a:gd name="connsiteY64" fmla="*/ 284138 h 3498714"/>
                    <a:gd name="connsiteX65" fmla="*/ 682782 w 4818179"/>
                    <a:gd name="connsiteY65" fmla="*/ 568275 h 3498714"/>
                    <a:gd name="connsiteX66" fmla="*/ 398645 w 4818179"/>
                    <a:gd name="connsiteY66" fmla="*/ 284138 h 3498714"/>
                    <a:gd name="connsiteX67" fmla="*/ 682782 w 4818179"/>
                    <a:gd name="connsiteY67" fmla="*/ 0 h 3498714"/>
                    <a:gd name="connsiteX68" fmla="*/ 4707054 w 4818179"/>
                    <a:gd name="connsiteY68" fmla="*/ 2902312 h 3498714"/>
                    <a:gd name="connsiteX69" fmla="*/ 4818179 w 4818179"/>
                    <a:gd name="connsiteY69" fmla="*/ 3013437 h 3498714"/>
                    <a:gd name="connsiteX70" fmla="*/ 4707054 w 4818179"/>
                    <a:gd name="connsiteY70" fmla="*/ 3124562 h 3498714"/>
                    <a:gd name="connsiteX71" fmla="*/ 4545125 w 4818179"/>
                    <a:gd name="connsiteY71" fmla="*/ 3124562 h 3498714"/>
                    <a:gd name="connsiteX72" fmla="*/ 4545125 w 4818179"/>
                    <a:gd name="connsiteY72" fmla="*/ 3361625 h 3498714"/>
                    <a:gd name="connsiteX73" fmla="*/ 4436113 w 4818179"/>
                    <a:gd name="connsiteY73" fmla="*/ 3470637 h 3498714"/>
                    <a:gd name="connsiteX74" fmla="*/ 4235039 w 4818179"/>
                    <a:gd name="connsiteY74" fmla="*/ 3470637 h 3498714"/>
                    <a:gd name="connsiteX75" fmla="*/ 2589325 w 4818179"/>
                    <a:gd name="connsiteY75" fmla="*/ 3124562 h 3498714"/>
                    <a:gd name="connsiteX76" fmla="*/ 2589325 w 4818179"/>
                    <a:gd name="connsiteY76" fmla="*/ 3361625 h 3498714"/>
                    <a:gd name="connsiteX77" fmla="*/ 2480313 w 4818179"/>
                    <a:gd name="connsiteY77" fmla="*/ 3470637 h 3498714"/>
                    <a:gd name="connsiteX78" fmla="*/ 2279239 w 4818179"/>
                    <a:gd name="connsiteY78" fmla="*/ 3470637 h 3498714"/>
                    <a:gd name="connsiteX79" fmla="*/ 2170227 w 4818179"/>
                    <a:gd name="connsiteY79" fmla="*/ 3361625 h 3498714"/>
                    <a:gd name="connsiteX80" fmla="*/ 2170227 w 4818179"/>
                    <a:gd name="connsiteY80" fmla="*/ 3124562 h 3498714"/>
                    <a:gd name="connsiteX81" fmla="*/ 2052754 w 4818179"/>
                    <a:gd name="connsiteY81" fmla="*/ 3124562 h 3498714"/>
                    <a:gd name="connsiteX82" fmla="*/ 1941629 w 4818179"/>
                    <a:gd name="connsiteY82" fmla="*/ 3013437 h 3498714"/>
                    <a:gd name="connsiteX83" fmla="*/ 2052754 w 4818179"/>
                    <a:gd name="connsiteY83" fmla="*/ 2902312 h 3498714"/>
                    <a:gd name="connsiteX84" fmla="*/ 682782 w 4818179"/>
                    <a:gd name="connsiteY84" fmla="*/ 0 h 3498714"/>
                    <a:gd name="connsiteX0" fmla="*/ 3775986 w 4818179"/>
                    <a:gd name="connsiteY0" fmla="*/ 2089512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3775986 w 4818179"/>
                    <a:gd name="connsiteY4" fmla="*/ 2089512 h 3498714"/>
                    <a:gd name="connsiteX5" fmla="*/ 2251033 w 4818179"/>
                    <a:gd name="connsiteY5" fmla="*/ 2089512 h 3498714"/>
                    <a:gd name="connsiteX6" fmla="*/ 2070058 w 4818179"/>
                    <a:gd name="connsiteY6" fmla="*/ 2270487 h 3498714"/>
                    <a:gd name="connsiteX7" fmla="*/ 2251033 w 4818179"/>
                    <a:gd name="connsiteY7" fmla="*/ 2451462 h 3498714"/>
                    <a:gd name="connsiteX8" fmla="*/ 2432008 w 4818179"/>
                    <a:gd name="connsiteY8" fmla="*/ 2270487 h 3498714"/>
                    <a:gd name="connsiteX9" fmla="*/ 2251033 w 4818179"/>
                    <a:gd name="connsiteY9" fmla="*/ 2089512 h 3498714"/>
                    <a:gd name="connsiteX10" fmla="*/ 2842751 w 4818179"/>
                    <a:gd name="connsiteY10" fmla="*/ 1749356 h 3498714"/>
                    <a:gd name="connsiteX11" fmla="*/ 2392797 w 4818179"/>
                    <a:gd name="connsiteY11" fmla="*/ 1878907 h 3498714"/>
                    <a:gd name="connsiteX12" fmla="*/ 2478781 w 4818179"/>
                    <a:gd name="connsiteY12" fmla="*/ 1920808 h 3498714"/>
                    <a:gd name="connsiteX13" fmla="*/ 2842751 w 4818179"/>
                    <a:gd name="connsiteY13" fmla="*/ 1749356 h 3498714"/>
                    <a:gd name="connsiteX14" fmla="*/ 2534724 w 4818179"/>
                    <a:gd name="connsiteY14" fmla="*/ 982297 h 3498714"/>
                    <a:gd name="connsiteX15" fmla="*/ 1970999 w 4818179"/>
                    <a:gd name="connsiteY15" fmla="*/ 2826112 h 3498714"/>
                    <a:gd name="connsiteX16" fmla="*/ 1850348 w 4818179"/>
                    <a:gd name="connsiteY16" fmla="*/ 2705462 h 3498714"/>
                    <a:gd name="connsiteX17" fmla="*/ 1956769 w 4818179"/>
                    <a:gd name="connsiteY17" fmla="*/ 2587684 h 3498714"/>
                    <a:gd name="connsiteX18" fmla="*/ 1823360 w 4818179"/>
                    <a:gd name="connsiteY18" fmla="*/ 2279217 h 3498714"/>
                    <a:gd name="connsiteX19" fmla="*/ 2217440 w 4818179"/>
                    <a:gd name="connsiteY19" fmla="*/ 1856216 h 3498714"/>
                    <a:gd name="connsiteX20" fmla="*/ 2534724 w 4818179"/>
                    <a:gd name="connsiteY20" fmla="*/ 982297 h 3498714"/>
                    <a:gd name="connsiteX21" fmla="*/ 358791 w 4818179"/>
                    <a:gd name="connsiteY21" fmla="*/ 644545 h 3498714"/>
                    <a:gd name="connsiteX22" fmla="*/ 1006774 w 4818179"/>
                    <a:gd name="connsiteY22" fmla="*/ 644545 h 3498714"/>
                    <a:gd name="connsiteX23" fmla="*/ 1542636 w 4818179"/>
                    <a:gd name="connsiteY23" fmla="*/ 1193969 h 3498714"/>
                    <a:gd name="connsiteX24" fmla="*/ 1929878 w 4818179"/>
                    <a:gd name="connsiteY24" fmla="*/ 1193970 h 3498714"/>
                    <a:gd name="connsiteX25" fmla="*/ 2070059 w 4818179"/>
                    <a:gd name="connsiteY25" fmla="*/ 1334152 h 3498714"/>
                    <a:gd name="connsiteX26" fmla="*/ 1929878 w 4818179"/>
                    <a:gd name="connsiteY26" fmla="*/ 1474333 h 3498714"/>
                    <a:gd name="connsiteX27" fmla="*/ 1520943 w 4818179"/>
                    <a:gd name="connsiteY27" fmla="*/ 1470388 h 3498714"/>
                    <a:gd name="connsiteX28" fmla="*/ 1332825 w 4818179"/>
                    <a:gd name="connsiteY28" fmla="*/ 1367201 h 3498714"/>
                    <a:gd name="connsiteX29" fmla="*/ 1106501 w 4818179"/>
                    <a:gd name="connsiteY29" fmla="*/ 1098289 h 3498714"/>
                    <a:gd name="connsiteX30" fmla="*/ 1101049 w 4818179"/>
                    <a:gd name="connsiteY30" fmla="*/ 1092836 h 3498714"/>
                    <a:gd name="connsiteX31" fmla="*/ 1046523 w 4818179"/>
                    <a:gd name="connsiteY31" fmla="*/ 1092836 h 3498714"/>
                    <a:gd name="connsiteX32" fmla="*/ 1041071 w 4818179"/>
                    <a:gd name="connsiteY32" fmla="*/ 1098289 h 3498714"/>
                    <a:gd name="connsiteX33" fmla="*/ 1042136 w 4818179"/>
                    <a:gd name="connsiteY33" fmla="*/ 1419754 h 3498714"/>
                    <a:gd name="connsiteX34" fmla="*/ 1042136 w 4818179"/>
                    <a:gd name="connsiteY34" fmla="*/ 3337652 h 3498714"/>
                    <a:gd name="connsiteX35" fmla="*/ 881075 w 4818179"/>
                    <a:gd name="connsiteY35" fmla="*/ 3498714 h 3498714"/>
                    <a:gd name="connsiteX36" fmla="*/ 720012 w 4818179"/>
                    <a:gd name="connsiteY36" fmla="*/ 3337652 h 3498714"/>
                    <a:gd name="connsiteX37" fmla="*/ 720012 w 4818179"/>
                    <a:gd name="connsiteY37" fmla="*/ 2125717 h 3498714"/>
                    <a:gd name="connsiteX38" fmla="*/ 718947 w 4818179"/>
                    <a:gd name="connsiteY38" fmla="*/ 2033194 h 3498714"/>
                    <a:gd name="connsiteX39" fmla="*/ 714162 w 4818179"/>
                    <a:gd name="connsiteY39" fmla="*/ 2028410 h 3498714"/>
                    <a:gd name="connsiteX40" fmla="*/ 654759 w 4818179"/>
                    <a:gd name="connsiteY40" fmla="*/ 2028410 h 3498714"/>
                    <a:gd name="connsiteX41" fmla="*/ 649974 w 4818179"/>
                    <a:gd name="connsiteY41" fmla="*/ 2033194 h 3498714"/>
                    <a:gd name="connsiteX42" fmla="*/ 649974 w 4818179"/>
                    <a:gd name="connsiteY42" fmla="*/ 2125717 h 3498714"/>
                    <a:gd name="connsiteX43" fmla="*/ 649574 w 4818179"/>
                    <a:gd name="connsiteY43" fmla="*/ 3337652 h 3498714"/>
                    <a:gd name="connsiteX44" fmla="*/ 488511 w 4818179"/>
                    <a:gd name="connsiteY44" fmla="*/ 3498714 h 3498714"/>
                    <a:gd name="connsiteX45" fmla="*/ 327450 w 4818179"/>
                    <a:gd name="connsiteY45" fmla="*/ 3337652 h 3498714"/>
                    <a:gd name="connsiteX46" fmla="*/ 327450 w 4818179"/>
                    <a:gd name="connsiteY46" fmla="*/ 1458216 h 3498714"/>
                    <a:gd name="connsiteX47" fmla="*/ 322427 w 4818179"/>
                    <a:gd name="connsiteY47" fmla="*/ 1098205 h 3498714"/>
                    <a:gd name="connsiteX48" fmla="*/ 317058 w 4818179"/>
                    <a:gd name="connsiteY48" fmla="*/ 1092836 h 3498714"/>
                    <a:gd name="connsiteX49" fmla="*/ 263371 w 4818179"/>
                    <a:gd name="connsiteY49" fmla="*/ 1092836 h 3498714"/>
                    <a:gd name="connsiteX50" fmla="*/ 258001 w 4818179"/>
                    <a:gd name="connsiteY50" fmla="*/ 1098205 h 3498714"/>
                    <a:gd name="connsiteX51" fmla="*/ 258001 w 4818179"/>
                    <a:gd name="connsiteY51" fmla="*/ 1444446 h 3498714"/>
                    <a:gd name="connsiteX52" fmla="*/ 257700 w 4818179"/>
                    <a:gd name="connsiteY52" fmla="*/ 1444370 h 3498714"/>
                    <a:gd name="connsiteX53" fmla="*/ 257700 w 4818179"/>
                    <a:gd name="connsiteY53" fmla="*/ 1912573 h 3498714"/>
                    <a:gd name="connsiteX54" fmla="*/ 128850 w 4818179"/>
                    <a:gd name="connsiteY54" fmla="*/ 2041423 h 3498714"/>
                    <a:gd name="connsiteX55" fmla="*/ 0 w 4818179"/>
                    <a:gd name="connsiteY55" fmla="*/ 1912573 h 3498714"/>
                    <a:gd name="connsiteX56" fmla="*/ 0 w 4818179"/>
                    <a:gd name="connsiteY56" fmla="*/ 1101802 h 3498714"/>
                    <a:gd name="connsiteX57" fmla="*/ 0 w 4818179"/>
                    <a:gd name="connsiteY57" fmla="*/ 1003338 h 3498714"/>
                    <a:gd name="connsiteX58" fmla="*/ 0 w 4818179"/>
                    <a:gd name="connsiteY58" fmla="*/ 982486 h 3498714"/>
                    <a:gd name="connsiteX59" fmla="*/ 12733 w 4818179"/>
                    <a:gd name="connsiteY59" fmla="*/ 894663 h 3498714"/>
                    <a:gd name="connsiteX60" fmla="*/ 20539 w 4818179"/>
                    <a:gd name="connsiteY60" fmla="*/ 868773 h 3498714"/>
                    <a:gd name="connsiteX61" fmla="*/ 358791 w 4818179"/>
                    <a:gd name="connsiteY61" fmla="*/ 644545 h 3498714"/>
                    <a:gd name="connsiteX62" fmla="*/ 682782 w 4818179"/>
                    <a:gd name="connsiteY62" fmla="*/ 0 h 3498714"/>
                    <a:gd name="connsiteX63" fmla="*/ 966919 w 4818179"/>
                    <a:gd name="connsiteY63" fmla="*/ 284138 h 3498714"/>
                    <a:gd name="connsiteX64" fmla="*/ 682782 w 4818179"/>
                    <a:gd name="connsiteY64" fmla="*/ 568275 h 3498714"/>
                    <a:gd name="connsiteX65" fmla="*/ 398645 w 4818179"/>
                    <a:gd name="connsiteY65" fmla="*/ 284138 h 3498714"/>
                    <a:gd name="connsiteX66" fmla="*/ 682782 w 4818179"/>
                    <a:gd name="connsiteY66" fmla="*/ 0 h 3498714"/>
                    <a:gd name="connsiteX67" fmla="*/ 4707054 w 4818179"/>
                    <a:gd name="connsiteY67" fmla="*/ 2902312 h 3498714"/>
                    <a:gd name="connsiteX68" fmla="*/ 4818179 w 4818179"/>
                    <a:gd name="connsiteY68" fmla="*/ 3013437 h 3498714"/>
                    <a:gd name="connsiteX69" fmla="*/ 4707054 w 4818179"/>
                    <a:gd name="connsiteY69" fmla="*/ 3124562 h 3498714"/>
                    <a:gd name="connsiteX70" fmla="*/ 4545125 w 4818179"/>
                    <a:gd name="connsiteY70" fmla="*/ 3124562 h 3498714"/>
                    <a:gd name="connsiteX71" fmla="*/ 4545125 w 4818179"/>
                    <a:gd name="connsiteY71" fmla="*/ 3361625 h 3498714"/>
                    <a:gd name="connsiteX72" fmla="*/ 4436113 w 4818179"/>
                    <a:gd name="connsiteY72" fmla="*/ 3470637 h 3498714"/>
                    <a:gd name="connsiteX73" fmla="*/ 4235039 w 4818179"/>
                    <a:gd name="connsiteY73" fmla="*/ 3470637 h 3498714"/>
                    <a:gd name="connsiteX74" fmla="*/ 2589325 w 4818179"/>
                    <a:gd name="connsiteY74" fmla="*/ 3124562 h 3498714"/>
                    <a:gd name="connsiteX75" fmla="*/ 2589325 w 4818179"/>
                    <a:gd name="connsiteY75" fmla="*/ 3361625 h 3498714"/>
                    <a:gd name="connsiteX76" fmla="*/ 2480313 w 4818179"/>
                    <a:gd name="connsiteY76" fmla="*/ 3470637 h 3498714"/>
                    <a:gd name="connsiteX77" fmla="*/ 2279239 w 4818179"/>
                    <a:gd name="connsiteY77" fmla="*/ 3470637 h 3498714"/>
                    <a:gd name="connsiteX78" fmla="*/ 2170227 w 4818179"/>
                    <a:gd name="connsiteY78" fmla="*/ 3361625 h 3498714"/>
                    <a:gd name="connsiteX79" fmla="*/ 2170227 w 4818179"/>
                    <a:gd name="connsiteY79" fmla="*/ 3124562 h 3498714"/>
                    <a:gd name="connsiteX80" fmla="*/ 2052754 w 4818179"/>
                    <a:gd name="connsiteY80" fmla="*/ 3124562 h 3498714"/>
                    <a:gd name="connsiteX81" fmla="*/ 1941629 w 4818179"/>
                    <a:gd name="connsiteY81" fmla="*/ 3013437 h 3498714"/>
                    <a:gd name="connsiteX82" fmla="*/ 2052754 w 4818179"/>
                    <a:gd name="connsiteY82" fmla="*/ 2902312 h 3498714"/>
                    <a:gd name="connsiteX83" fmla="*/ 682782 w 4818179"/>
                    <a:gd name="connsiteY83" fmla="*/ 0 h 3498714"/>
                    <a:gd name="connsiteX0" fmla="*/ 4083961 w 4818179"/>
                    <a:gd name="connsiteY0" fmla="*/ 2584811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2251033 w 4818179"/>
                    <a:gd name="connsiteY4" fmla="*/ 2089512 h 3498714"/>
                    <a:gd name="connsiteX5" fmla="*/ 2070058 w 4818179"/>
                    <a:gd name="connsiteY5" fmla="*/ 2270487 h 3498714"/>
                    <a:gd name="connsiteX6" fmla="*/ 2251033 w 4818179"/>
                    <a:gd name="connsiteY6" fmla="*/ 2451462 h 3498714"/>
                    <a:gd name="connsiteX7" fmla="*/ 2432008 w 4818179"/>
                    <a:gd name="connsiteY7" fmla="*/ 2270487 h 3498714"/>
                    <a:gd name="connsiteX8" fmla="*/ 2251033 w 4818179"/>
                    <a:gd name="connsiteY8" fmla="*/ 2089512 h 3498714"/>
                    <a:gd name="connsiteX9" fmla="*/ 2842751 w 4818179"/>
                    <a:gd name="connsiteY9" fmla="*/ 1749356 h 3498714"/>
                    <a:gd name="connsiteX10" fmla="*/ 2392797 w 4818179"/>
                    <a:gd name="connsiteY10" fmla="*/ 1878907 h 3498714"/>
                    <a:gd name="connsiteX11" fmla="*/ 2478781 w 4818179"/>
                    <a:gd name="connsiteY11" fmla="*/ 1920808 h 3498714"/>
                    <a:gd name="connsiteX12" fmla="*/ 2842751 w 4818179"/>
                    <a:gd name="connsiteY12" fmla="*/ 1749356 h 3498714"/>
                    <a:gd name="connsiteX13" fmla="*/ 2534724 w 4818179"/>
                    <a:gd name="connsiteY13" fmla="*/ 982297 h 3498714"/>
                    <a:gd name="connsiteX14" fmla="*/ 1970999 w 4818179"/>
                    <a:gd name="connsiteY14" fmla="*/ 2826112 h 3498714"/>
                    <a:gd name="connsiteX15" fmla="*/ 1850348 w 4818179"/>
                    <a:gd name="connsiteY15" fmla="*/ 2705462 h 3498714"/>
                    <a:gd name="connsiteX16" fmla="*/ 1956769 w 4818179"/>
                    <a:gd name="connsiteY16" fmla="*/ 2587684 h 3498714"/>
                    <a:gd name="connsiteX17" fmla="*/ 1823360 w 4818179"/>
                    <a:gd name="connsiteY17" fmla="*/ 2279217 h 3498714"/>
                    <a:gd name="connsiteX18" fmla="*/ 2217440 w 4818179"/>
                    <a:gd name="connsiteY18" fmla="*/ 1856216 h 3498714"/>
                    <a:gd name="connsiteX19" fmla="*/ 2534724 w 4818179"/>
                    <a:gd name="connsiteY19" fmla="*/ 982297 h 3498714"/>
                    <a:gd name="connsiteX20" fmla="*/ 358791 w 4818179"/>
                    <a:gd name="connsiteY20" fmla="*/ 644545 h 3498714"/>
                    <a:gd name="connsiteX21" fmla="*/ 1006774 w 4818179"/>
                    <a:gd name="connsiteY21" fmla="*/ 644545 h 3498714"/>
                    <a:gd name="connsiteX22" fmla="*/ 1542636 w 4818179"/>
                    <a:gd name="connsiteY22" fmla="*/ 1193969 h 3498714"/>
                    <a:gd name="connsiteX23" fmla="*/ 1929878 w 4818179"/>
                    <a:gd name="connsiteY23" fmla="*/ 1193970 h 3498714"/>
                    <a:gd name="connsiteX24" fmla="*/ 2070059 w 4818179"/>
                    <a:gd name="connsiteY24" fmla="*/ 1334152 h 3498714"/>
                    <a:gd name="connsiteX25" fmla="*/ 1929878 w 4818179"/>
                    <a:gd name="connsiteY25" fmla="*/ 1474333 h 3498714"/>
                    <a:gd name="connsiteX26" fmla="*/ 1520943 w 4818179"/>
                    <a:gd name="connsiteY26" fmla="*/ 1470388 h 3498714"/>
                    <a:gd name="connsiteX27" fmla="*/ 1332825 w 4818179"/>
                    <a:gd name="connsiteY27" fmla="*/ 1367201 h 3498714"/>
                    <a:gd name="connsiteX28" fmla="*/ 1106501 w 4818179"/>
                    <a:gd name="connsiteY28" fmla="*/ 1098289 h 3498714"/>
                    <a:gd name="connsiteX29" fmla="*/ 1101049 w 4818179"/>
                    <a:gd name="connsiteY29" fmla="*/ 1092836 h 3498714"/>
                    <a:gd name="connsiteX30" fmla="*/ 1046523 w 4818179"/>
                    <a:gd name="connsiteY30" fmla="*/ 1092836 h 3498714"/>
                    <a:gd name="connsiteX31" fmla="*/ 1041071 w 4818179"/>
                    <a:gd name="connsiteY31" fmla="*/ 1098289 h 3498714"/>
                    <a:gd name="connsiteX32" fmla="*/ 1042136 w 4818179"/>
                    <a:gd name="connsiteY32" fmla="*/ 1419754 h 3498714"/>
                    <a:gd name="connsiteX33" fmla="*/ 1042136 w 4818179"/>
                    <a:gd name="connsiteY33" fmla="*/ 3337652 h 3498714"/>
                    <a:gd name="connsiteX34" fmla="*/ 881075 w 4818179"/>
                    <a:gd name="connsiteY34" fmla="*/ 3498714 h 3498714"/>
                    <a:gd name="connsiteX35" fmla="*/ 720012 w 4818179"/>
                    <a:gd name="connsiteY35" fmla="*/ 3337652 h 3498714"/>
                    <a:gd name="connsiteX36" fmla="*/ 720012 w 4818179"/>
                    <a:gd name="connsiteY36" fmla="*/ 2125717 h 3498714"/>
                    <a:gd name="connsiteX37" fmla="*/ 718947 w 4818179"/>
                    <a:gd name="connsiteY37" fmla="*/ 2033194 h 3498714"/>
                    <a:gd name="connsiteX38" fmla="*/ 714162 w 4818179"/>
                    <a:gd name="connsiteY38" fmla="*/ 2028410 h 3498714"/>
                    <a:gd name="connsiteX39" fmla="*/ 654759 w 4818179"/>
                    <a:gd name="connsiteY39" fmla="*/ 2028410 h 3498714"/>
                    <a:gd name="connsiteX40" fmla="*/ 649974 w 4818179"/>
                    <a:gd name="connsiteY40" fmla="*/ 2033194 h 3498714"/>
                    <a:gd name="connsiteX41" fmla="*/ 649974 w 4818179"/>
                    <a:gd name="connsiteY41" fmla="*/ 2125717 h 3498714"/>
                    <a:gd name="connsiteX42" fmla="*/ 649574 w 4818179"/>
                    <a:gd name="connsiteY42" fmla="*/ 3337652 h 3498714"/>
                    <a:gd name="connsiteX43" fmla="*/ 488511 w 4818179"/>
                    <a:gd name="connsiteY43" fmla="*/ 3498714 h 3498714"/>
                    <a:gd name="connsiteX44" fmla="*/ 327450 w 4818179"/>
                    <a:gd name="connsiteY44" fmla="*/ 3337652 h 3498714"/>
                    <a:gd name="connsiteX45" fmla="*/ 327450 w 4818179"/>
                    <a:gd name="connsiteY45" fmla="*/ 1458216 h 3498714"/>
                    <a:gd name="connsiteX46" fmla="*/ 322427 w 4818179"/>
                    <a:gd name="connsiteY46" fmla="*/ 1098205 h 3498714"/>
                    <a:gd name="connsiteX47" fmla="*/ 317058 w 4818179"/>
                    <a:gd name="connsiteY47" fmla="*/ 1092836 h 3498714"/>
                    <a:gd name="connsiteX48" fmla="*/ 263371 w 4818179"/>
                    <a:gd name="connsiteY48" fmla="*/ 1092836 h 3498714"/>
                    <a:gd name="connsiteX49" fmla="*/ 258001 w 4818179"/>
                    <a:gd name="connsiteY49" fmla="*/ 1098205 h 3498714"/>
                    <a:gd name="connsiteX50" fmla="*/ 258001 w 4818179"/>
                    <a:gd name="connsiteY50" fmla="*/ 1444446 h 3498714"/>
                    <a:gd name="connsiteX51" fmla="*/ 257700 w 4818179"/>
                    <a:gd name="connsiteY51" fmla="*/ 1444370 h 3498714"/>
                    <a:gd name="connsiteX52" fmla="*/ 257700 w 4818179"/>
                    <a:gd name="connsiteY52" fmla="*/ 1912573 h 3498714"/>
                    <a:gd name="connsiteX53" fmla="*/ 128850 w 4818179"/>
                    <a:gd name="connsiteY53" fmla="*/ 2041423 h 3498714"/>
                    <a:gd name="connsiteX54" fmla="*/ 0 w 4818179"/>
                    <a:gd name="connsiteY54" fmla="*/ 1912573 h 3498714"/>
                    <a:gd name="connsiteX55" fmla="*/ 0 w 4818179"/>
                    <a:gd name="connsiteY55" fmla="*/ 1101802 h 3498714"/>
                    <a:gd name="connsiteX56" fmla="*/ 0 w 4818179"/>
                    <a:gd name="connsiteY56" fmla="*/ 1003338 h 3498714"/>
                    <a:gd name="connsiteX57" fmla="*/ 0 w 4818179"/>
                    <a:gd name="connsiteY57" fmla="*/ 982486 h 3498714"/>
                    <a:gd name="connsiteX58" fmla="*/ 12733 w 4818179"/>
                    <a:gd name="connsiteY58" fmla="*/ 894663 h 3498714"/>
                    <a:gd name="connsiteX59" fmla="*/ 20539 w 4818179"/>
                    <a:gd name="connsiteY59" fmla="*/ 868773 h 3498714"/>
                    <a:gd name="connsiteX60" fmla="*/ 358791 w 4818179"/>
                    <a:gd name="connsiteY60" fmla="*/ 644545 h 3498714"/>
                    <a:gd name="connsiteX61" fmla="*/ 682782 w 4818179"/>
                    <a:gd name="connsiteY61" fmla="*/ 0 h 3498714"/>
                    <a:gd name="connsiteX62" fmla="*/ 966919 w 4818179"/>
                    <a:gd name="connsiteY62" fmla="*/ 284138 h 3498714"/>
                    <a:gd name="connsiteX63" fmla="*/ 682782 w 4818179"/>
                    <a:gd name="connsiteY63" fmla="*/ 568275 h 3498714"/>
                    <a:gd name="connsiteX64" fmla="*/ 398645 w 4818179"/>
                    <a:gd name="connsiteY64" fmla="*/ 284138 h 3498714"/>
                    <a:gd name="connsiteX65" fmla="*/ 682782 w 4818179"/>
                    <a:gd name="connsiteY65" fmla="*/ 0 h 3498714"/>
                    <a:gd name="connsiteX66" fmla="*/ 4707054 w 4818179"/>
                    <a:gd name="connsiteY66" fmla="*/ 2902312 h 3498714"/>
                    <a:gd name="connsiteX67" fmla="*/ 4818179 w 4818179"/>
                    <a:gd name="connsiteY67" fmla="*/ 3013437 h 3498714"/>
                    <a:gd name="connsiteX68" fmla="*/ 4707054 w 4818179"/>
                    <a:gd name="connsiteY68" fmla="*/ 3124562 h 3498714"/>
                    <a:gd name="connsiteX69" fmla="*/ 4545125 w 4818179"/>
                    <a:gd name="connsiteY69" fmla="*/ 3124562 h 3498714"/>
                    <a:gd name="connsiteX70" fmla="*/ 4545125 w 4818179"/>
                    <a:gd name="connsiteY70" fmla="*/ 3361625 h 3498714"/>
                    <a:gd name="connsiteX71" fmla="*/ 4436113 w 4818179"/>
                    <a:gd name="connsiteY71" fmla="*/ 3470637 h 3498714"/>
                    <a:gd name="connsiteX72" fmla="*/ 4235039 w 4818179"/>
                    <a:gd name="connsiteY72" fmla="*/ 3470637 h 3498714"/>
                    <a:gd name="connsiteX73" fmla="*/ 2589325 w 4818179"/>
                    <a:gd name="connsiteY73" fmla="*/ 3124562 h 3498714"/>
                    <a:gd name="connsiteX74" fmla="*/ 2589325 w 4818179"/>
                    <a:gd name="connsiteY74" fmla="*/ 3361625 h 3498714"/>
                    <a:gd name="connsiteX75" fmla="*/ 2480313 w 4818179"/>
                    <a:gd name="connsiteY75" fmla="*/ 3470637 h 3498714"/>
                    <a:gd name="connsiteX76" fmla="*/ 2279239 w 4818179"/>
                    <a:gd name="connsiteY76" fmla="*/ 3470637 h 3498714"/>
                    <a:gd name="connsiteX77" fmla="*/ 2170227 w 4818179"/>
                    <a:gd name="connsiteY77" fmla="*/ 3361625 h 3498714"/>
                    <a:gd name="connsiteX78" fmla="*/ 2170227 w 4818179"/>
                    <a:gd name="connsiteY78" fmla="*/ 3124562 h 3498714"/>
                    <a:gd name="connsiteX79" fmla="*/ 2052754 w 4818179"/>
                    <a:gd name="connsiteY79" fmla="*/ 3124562 h 3498714"/>
                    <a:gd name="connsiteX80" fmla="*/ 1941629 w 4818179"/>
                    <a:gd name="connsiteY80" fmla="*/ 3013437 h 3498714"/>
                    <a:gd name="connsiteX81" fmla="*/ 2052754 w 4818179"/>
                    <a:gd name="connsiteY81" fmla="*/ 2902312 h 3498714"/>
                    <a:gd name="connsiteX82" fmla="*/ 682782 w 4818179"/>
                    <a:gd name="connsiteY82" fmla="*/ 0 h 3498714"/>
                    <a:gd name="connsiteX0" fmla="*/ 2671086 w 4818179"/>
                    <a:gd name="connsiteY0" fmla="*/ 2584811 h 3498714"/>
                    <a:gd name="connsiteX1" fmla="*/ 2671086 w 4818179"/>
                    <a:gd name="connsiteY1" fmla="*/ 2397487 h 3498714"/>
                    <a:gd name="connsiteX2" fmla="*/ 2671086 w 4818179"/>
                    <a:gd name="connsiteY2" fmla="*/ 2584811 h 3498714"/>
                    <a:gd name="connsiteX3" fmla="*/ 2251033 w 4818179"/>
                    <a:gd name="connsiteY3" fmla="*/ 2089512 h 3498714"/>
                    <a:gd name="connsiteX4" fmla="*/ 2070058 w 4818179"/>
                    <a:gd name="connsiteY4" fmla="*/ 2270487 h 3498714"/>
                    <a:gd name="connsiteX5" fmla="*/ 2251033 w 4818179"/>
                    <a:gd name="connsiteY5" fmla="*/ 2451462 h 3498714"/>
                    <a:gd name="connsiteX6" fmla="*/ 2432008 w 4818179"/>
                    <a:gd name="connsiteY6" fmla="*/ 2270487 h 3498714"/>
                    <a:gd name="connsiteX7" fmla="*/ 2251033 w 4818179"/>
                    <a:gd name="connsiteY7" fmla="*/ 2089512 h 3498714"/>
                    <a:gd name="connsiteX8" fmla="*/ 2842751 w 4818179"/>
                    <a:gd name="connsiteY8" fmla="*/ 1749356 h 3498714"/>
                    <a:gd name="connsiteX9" fmla="*/ 2392797 w 4818179"/>
                    <a:gd name="connsiteY9" fmla="*/ 1878907 h 3498714"/>
                    <a:gd name="connsiteX10" fmla="*/ 2478781 w 4818179"/>
                    <a:gd name="connsiteY10" fmla="*/ 1920808 h 3498714"/>
                    <a:gd name="connsiteX11" fmla="*/ 2842751 w 4818179"/>
                    <a:gd name="connsiteY11" fmla="*/ 1749356 h 3498714"/>
                    <a:gd name="connsiteX12" fmla="*/ 2534724 w 4818179"/>
                    <a:gd name="connsiteY12" fmla="*/ 982297 h 3498714"/>
                    <a:gd name="connsiteX13" fmla="*/ 1970999 w 4818179"/>
                    <a:gd name="connsiteY13" fmla="*/ 2826112 h 3498714"/>
                    <a:gd name="connsiteX14" fmla="*/ 1850348 w 4818179"/>
                    <a:gd name="connsiteY14" fmla="*/ 2705462 h 3498714"/>
                    <a:gd name="connsiteX15" fmla="*/ 1956769 w 4818179"/>
                    <a:gd name="connsiteY15" fmla="*/ 2587684 h 3498714"/>
                    <a:gd name="connsiteX16" fmla="*/ 1823360 w 4818179"/>
                    <a:gd name="connsiteY16" fmla="*/ 2279217 h 3498714"/>
                    <a:gd name="connsiteX17" fmla="*/ 2217440 w 4818179"/>
                    <a:gd name="connsiteY17" fmla="*/ 1856216 h 3498714"/>
                    <a:gd name="connsiteX18" fmla="*/ 2534724 w 4818179"/>
                    <a:gd name="connsiteY18" fmla="*/ 982297 h 3498714"/>
                    <a:gd name="connsiteX19" fmla="*/ 358791 w 4818179"/>
                    <a:gd name="connsiteY19" fmla="*/ 644545 h 3498714"/>
                    <a:gd name="connsiteX20" fmla="*/ 1006774 w 4818179"/>
                    <a:gd name="connsiteY20" fmla="*/ 644545 h 3498714"/>
                    <a:gd name="connsiteX21" fmla="*/ 1542636 w 4818179"/>
                    <a:gd name="connsiteY21" fmla="*/ 1193969 h 3498714"/>
                    <a:gd name="connsiteX22" fmla="*/ 1929878 w 4818179"/>
                    <a:gd name="connsiteY22" fmla="*/ 1193970 h 3498714"/>
                    <a:gd name="connsiteX23" fmla="*/ 2070059 w 4818179"/>
                    <a:gd name="connsiteY23" fmla="*/ 1334152 h 3498714"/>
                    <a:gd name="connsiteX24" fmla="*/ 1929878 w 4818179"/>
                    <a:gd name="connsiteY24" fmla="*/ 1474333 h 3498714"/>
                    <a:gd name="connsiteX25" fmla="*/ 1520943 w 4818179"/>
                    <a:gd name="connsiteY25" fmla="*/ 1470388 h 3498714"/>
                    <a:gd name="connsiteX26" fmla="*/ 1332825 w 4818179"/>
                    <a:gd name="connsiteY26" fmla="*/ 1367201 h 3498714"/>
                    <a:gd name="connsiteX27" fmla="*/ 1106501 w 4818179"/>
                    <a:gd name="connsiteY27" fmla="*/ 1098289 h 3498714"/>
                    <a:gd name="connsiteX28" fmla="*/ 1101049 w 4818179"/>
                    <a:gd name="connsiteY28" fmla="*/ 1092836 h 3498714"/>
                    <a:gd name="connsiteX29" fmla="*/ 1046523 w 4818179"/>
                    <a:gd name="connsiteY29" fmla="*/ 1092836 h 3498714"/>
                    <a:gd name="connsiteX30" fmla="*/ 1041071 w 4818179"/>
                    <a:gd name="connsiteY30" fmla="*/ 1098289 h 3498714"/>
                    <a:gd name="connsiteX31" fmla="*/ 1042136 w 4818179"/>
                    <a:gd name="connsiteY31" fmla="*/ 1419754 h 3498714"/>
                    <a:gd name="connsiteX32" fmla="*/ 1042136 w 4818179"/>
                    <a:gd name="connsiteY32" fmla="*/ 3337652 h 3498714"/>
                    <a:gd name="connsiteX33" fmla="*/ 881075 w 4818179"/>
                    <a:gd name="connsiteY33" fmla="*/ 3498714 h 3498714"/>
                    <a:gd name="connsiteX34" fmla="*/ 720012 w 4818179"/>
                    <a:gd name="connsiteY34" fmla="*/ 3337652 h 3498714"/>
                    <a:gd name="connsiteX35" fmla="*/ 720012 w 4818179"/>
                    <a:gd name="connsiteY35" fmla="*/ 2125717 h 3498714"/>
                    <a:gd name="connsiteX36" fmla="*/ 718947 w 4818179"/>
                    <a:gd name="connsiteY36" fmla="*/ 2033194 h 3498714"/>
                    <a:gd name="connsiteX37" fmla="*/ 714162 w 4818179"/>
                    <a:gd name="connsiteY37" fmla="*/ 2028410 h 3498714"/>
                    <a:gd name="connsiteX38" fmla="*/ 654759 w 4818179"/>
                    <a:gd name="connsiteY38" fmla="*/ 2028410 h 3498714"/>
                    <a:gd name="connsiteX39" fmla="*/ 649974 w 4818179"/>
                    <a:gd name="connsiteY39" fmla="*/ 2033194 h 3498714"/>
                    <a:gd name="connsiteX40" fmla="*/ 649974 w 4818179"/>
                    <a:gd name="connsiteY40" fmla="*/ 2125717 h 3498714"/>
                    <a:gd name="connsiteX41" fmla="*/ 649574 w 4818179"/>
                    <a:gd name="connsiteY41" fmla="*/ 3337652 h 3498714"/>
                    <a:gd name="connsiteX42" fmla="*/ 488511 w 4818179"/>
                    <a:gd name="connsiteY42" fmla="*/ 3498714 h 3498714"/>
                    <a:gd name="connsiteX43" fmla="*/ 327450 w 4818179"/>
                    <a:gd name="connsiteY43" fmla="*/ 3337652 h 3498714"/>
                    <a:gd name="connsiteX44" fmla="*/ 327450 w 4818179"/>
                    <a:gd name="connsiteY44" fmla="*/ 1458216 h 3498714"/>
                    <a:gd name="connsiteX45" fmla="*/ 322427 w 4818179"/>
                    <a:gd name="connsiteY45" fmla="*/ 1098205 h 3498714"/>
                    <a:gd name="connsiteX46" fmla="*/ 317058 w 4818179"/>
                    <a:gd name="connsiteY46" fmla="*/ 1092836 h 3498714"/>
                    <a:gd name="connsiteX47" fmla="*/ 263371 w 4818179"/>
                    <a:gd name="connsiteY47" fmla="*/ 1092836 h 3498714"/>
                    <a:gd name="connsiteX48" fmla="*/ 258001 w 4818179"/>
                    <a:gd name="connsiteY48" fmla="*/ 1098205 h 3498714"/>
                    <a:gd name="connsiteX49" fmla="*/ 258001 w 4818179"/>
                    <a:gd name="connsiteY49" fmla="*/ 1444446 h 3498714"/>
                    <a:gd name="connsiteX50" fmla="*/ 257700 w 4818179"/>
                    <a:gd name="connsiteY50" fmla="*/ 1444370 h 3498714"/>
                    <a:gd name="connsiteX51" fmla="*/ 257700 w 4818179"/>
                    <a:gd name="connsiteY51" fmla="*/ 1912573 h 3498714"/>
                    <a:gd name="connsiteX52" fmla="*/ 128850 w 4818179"/>
                    <a:gd name="connsiteY52" fmla="*/ 2041423 h 3498714"/>
                    <a:gd name="connsiteX53" fmla="*/ 0 w 4818179"/>
                    <a:gd name="connsiteY53" fmla="*/ 1912573 h 3498714"/>
                    <a:gd name="connsiteX54" fmla="*/ 0 w 4818179"/>
                    <a:gd name="connsiteY54" fmla="*/ 1101802 h 3498714"/>
                    <a:gd name="connsiteX55" fmla="*/ 0 w 4818179"/>
                    <a:gd name="connsiteY55" fmla="*/ 1003338 h 3498714"/>
                    <a:gd name="connsiteX56" fmla="*/ 0 w 4818179"/>
                    <a:gd name="connsiteY56" fmla="*/ 982486 h 3498714"/>
                    <a:gd name="connsiteX57" fmla="*/ 12733 w 4818179"/>
                    <a:gd name="connsiteY57" fmla="*/ 894663 h 3498714"/>
                    <a:gd name="connsiteX58" fmla="*/ 20539 w 4818179"/>
                    <a:gd name="connsiteY58" fmla="*/ 868773 h 3498714"/>
                    <a:gd name="connsiteX59" fmla="*/ 358791 w 4818179"/>
                    <a:gd name="connsiteY59" fmla="*/ 644545 h 3498714"/>
                    <a:gd name="connsiteX60" fmla="*/ 682782 w 4818179"/>
                    <a:gd name="connsiteY60" fmla="*/ 0 h 3498714"/>
                    <a:gd name="connsiteX61" fmla="*/ 966919 w 4818179"/>
                    <a:gd name="connsiteY61" fmla="*/ 284138 h 3498714"/>
                    <a:gd name="connsiteX62" fmla="*/ 682782 w 4818179"/>
                    <a:gd name="connsiteY62" fmla="*/ 568275 h 3498714"/>
                    <a:gd name="connsiteX63" fmla="*/ 398645 w 4818179"/>
                    <a:gd name="connsiteY63" fmla="*/ 284138 h 3498714"/>
                    <a:gd name="connsiteX64" fmla="*/ 682782 w 4818179"/>
                    <a:gd name="connsiteY64" fmla="*/ 0 h 3498714"/>
                    <a:gd name="connsiteX65" fmla="*/ 4707054 w 4818179"/>
                    <a:gd name="connsiteY65" fmla="*/ 2902312 h 3498714"/>
                    <a:gd name="connsiteX66" fmla="*/ 4818179 w 4818179"/>
                    <a:gd name="connsiteY66" fmla="*/ 3013437 h 3498714"/>
                    <a:gd name="connsiteX67" fmla="*/ 4707054 w 4818179"/>
                    <a:gd name="connsiteY67" fmla="*/ 3124562 h 3498714"/>
                    <a:gd name="connsiteX68" fmla="*/ 4545125 w 4818179"/>
                    <a:gd name="connsiteY68" fmla="*/ 3124562 h 3498714"/>
                    <a:gd name="connsiteX69" fmla="*/ 4545125 w 4818179"/>
                    <a:gd name="connsiteY69" fmla="*/ 3361625 h 3498714"/>
                    <a:gd name="connsiteX70" fmla="*/ 4436113 w 4818179"/>
                    <a:gd name="connsiteY70" fmla="*/ 3470637 h 3498714"/>
                    <a:gd name="connsiteX71" fmla="*/ 4235039 w 4818179"/>
                    <a:gd name="connsiteY71" fmla="*/ 3470637 h 3498714"/>
                    <a:gd name="connsiteX72" fmla="*/ 2589325 w 4818179"/>
                    <a:gd name="connsiteY72" fmla="*/ 3124562 h 3498714"/>
                    <a:gd name="connsiteX73" fmla="*/ 2589325 w 4818179"/>
                    <a:gd name="connsiteY73" fmla="*/ 3361625 h 3498714"/>
                    <a:gd name="connsiteX74" fmla="*/ 2480313 w 4818179"/>
                    <a:gd name="connsiteY74" fmla="*/ 3470637 h 3498714"/>
                    <a:gd name="connsiteX75" fmla="*/ 2279239 w 4818179"/>
                    <a:gd name="connsiteY75" fmla="*/ 3470637 h 3498714"/>
                    <a:gd name="connsiteX76" fmla="*/ 2170227 w 4818179"/>
                    <a:gd name="connsiteY76" fmla="*/ 3361625 h 3498714"/>
                    <a:gd name="connsiteX77" fmla="*/ 2170227 w 4818179"/>
                    <a:gd name="connsiteY77" fmla="*/ 3124562 h 3498714"/>
                    <a:gd name="connsiteX78" fmla="*/ 2052754 w 4818179"/>
                    <a:gd name="connsiteY78" fmla="*/ 3124562 h 3498714"/>
                    <a:gd name="connsiteX79" fmla="*/ 1941629 w 4818179"/>
                    <a:gd name="connsiteY79" fmla="*/ 3013437 h 3498714"/>
                    <a:gd name="connsiteX80" fmla="*/ 2052754 w 4818179"/>
                    <a:gd name="connsiteY80" fmla="*/ 2902312 h 3498714"/>
                    <a:gd name="connsiteX81" fmla="*/ 682782 w 4818179"/>
                    <a:gd name="connsiteY81" fmla="*/ 0 h 3498714"/>
                    <a:gd name="connsiteX0" fmla="*/ 2251033 w 4818179"/>
                    <a:gd name="connsiteY0" fmla="*/ 2089512 h 3498714"/>
                    <a:gd name="connsiteX1" fmla="*/ 2070058 w 4818179"/>
                    <a:gd name="connsiteY1" fmla="*/ 2270487 h 3498714"/>
                    <a:gd name="connsiteX2" fmla="*/ 2251033 w 4818179"/>
                    <a:gd name="connsiteY2" fmla="*/ 2451462 h 3498714"/>
                    <a:gd name="connsiteX3" fmla="*/ 2432008 w 4818179"/>
                    <a:gd name="connsiteY3" fmla="*/ 2270487 h 3498714"/>
                    <a:gd name="connsiteX4" fmla="*/ 2251033 w 4818179"/>
                    <a:gd name="connsiteY4" fmla="*/ 2089512 h 3498714"/>
                    <a:gd name="connsiteX5" fmla="*/ 2842751 w 4818179"/>
                    <a:gd name="connsiteY5" fmla="*/ 1749356 h 3498714"/>
                    <a:gd name="connsiteX6" fmla="*/ 2392797 w 4818179"/>
                    <a:gd name="connsiteY6" fmla="*/ 1878907 h 3498714"/>
                    <a:gd name="connsiteX7" fmla="*/ 2478781 w 4818179"/>
                    <a:gd name="connsiteY7" fmla="*/ 1920808 h 3498714"/>
                    <a:gd name="connsiteX8" fmla="*/ 2842751 w 4818179"/>
                    <a:gd name="connsiteY8" fmla="*/ 1749356 h 3498714"/>
                    <a:gd name="connsiteX9" fmla="*/ 2534724 w 4818179"/>
                    <a:gd name="connsiteY9" fmla="*/ 982297 h 3498714"/>
                    <a:gd name="connsiteX10" fmla="*/ 1970999 w 4818179"/>
                    <a:gd name="connsiteY10" fmla="*/ 2826112 h 3498714"/>
                    <a:gd name="connsiteX11" fmla="*/ 1850348 w 4818179"/>
                    <a:gd name="connsiteY11" fmla="*/ 2705462 h 3498714"/>
                    <a:gd name="connsiteX12" fmla="*/ 1956769 w 4818179"/>
                    <a:gd name="connsiteY12" fmla="*/ 2587684 h 3498714"/>
                    <a:gd name="connsiteX13" fmla="*/ 1823360 w 4818179"/>
                    <a:gd name="connsiteY13" fmla="*/ 2279217 h 3498714"/>
                    <a:gd name="connsiteX14" fmla="*/ 2217440 w 4818179"/>
                    <a:gd name="connsiteY14" fmla="*/ 1856216 h 3498714"/>
                    <a:gd name="connsiteX15" fmla="*/ 2534724 w 4818179"/>
                    <a:gd name="connsiteY15" fmla="*/ 982297 h 3498714"/>
                    <a:gd name="connsiteX16" fmla="*/ 358791 w 4818179"/>
                    <a:gd name="connsiteY16" fmla="*/ 644545 h 3498714"/>
                    <a:gd name="connsiteX17" fmla="*/ 1006774 w 4818179"/>
                    <a:gd name="connsiteY17" fmla="*/ 644545 h 3498714"/>
                    <a:gd name="connsiteX18" fmla="*/ 1542636 w 4818179"/>
                    <a:gd name="connsiteY18" fmla="*/ 1193969 h 3498714"/>
                    <a:gd name="connsiteX19" fmla="*/ 1929878 w 4818179"/>
                    <a:gd name="connsiteY19" fmla="*/ 1193970 h 3498714"/>
                    <a:gd name="connsiteX20" fmla="*/ 2070059 w 4818179"/>
                    <a:gd name="connsiteY20" fmla="*/ 1334152 h 3498714"/>
                    <a:gd name="connsiteX21" fmla="*/ 1929878 w 4818179"/>
                    <a:gd name="connsiteY21" fmla="*/ 1474333 h 3498714"/>
                    <a:gd name="connsiteX22" fmla="*/ 1520943 w 4818179"/>
                    <a:gd name="connsiteY22" fmla="*/ 1470388 h 3498714"/>
                    <a:gd name="connsiteX23" fmla="*/ 1332825 w 4818179"/>
                    <a:gd name="connsiteY23" fmla="*/ 1367201 h 3498714"/>
                    <a:gd name="connsiteX24" fmla="*/ 1106501 w 4818179"/>
                    <a:gd name="connsiteY24" fmla="*/ 1098289 h 3498714"/>
                    <a:gd name="connsiteX25" fmla="*/ 1101049 w 4818179"/>
                    <a:gd name="connsiteY25" fmla="*/ 1092836 h 3498714"/>
                    <a:gd name="connsiteX26" fmla="*/ 1046523 w 4818179"/>
                    <a:gd name="connsiteY26" fmla="*/ 1092836 h 3498714"/>
                    <a:gd name="connsiteX27" fmla="*/ 1041071 w 4818179"/>
                    <a:gd name="connsiteY27" fmla="*/ 1098289 h 3498714"/>
                    <a:gd name="connsiteX28" fmla="*/ 1042136 w 4818179"/>
                    <a:gd name="connsiteY28" fmla="*/ 1419754 h 3498714"/>
                    <a:gd name="connsiteX29" fmla="*/ 1042136 w 4818179"/>
                    <a:gd name="connsiteY29" fmla="*/ 3337652 h 3498714"/>
                    <a:gd name="connsiteX30" fmla="*/ 881075 w 4818179"/>
                    <a:gd name="connsiteY30" fmla="*/ 3498714 h 3498714"/>
                    <a:gd name="connsiteX31" fmla="*/ 720012 w 4818179"/>
                    <a:gd name="connsiteY31" fmla="*/ 3337652 h 3498714"/>
                    <a:gd name="connsiteX32" fmla="*/ 720012 w 4818179"/>
                    <a:gd name="connsiteY32" fmla="*/ 2125717 h 3498714"/>
                    <a:gd name="connsiteX33" fmla="*/ 718947 w 4818179"/>
                    <a:gd name="connsiteY33" fmla="*/ 2033194 h 3498714"/>
                    <a:gd name="connsiteX34" fmla="*/ 714162 w 4818179"/>
                    <a:gd name="connsiteY34" fmla="*/ 2028410 h 3498714"/>
                    <a:gd name="connsiteX35" fmla="*/ 654759 w 4818179"/>
                    <a:gd name="connsiteY35" fmla="*/ 2028410 h 3498714"/>
                    <a:gd name="connsiteX36" fmla="*/ 649974 w 4818179"/>
                    <a:gd name="connsiteY36" fmla="*/ 2033194 h 3498714"/>
                    <a:gd name="connsiteX37" fmla="*/ 649974 w 4818179"/>
                    <a:gd name="connsiteY37" fmla="*/ 2125717 h 3498714"/>
                    <a:gd name="connsiteX38" fmla="*/ 649574 w 4818179"/>
                    <a:gd name="connsiteY38" fmla="*/ 3337652 h 3498714"/>
                    <a:gd name="connsiteX39" fmla="*/ 488511 w 4818179"/>
                    <a:gd name="connsiteY39" fmla="*/ 3498714 h 3498714"/>
                    <a:gd name="connsiteX40" fmla="*/ 327450 w 4818179"/>
                    <a:gd name="connsiteY40" fmla="*/ 3337652 h 3498714"/>
                    <a:gd name="connsiteX41" fmla="*/ 327450 w 4818179"/>
                    <a:gd name="connsiteY41" fmla="*/ 1458216 h 3498714"/>
                    <a:gd name="connsiteX42" fmla="*/ 322427 w 4818179"/>
                    <a:gd name="connsiteY42" fmla="*/ 1098205 h 3498714"/>
                    <a:gd name="connsiteX43" fmla="*/ 317058 w 4818179"/>
                    <a:gd name="connsiteY43" fmla="*/ 1092836 h 3498714"/>
                    <a:gd name="connsiteX44" fmla="*/ 263371 w 4818179"/>
                    <a:gd name="connsiteY44" fmla="*/ 1092836 h 3498714"/>
                    <a:gd name="connsiteX45" fmla="*/ 258001 w 4818179"/>
                    <a:gd name="connsiteY45" fmla="*/ 1098205 h 3498714"/>
                    <a:gd name="connsiteX46" fmla="*/ 258001 w 4818179"/>
                    <a:gd name="connsiteY46" fmla="*/ 1444446 h 3498714"/>
                    <a:gd name="connsiteX47" fmla="*/ 257700 w 4818179"/>
                    <a:gd name="connsiteY47" fmla="*/ 1444370 h 3498714"/>
                    <a:gd name="connsiteX48" fmla="*/ 257700 w 4818179"/>
                    <a:gd name="connsiteY48" fmla="*/ 1912573 h 3498714"/>
                    <a:gd name="connsiteX49" fmla="*/ 128850 w 4818179"/>
                    <a:gd name="connsiteY49" fmla="*/ 2041423 h 3498714"/>
                    <a:gd name="connsiteX50" fmla="*/ 0 w 4818179"/>
                    <a:gd name="connsiteY50" fmla="*/ 1912573 h 3498714"/>
                    <a:gd name="connsiteX51" fmla="*/ 0 w 4818179"/>
                    <a:gd name="connsiteY51" fmla="*/ 1101802 h 3498714"/>
                    <a:gd name="connsiteX52" fmla="*/ 0 w 4818179"/>
                    <a:gd name="connsiteY52" fmla="*/ 1003338 h 3498714"/>
                    <a:gd name="connsiteX53" fmla="*/ 0 w 4818179"/>
                    <a:gd name="connsiteY53" fmla="*/ 982486 h 3498714"/>
                    <a:gd name="connsiteX54" fmla="*/ 12733 w 4818179"/>
                    <a:gd name="connsiteY54" fmla="*/ 894663 h 3498714"/>
                    <a:gd name="connsiteX55" fmla="*/ 20539 w 4818179"/>
                    <a:gd name="connsiteY55" fmla="*/ 868773 h 3498714"/>
                    <a:gd name="connsiteX56" fmla="*/ 358791 w 4818179"/>
                    <a:gd name="connsiteY56" fmla="*/ 644545 h 3498714"/>
                    <a:gd name="connsiteX57" fmla="*/ 682782 w 4818179"/>
                    <a:gd name="connsiteY57" fmla="*/ 0 h 3498714"/>
                    <a:gd name="connsiteX58" fmla="*/ 966919 w 4818179"/>
                    <a:gd name="connsiteY58" fmla="*/ 284138 h 3498714"/>
                    <a:gd name="connsiteX59" fmla="*/ 682782 w 4818179"/>
                    <a:gd name="connsiteY59" fmla="*/ 568275 h 3498714"/>
                    <a:gd name="connsiteX60" fmla="*/ 398645 w 4818179"/>
                    <a:gd name="connsiteY60" fmla="*/ 284138 h 3498714"/>
                    <a:gd name="connsiteX61" fmla="*/ 682782 w 4818179"/>
                    <a:gd name="connsiteY61" fmla="*/ 0 h 3498714"/>
                    <a:gd name="connsiteX62" fmla="*/ 4707054 w 4818179"/>
                    <a:gd name="connsiteY62" fmla="*/ 2902312 h 3498714"/>
                    <a:gd name="connsiteX63" fmla="*/ 4818179 w 4818179"/>
                    <a:gd name="connsiteY63" fmla="*/ 3013437 h 3498714"/>
                    <a:gd name="connsiteX64" fmla="*/ 4707054 w 4818179"/>
                    <a:gd name="connsiteY64" fmla="*/ 3124562 h 3498714"/>
                    <a:gd name="connsiteX65" fmla="*/ 4545125 w 4818179"/>
                    <a:gd name="connsiteY65" fmla="*/ 3124562 h 3498714"/>
                    <a:gd name="connsiteX66" fmla="*/ 4545125 w 4818179"/>
                    <a:gd name="connsiteY66" fmla="*/ 3361625 h 3498714"/>
                    <a:gd name="connsiteX67" fmla="*/ 4436113 w 4818179"/>
                    <a:gd name="connsiteY67" fmla="*/ 3470637 h 3498714"/>
                    <a:gd name="connsiteX68" fmla="*/ 4235039 w 4818179"/>
                    <a:gd name="connsiteY68" fmla="*/ 3470637 h 3498714"/>
                    <a:gd name="connsiteX69" fmla="*/ 2589325 w 4818179"/>
                    <a:gd name="connsiteY69" fmla="*/ 3124562 h 3498714"/>
                    <a:gd name="connsiteX70" fmla="*/ 2589325 w 4818179"/>
                    <a:gd name="connsiteY70" fmla="*/ 3361625 h 3498714"/>
                    <a:gd name="connsiteX71" fmla="*/ 2480313 w 4818179"/>
                    <a:gd name="connsiteY71" fmla="*/ 3470637 h 3498714"/>
                    <a:gd name="connsiteX72" fmla="*/ 2279239 w 4818179"/>
                    <a:gd name="connsiteY72" fmla="*/ 3470637 h 3498714"/>
                    <a:gd name="connsiteX73" fmla="*/ 2170227 w 4818179"/>
                    <a:gd name="connsiteY73" fmla="*/ 3361625 h 3498714"/>
                    <a:gd name="connsiteX74" fmla="*/ 2170227 w 4818179"/>
                    <a:gd name="connsiteY74" fmla="*/ 3124562 h 3498714"/>
                    <a:gd name="connsiteX75" fmla="*/ 2052754 w 4818179"/>
                    <a:gd name="connsiteY75" fmla="*/ 3124562 h 3498714"/>
                    <a:gd name="connsiteX76" fmla="*/ 1941629 w 4818179"/>
                    <a:gd name="connsiteY76" fmla="*/ 3013437 h 3498714"/>
                    <a:gd name="connsiteX77" fmla="*/ 2052754 w 4818179"/>
                    <a:gd name="connsiteY77" fmla="*/ 2902312 h 3498714"/>
                    <a:gd name="connsiteX78" fmla="*/ 682782 w 4818179"/>
                    <a:gd name="connsiteY78" fmla="*/ 0 h 3498714"/>
                    <a:gd name="connsiteX0" fmla="*/ 2251033 w 4818179"/>
                    <a:gd name="connsiteY0" fmla="*/ 2089512 h 3498714"/>
                    <a:gd name="connsiteX1" fmla="*/ 2070058 w 4818179"/>
                    <a:gd name="connsiteY1" fmla="*/ 2270487 h 3498714"/>
                    <a:gd name="connsiteX2" fmla="*/ 2251033 w 4818179"/>
                    <a:gd name="connsiteY2" fmla="*/ 2451462 h 3498714"/>
                    <a:gd name="connsiteX3" fmla="*/ 2432008 w 4818179"/>
                    <a:gd name="connsiteY3" fmla="*/ 2270487 h 3498714"/>
                    <a:gd name="connsiteX4" fmla="*/ 2251033 w 4818179"/>
                    <a:gd name="connsiteY4" fmla="*/ 2089512 h 3498714"/>
                    <a:gd name="connsiteX5" fmla="*/ 2842751 w 4818179"/>
                    <a:gd name="connsiteY5" fmla="*/ 1749356 h 3498714"/>
                    <a:gd name="connsiteX6" fmla="*/ 2392797 w 4818179"/>
                    <a:gd name="connsiteY6" fmla="*/ 1878907 h 3498714"/>
                    <a:gd name="connsiteX7" fmla="*/ 2478781 w 4818179"/>
                    <a:gd name="connsiteY7" fmla="*/ 1920808 h 3498714"/>
                    <a:gd name="connsiteX8" fmla="*/ 2842751 w 4818179"/>
                    <a:gd name="connsiteY8" fmla="*/ 1749356 h 3498714"/>
                    <a:gd name="connsiteX9" fmla="*/ 2534724 w 4818179"/>
                    <a:gd name="connsiteY9" fmla="*/ 982297 h 3498714"/>
                    <a:gd name="connsiteX10" fmla="*/ 1970999 w 4818179"/>
                    <a:gd name="connsiteY10" fmla="*/ 2826112 h 3498714"/>
                    <a:gd name="connsiteX11" fmla="*/ 1850348 w 4818179"/>
                    <a:gd name="connsiteY11" fmla="*/ 2705462 h 3498714"/>
                    <a:gd name="connsiteX12" fmla="*/ 1956769 w 4818179"/>
                    <a:gd name="connsiteY12" fmla="*/ 2587684 h 3498714"/>
                    <a:gd name="connsiteX13" fmla="*/ 1823360 w 4818179"/>
                    <a:gd name="connsiteY13" fmla="*/ 2279217 h 3498714"/>
                    <a:gd name="connsiteX14" fmla="*/ 2217440 w 4818179"/>
                    <a:gd name="connsiteY14" fmla="*/ 1856216 h 3498714"/>
                    <a:gd name="connsiteX15" fmla="*/ 2534724 w 4818179"/>
                    <a:gd name="connsiteY15" fmla="*/ 982297 h 3498714"/>
                    <a:gd name="connsiteX16" fmla="*/ 358791 w 4818179"/>
                    <a:gd name="connsiteY16" fmla="*/ 644545 h 3498714"/>
                    <a:gd name="connsiteX17" fmla="*/ 1006774 w 4818179"/>
                    <a:gd name="connsiteY17" fmla="*/ 644545 h 3498714"/>
                    <a:gd name="connsiteX18" fmla="*/ 1542636 w 4818179"/>
                    <a:gd name="connsiteY18" fmla="*/ 1193969 h 3498714"/>
                    <a:gd name="connsiteX19" fmla="*/ 1929878 w 4818179"/>
                    <a:gd name="connsiteY19" fmla="*/ 1193970 h 3498714"/>
                    <a:gd name="connsiteX20" fmla="*/ 2070059 w 4818179"/>
                    <a:gd name="connsiteY20" fmla="*/ 1334152 h 3498714"/>
                    <a:gd name="connsiteX21" fmla="*/ 1929878 w 4818179"/>
                    <a:gd name="connsiteY21" fmla="*/ 1474333 h 3498714"/>
                    <a:gd name="connsiteX22" fmla="*/ 1520943 w 4818179"/>
                    <a:gd name="connsiteY22" fmla="*/ 1470388 h 3498714"/>
                    <a:gd name="connsiteX23" fmla="*/ 1332825 w 4818179"/>
                    <a:gd name="connsiteY23" fmla="*/ 1367201 h 3498714"/>
                    <a:gd name="connsiteX24" fmla="*/ 1106501 w 4818179"/>
                    <a:gd name="connsiteY24" fmla="*/ 1098289 h 3498714"/>
                    <a:gd name="connsiteX25" fmla="*/ 1101049 w 4818179"/>
                    <a:gd name="connsiteY25" fmla="*/ 1092836 h 3498714"/>
                    <a:gd name="connsiteX26" fmla="*/ 1046523 w 4818179"/>
                    <a:gd name="connsiteY26" fmla="*/ 1092836 h 3498714"/>
                    <a:gd name="connsiteX27" fmla="*/ 1041071 w 4818179"/>
                    <a:gd name="connsiteY27" fmla="*/ 1098289 h 3498714"/>
                    <a:gd name="connsiteX28" fmla="*/ 1042136 w 4818179"/>
                    <a:gd name="connsiteY28" fmla="*/ 1419754 h 3498714"/>
                    <a:gd name="connsiteX29" fmla="*/ 1042136 w 4818179"/>
                    <a:gd name="connsiteY29" fmla="*/ 3337652 h 3498714"/>
                    <a:gd name="connsiteX30" fmla="*/ 881075 w 4818179"/>
                    <a:gd name="connsiteY30" fmla="*/ 3498714 h 3498714"/>
                    <a:gd name="connsiteX31" fmla="*/ 720012 w 4818179"/>
                    <a:gd name="connsiteY31" fmla="*/ 3337652 h 3498714"/>
                    <a:gd name="connsiteX32" fmla="*/ 720012 w 4818179"/>
                    <a:gd name="connsiteY32" fmla="*/ 2125717 h 3498714"/>
                    <a:gd name="connsiteX33" fmla="*/ 718947 w 4818179"/>
                    <a:gd name="connsiteY33" fmla="*/ 2033194 h 3498714"/>
                    <a:gd name="connsiteX34" fmla="*/ 714162 w 4818179"/>
                    <a:gd name="connsiteY34" fmla="*/ 2028410 h 3498714"/>
                    <a:gd name="connsiteX35" fmla="*/ 654759 w 4818179"/>
                    <a:gd name="connsiteY35" fmla="*/ 2028410 h 3498714"/>
                    <a:gd name="connsiteX36" fmla="*/ 649974 w 4818179"/>
                    <a:gd name="connsiteY36" fmla="*/ 2033194 h 3498714"/>
                    <a:gd name="connsiteX37" fmla="*/ 649974 w 4818179"/>
                    <a:gd name="connsiteY37" fmla="*/ 2125717 h 3498714"/>
                    <a:gd name="connsiteX38" fmla="*/ 649574 w 4818179"/>
                    <a:gd name="connsiteY38" fmla="*/ 3337652 h 3498714"/>
                    <a:gd name="connsiteX39" fmla="*/ 488511 w 4818179"/>
                    <a:gd name="connsiteY39" fmla="*/ 3498714 h 3498714"/>
                    <a:gd name="connsiteX40" fmla="*/ 327450 w 4818179"/>
                    <a:gd name="connsiteY40" fmla="*/ 3337652 h 3498714"/>
                    <a:gd name="connsiteX41" fmla="*/ 327450 w 4818179"/>
                    <a:gd name="connsiteY41" fmla="*/ 1458216 h 3498714"/>
                    <a:gd name="connsiteX42" fmla="*/ 322427 w 4818179"/>
                    <a:gd name="connsiteY42" fmla="*/ 1098205 h 3498714"/>
                    <a:gd name="connsiteX43" fmla="*/ 317058 w 4818179"/>
                    <a:gd name="connsiteY43" fmla="*/ 1092836 h 3498714"/>
                    <a:gd name="connsiteX44" fmla="*/ 263371 w 4818179"/>
                    <a:gd name="connsiteY44" fmla="*/ 1092836 h 3498714"/>
                    <a:gd name="connsiteX45" fmla="*/ 258001 w 4818179"/>
                    <a:gd name="connsiteY45" fmla="*/ 1098205 h 3498714"/>
                    <a:gd name="connsiteX46" fmla="*/ 258001 w 4818179"/>
                    <a:gd name="connsiteY46" fmla="*/ 1444446 h 3498714"/>
                    <a:gd name="connsiteX47" fmla="*/ 257700 w 4818179"/>
                    <a:gd name="connsiteY47" fmla="*/ 1444370 h 3498714"/>
                    <a:gd name="connsiteX48" fmla="*/ 257700 w 4818179"/>
                    <a:gd name="connsiteY48" fmla="*/ 1912573 h 3498714"/>
                    <a:gd name="connsiteX49" fmla="*/ 128850 w 4818179"/>
                    <a:gd name="connsiteY49" fmla="*/ 2041423 h 3498714"/>
                    <a:gd name="connsiteX50" fmla="*/ 0 w 4818179"/>
                    <a:gd name="connsiteY50" fmla="*/ 1912573 h 3498714"/>
                    <a:gd name="connsiteX51" fmla="*/ 0 w 4818179"/>
                    <a:gd name="connsiteY51" fmla="*/ 1101802 h 3498714"/>
                    <a:gd name="connsiteX52" fmla="*/ 0 w 4818179"/>
                    <a:gd name="connsiteY52" fmla="*/ 1003338 h 3498714"/>
                    <a:gd name="connsiteX53" fmla="*/ 0 w 4818179"/>
                    <a:gd name="connsiteY53" fmla="*/ 982486 h 3498714"/>
                    <a:gd name="connsiteX54" fmla="*/ 12733 w 4818179"/>
                    <a:gd name="connsiteY54" fmla="*/ 894663 h 3498714"/>
                    <a:gd name="connsiteX55" fmla="*/ 20539 w 4818179"/>
                    <a:gd name="connsiteY55" fmla="*/ 868773 h 3498714"/>
                    <a:gd name="connsiteX56" fmla="*/ 358791 w 4818179"/>
                    <a:gd name="connsiteY56" fmla="*/ 644545 h 3498714"/>
                    <a:gd name="connsiteX57" fmla="*/ 682782 w 4818179"/>
                    <a:gd name="connsiteY57" fmla="*/ 0 h 3498714"/>
                    <a:gd name="connsiteX58" fmla="*/ 966919 w 4818179"/>
                    <a:gd name="connsiteY58" fmla="*/ 284138 h 3498714"/>
                    <a:gd name="connsiteX59" fmla="*/ 682782 w 4818179"/>
                    <a:gd name="connsiteY59" fmla="*/ 568275 h 3498714"/>
                    <a:gd name="connsiteX60" fmla="*/ 398645 w 4818179"/>
                    <a:gd name="connsiteY60" fmla="*/ 284138 h 3498714"/>
                    <a:gd name="connsiteX61" fmla="*/ 682782 w 4818179"/>
                    <a:gd name="connsiteY61" fmla="*/ 0 h 3498714"/>
                    <a:gd name="connsiteX62" fmla="*/ 4818179 w 4818179"/>
                    <a:gd name="connsiteY62" fmla="*/ 3013437 h 3498714"/>
                    <a:gd name="connsiteX63" fmla="*/ 4707054 w 4818179"/>
                    <a:gd name="connsiteY63" fmla="*/ 3124562 h 3498714"/>
                    <a:gd name="connsiteX64" fmla="*/ 4545125 w 4818179"/>
                    <a:gd name="connsiteY64" fmla="*/ 3124562 h 3498714"/>
                    <a:gd name="connsiteX65" fmla="*/ 4545125 w 4818179"/>
                    <a:gd name="connsiteY65" fmla="*/ 3361625 h 3498714"/>
                    <a:gd name="connsiteX66" fmla="*/ 4436113 w 4818179"/>
                    <a:gd name="connsiteY66" fmla="*/ 3470637 h 3498714"/>
                    <a:gd name="connsiteX67" fmla="*/ 4235039 w 4818179"/>
                    <a:gd name="connsiteY67" fmla="*/ 3470637 h 3498714"/>
                    <a:gd name="connsiteX68" fmla="*/ 2589325 w 4818179"/>
                    <a:gd name="connsiteY68" fmla="*/ 3124562 h 3498714"/>
                    <a:gd name="connsiteX69" fmla="*/ 2589325 w 4818179"/>
                    <a:gd name="connsiteY69" fmla="*/ 3361625 h 3498714"/>
                    <a:gd name="connsiteX70" fmla="*/ 2480313 w 4818179"/>
                    <a:gd name="connsiteY70" fmla="*/ 3470637 h 3498714"/>
                    <a:gd name="connsiteX71" fmla="*/ 2279239 w 4818179"/>
                    <a:gd name="connsiteY71" fmla="*/ 3470637 h 3498714"/>
                    <a:gd name="connsiteX72" fmla="*/ 2170227 w 4818179"/>
                    <a:gd name="connsiteY72" fmla="*/ 3361625 h 3498714"/>
                    <a:gd name="connsiteX73" fmla="*/ 2170227 w 4818179"/>
                    <a:gd name="connsiteY73" fmla="*/ 3124562 h 3498714"/>
                    <a:gd name="connsiteX74" fmla="*/ 2052754 w 4818179"/>
                    <a:gd name="connsiteY74" fmla="*/ 3124562 h 3498714"/>
                    <a:gd name="connsiteX75" fmla="*/ 1941629 w 4818179"/>
                    <a:gd name="connsiteY75" fmla="*/ 3013437 h 3498714"/>
                    <a:gd name="connsiteX76" fmla="*/ 2052754 w 4818179"/>
                    <a:gd name="connsiteY76" fmla="*/ 2902312 h 3498714"/>
                    <a:gd name="connsiteX77" fmla="*/ 682782 w 4818179"/>
                    <a:gd name="connsiteY77" fmla="*/ 0 h 3498714"/>
                    <a:gd name="connsiteX0" fmla="*/ 2251033 w 4707054"/>
                    <a:gd name="connsiteY0" fmla="*/ 2089512 h 3498714"/>
                    <a:gd name="connsiteX1" fmla="*/ 2070058 w 4707054"/>
                    <a:gd name="connsiteY1" fmla="*/ 2270487 h 3498714"/>
                    <a:gd name="connsiteX2" fmla="*/ 2251033 w 4707054"/>
                    <a:gd name="connsiteY2" fmla="*/ 2451462 h 3498714"/>
                    <a:gd name="connsiteX3" fmla="*/ 2432008 w 4707054"/>
                    <a:gd name="connsiteY3" fmla="*/ 2270487 h 3498714"/>
                    <a:gd name="connsiteX4" fmla="*/ 2251033 w 4707054"/>
                    <a:gd name="connsiteY4" fmla="*/ 2089512 h 3498714"/>
                    <a:gd name="connsiteX5" fmla="*/ 2842751 w 4707054"/>
                    <a:gd name="connsiteY5" fmla="*/ 1749356 h 3498714"/>
                    <a:gd name="connsiteX6" fmla="*/ 2392797 w 4707054"/>
                    <a:gd name="connsiteY6" fmla="*/ 1878907 h 3498714"/>
                    <a:gd name="connsiteX7" fmla="*/ 2478781 w 4707054"/>
                    <a:gd name="connsiteY7" fmla="*/ 1920808 h 3498714"/>
                    <a:gd name="connsiteX8" fmla="*/ 2842751 w 4707054"/>
                    <a:gd name="connsiteY8" fmla="*/ 1749356 h 3498714"/>
                    <a:gd name="connsiteX9" fmla="*/ 2534724 w 4707054"/>
                    <a:gd name="connsiteY9" fmla="*/ 982297 h 3498714"/>
                    <a:gd name="connsiteX10" fmla="*/ 1970999 w 4707054"/>
                    <a:gd name="connsiteY10" fmla="*/ 2826112 h 3498714"/>
                    <a:gd name="connsiteX11" fmla="*/ 1850348 w 4707054"/>
                    <a:gd name="connsiteY11" fmla="*/ 2705462 h 3498714"/>
                    <a:gd name="connsiteX12" fmla="*/ 1956769 w 4707054"/>
                    <a:gd name="connsiteY12" fmla="*/ 2587684 h 3498714"/>
                    <a:gd name="connsiteX13" fmla="*/ 1823360 w 4707054"/>
                    <a:gd name="connsiteY13" fmla="*/ 2279217 h 3498714"/>
                    <a:gd name="connsiteX14" fmla="*/ 2217440 w 4707054"/>
                    <a:gd name="connsiteY14" fmla="*/ 1856216 h 3498714"/>
                    <a:gd name="connsiteX15" fmla="*/ 2534724 w 4707054"/>
                    <a:gd name="connsiteY15" fmla="*/ 982297 h 3498714"/>
                    <a:gd name="connsiteX16" fmla="*/ 358791 w 4707054"/>
                    <a:gd name="connsiteY16" fmla="*/ 644545 h 3498714"/>
                    <a:gd name="connsiteX17" fmla="*/ 1006774 w 4707054"/>
                    <a:gd name="connsiteY17" fmla="*/ 644545 h 3498714"/>
                    <a:gd name="connsiteX18" fmla="*/ 1542636 w 4707054"/>
                    <a:gd name="connsiteY18" fmla="*/ 1193969 h 3498714"/>
                    <a:gd name="connsiteX19" fmla="*/ 1929878 w 4707054"/>
                    <a:gd name="connsiteY19" fmla="*/ 1193970 h 3498714"/>
                    <a:gd name="connsiteX20" fmla="*/ 2070059 w 4707054"/>
                    <a:gd name="connsiteY20" fmla="*/ 1334152 h 3498714"/>
                    <a:gd name="connsiteX21" fmla="*/ 1929878 w 4707054"/>
                    <a:gd name="connsiteY21" fmla="*/ 1474333 h 3498714"/>
                    <a:gd name="connsiteX22" fmla="*/ 1520943 w 4707054"/>
                    <a:gd name="connsiteY22" fmla="*/ 1470388 h 3498714"/>
                    <a:gd name="connsiteX23" fmla="*/ 1332825 w 4707054"/>
                    <a:gd name="connsiteY23" fmla="*/ 1367201 h 3498714"/>
                    <a:gd name="connsiteX24" fmla="*/ 1106501 w 4707054"/>
                    <a:gd name="connsiteY24" fmla="*/ 1098289 h 3498714"/>
                    <a:gd name="connsiteX25" fmla="*/ 1101049 w 4707054"/>
                    <a:gd name="connsiteY25" fmla="*/ 1092836 h 3498714"/>
                    <a:gd name="connsiteX26" fmla="*/ 1046523 w 4707054"/>
                    <a:gd name="connsiteY26" fmla="*/ 1092836 h 3498714"/>
                    <a:gd name="connsiteX27" fmla="*/ 1041071 w 4707054"/>
                    <a:gd name="connsiteY27" fmla="*/ 1098289 h 3498714"/>
                    <a:gd name="connsiteX28" fmla="*/ 1042136 w 4707054"/>
                    <a:gd name="connsiteY28" fmla="*/ 1419754 h 3498714"/>
                    <a:gd name="connsiteX29" fmla="*/ 1042136 w 4707054"/>
                    <a:gd name="connsiteY29" fmla="*/ 3337652 h 3498714"/>
                    <a:gd name="connsiteX30" fmla="*/ 881075 w 4707054"/>
                    <a:gd name="connsiteY30" fmla="*/ 3498714 h 3498714"/>
                    <a:gd name="connsiteX31" fmla="*/ 720012 w 4707054"/>
                    <a:gd name="connsiteY31" fmla="*/ 3337652 h 3498714"/>
                    <a:gd name="connsiteX32" fmla="*/ 720012 w 4707054"/>
                    <a:gd name="connsiteY32" fmla="*/ 2125717 h 3498714"/>
                    <a:gd name="connsiteX33" fmla="*/ 718947 w 4707054"/>
                    <a:gd name="connsiteY33" fmla="*/ 2033194 h 3498714"/>
                    <a:gd name="connsiteX34" fmla="*/ 714162 w 4707054"/>
                    <a:gd name="connsiteY34" fmla="*/ 2028410 h 3498714"/>
                    <a:gd name="connsiteX35" fmla="*/ 654759 w 4707054"/>
                    <a:gd name="connsiteY35" fmla="*/ 2028410 h 3498714"/>
                    <a:gd name="connsiteX36" fmla="*/ 649974 w 4707054"/>
                    <a:gd name="connsiteY36" fmla="*/ 2033194 h 3498714"/>
                    <a:gd name="connsiteX37" fmla="*/ 649974 w 4707054"/>
                    <a:gd name="connsiteY37" fmla="*/ 2125717 h 3498714"/>
                    <a:gd name="connsiteX38" fmla="*/ 649574 w 4707054"/>
                    <a:gd name="connsiteY38" fmla="*/ 3337652 h 3498714"/>
                    <a:gd name="connsiteX39" fmla="*/ 488511 w 4707054"/>
                    <a:gd name="connsiteY39" fmla="*/ 3498714 h 3498714"/>
                    <a:gd name="connsiteX40" fmla="*/ 327450 w 4707054"/>
                    <a:gd name="connsiteY40" fmla="*/ 3337652 h 3498714"/>
                    <a:gd name="connsiteX41" fmla="*/ 327450 w 4707054"/>
                    <a:gd name="connsiteY41" fmla="*/ 1458216 h 3498714"/>
                    <a:gd name="connsiteX42" fmla="*/ 322427 w 4707054"/>
                    <a:gd name="connsiteY42" fmla="*/ 1098205 h 3498714"/>
                    <a:gd name="connsiteX43" fmla="*/ 317058 w 4707054"/>
                    <a:gd name="connsiteY43" fmla="*/ 1092836 h 3498714"/>
                    <a:gd name="connsiteX44" fmla="*/ 263371 w 4707054"/>
                    <a:gd name="connsiteY44" fmla="*/ 1092836 h 3498714"/>
                    <a:gd name="connsiteX45" fmla="*/ 258001 w 4707054"/>
                    <a:gd name="connsiteY45" fmla="*/ 1098205 h 3498714"/>
                    <a:gd name="connsiteX46" fmla="*/ 258001 w 4707054"/>
                    <a:gd name="connsiteY46" fmla="*/ 1444446 h 3498714"/>
                    <a:gd name="connsiteX47" fmla="*/ 257700 w 4707054"/>
                    <a:gd name="connsiteY47" fmla="*/ 1444370 h 3498714"/>
                    <a:gd name="connsiteX48" fmla="*/ 257700 w 4707054"/>
                    <a:gd name="connsiteY48" fmla="*/ 1912573 h 3498714"/>
                    <a:gd name="connsiteX49" fmla="*/ 128850 w 4707054"/>
                    <a:gd name="connsiteY49" fmla="*/ 2041423 h 3498714"/>
                    <a:gd name="connsiteX50" fmla="*/ 0 w 4707054"/>
                    <a:gd name="connsiteY50" fmla="*/ 1912573 h 3498714"/>
                    <a:gd name="connsiteX51" fmla="*/ 0 w 4707054"/>
                    <a:gd name="connsiteY51" fmla="*/ 1101802 h 3498714"/>
                    <a:gd name="connsiteX52" fmla="*/ 0 w 4707054"/>
                    <a:gd name="connsiteY52" fmla="*/ 1003338 h 3498714"/>
                    <a:gd name="connsiteX53" fmla="*/ 0 w 4707054"/>
                    <a:gd name="connsiteY53" fmla="*/ 982486 h 3498714"/>
                    <a:gd name="connsiteX54" fmla="*/ 12733 w 4707054"/>
                    <a:gd name="connsiteY54" fmla="*/ 894663 h 3498714"/>
                    <a:gd name="connsiteX55" fmla="*/ 20539 w 4707054"/>
                    <a:gd name="connsiteY55" fmla="*/ 868773 h 3498714"/>
                    <a:gd name="connsiteX56" fmla="*/ 358791 w 4707054"/>
                    <a:gd name="connsiteY56" fmla="*/ 644545 h 3498714"/>
                    <a:gd name="connsiteX57" fmla="*/ 682782 w 4707054"/>
                    <a:gd name="connsiteY57" fmla="*/ 0 h 3498714"/>
                    <a:gd name="connsiteX58" fmla="*/ 966919 w 4707054"/>
                    <a:gd name="connsiteY58" fmla="*/ 284138 h 3498714"/>
                    <a:gd name="connsiteX59" fmla="*/ 682782 w 4707054"/>
                    <a:gd name="connsiteY59" fmla="*/ 568275 h 3498714"/>
                    <a:gd name="connsiteX60" fmla="*/ 398645 w 4707054"/>
                    <a:gd name="connsiteY60" fmla="*/ 284138 h 3498714"/>
                    <a:gd name="connsiteX61" fmla="*/ 682782 w 4707054"/>
                    <a:gd name="connsiteY61" fmla="*/ 0 h 3498714"/>
                    <a:gd name="connsiteX62" fmla="*/ 4707054 w 4707054"/>
                    <a:gd name="connsiteY62" fmla="*/ 3124562 h 3498714"/>
                    <a:gd name="connsiteX63" fmla="*/ 4545125 w 4707054"/>
                    <a:gd name="connsiteY63" fmla="*/ 3124562 h 3498714"/>
                    <a:gd name="connsiteX64" fmla="*/ 4545125 w 4707054"/>
                    <a:gd name="connsiteY64" fmla="*/ 3361625 h 3498714"/>
                    <a:gd name="connsiteX65" fmla="*/ 4436113 w 4707054"/>
                    <a:gd name="connsiteY65" fmla="*/ 3470637 h 3498714"/>
                    <a:gd name="connsiteX66" fmla="*/ 4235039 w 4707054"/>
                    <a:gd name="connsiteY66" fmla="*/ 3470637 h 3498714"/>
                    <a:gd name="connsiteX67" fmla="*/ 2589325 w 4707054"/>
                    <a:gd name="connsiteY67" fmla="*/ 3124562 h 3498714"/>
                    <a:gd name="connsiteX68" fmla="*/ 2589325 w 4707054"/>
                    <a:gd name="connsiteY68" fmla="*/ 3361625 h 3498714"/>
                    <a:gd name="connsiteX69" fmla="*/ 2480313 w 4707054"/>
                    <a:gd name="connsiteY69" fmla="*/ 3470637 h 3498714"/>
                    <a:gd name="connsiteX70" fmla="*/ 2279239 w 4707054"/>
                    <a:gd name="connsiteY70" fmla="*/ 3470637 h 3498714"/>
                    <a:gd name="connsiteX71" fmla="*/ 2170227 w 4707054"/>
                    <a:gd name="connsiteY71" fmla="*/ 3361625 h 3498714"/>
                    <a:gd name="connsiteX72" fmla="*/ 2170227 w 4707054"/>
                    <a:gd name="connsiteY72" fmla="*/ 3124562 h 3498714"/>
                    <a:gd name="connsiteX73" fmla="*/ 2052754 w 4707054"/>
                    <a:gd name="connsiteY73" fmla="*/ 3124562 h 3498714"/>
                    <a:gd name="connsiteX74" fmla="*/ 1941629 w 4707054"/>
                    <a:gd name="connsiteY74" fmla="*/ 3013437 h 3498714"/>
                    <a:gd name="connsiteX75" fmla="*/ 2052754 w 4707054"/>
                    <a:gd name="connsiteY75" fmla="*/ 2902312 h 3498714"/>
                    <a:gd name="connsiteX76" fmla="*/ 682782 w 4707054"/>
                    <a:gd name="connsiteY76" fmla="*/ 0 h 3498714"/>
                    <a:gd name="connsiteX0" fmla="*/ 2251033 w 4545125"/>
                    <a:gd name="connsiteY0" fmla="*/ 2089512 h 3498714"/>
                    <a:gd name="connsiteX1" fmla="*/ 2070058 w 4545125"/>
                    <a:gd name="connsiteY1" fmla="*/ 2270487 h 3498714"/>
                    <a:gd name="connsiteX2" fmla="*/ 2251033 w 4545125"/>
                    <a:gd name="connsiteY2" fmla="*/ 2451462 h 3498714"/>
                    <a:gd name="connsiteX3" fmla="*/ 2432008 w 4545125"/>
                    <a:gd name="connsiteY3" fmla="*/ 2270487 h 3498714"/>
                    <a:gd name="connsiteX4" fmla="*/ 2251033 w 4545125"/>
                    <a:gd name="connsiteY4" fmla="*/ 2089512 h 3498714"/>
                    <a:gd name="connsiteX5" fmla="*/ 2842751 w 4545125"/>
                    <a:gd name="connsiteY5" fmla="*/ 1749356 h 3498714"/>
                    <a:gd name="connsiteX6" fmla="*/ 2392797 w 4545125"/>
                    <a:gd name="connsiteY6" fmla="*/ 1878907 h 3498714"/>
                    <a:gd name="connsiteX7" fmla="*/ 2478781 w 4545125"/>
                    <a:gd name="connsiteY7" fmla="*/ 1920808 h 3498714"/>
                    <a:gd name="connsiteX8" fmla="*/ 2842751 w 4545125"/>
                    <a:gd name="connsiteY8" fmla="*/ 1749356 h 3498714"/>
                    <a:gd name="connsiteX9" fmla="*/ 2534724 w 4545125"/>
                    <a:gd name="connsiteY9" fmla="*/ 982297 h 3498714"/>
                    <a:gd name="connsiteX10" fmla="*/ 1970999 w 4545125"/>
                    <a:gd name="connsiteY10" fmla="*/ 2826112 h 3498714"/>
                    <a:gd name="connsiteX11" fmla="*/ 1850348 w 4545125"/>
                    <a:gd name="connsiteY11" fmla="*/ 2705462 h 3498714"/>
                    <a:gd name="connsiteX12" fmla="*/ 1956769 w 4545125"/>
                    <a:gd name="connsiteY12" fmla="*/ 2587684 h 3498714"/>
                    <a:gd name="connsiteX13" fmla="*/ 1823360 w 4545125"/>
                    <a:gd name="connsiteY13" fmla="*/ 2279217 h 3498714"/>
                    <a:gd name="connsiteX14" fmla="*/ 2217440 w 4545125"/>
                    <a:gd name="connsiteY14" fmla="*/ 1856216 h 3498714"/>
                    <a:gd name="connsiteX15" fmla="*/ 2534724 w 4545125"/>
                    <a:gd name="connsiteY15" fmla="*/ 982297 h 3498714"/>
                    <a:gd name="connsiteX16" fmla="*/ 358791 w 4545125"/>
                    <a:gd name="connsiteY16" fmla="*/ 644545 h 3498714"/>
                    <a:gd name="connsiteX17" fmla="*/ 1006774 w 4545125"/>
                    <a:gd name="connsiteY17" fmla="*/ 644545 h 3498714"/>
                    <a:gd name="connsiteX18" fmla="*/ 1542636 w 4545125"/>
                    <a:gd name="connsiteY18" fmla="*/ 1193969 h 3498714"/>
                    <a:gd name="connsiteX19" fmla="*/ 1929878 w 4545125"/>
                    <a:gd name="connsiteY19" fmla="*/ 1193970 h 3498714"/>
                    <a:gd name="connsiteX20" fmla="*/ 2070059 w 4545125"/>
                    <a:gd name="connsiteY20" fmla="*/ 1334152 h 3498714"/>
                    <a:gd name="connsiteX21" fmla="*/ 1929878 w 4545125"/>
                    <a:gd name="connsiteY21" fmla="*/ 1474333 h 3498714"/>
                    <a:gd name="connsiteX22" fmla="*/ 1520943 w 4545125"/>
                    <a:gd name="connsiteY22" fmla="*/ 1470388 h 3498714"/>
                    <a:gd name="connsiteX23" fmla="*/ 1332825 w 4545125"/>
                    <a:gd name="connsiteY23" fmla="*/ 1367201 h 3498714"/>
                    <a:gd name="connsiteX24" fmla="*/ 1106501 w 4545125"/>
                    <a:gd name="connsiteY24" fmla="*/ 1098289 h 3498714"/>
                    <a:gd name="connsiteX25" fmla="*/ 1101049 w 4545125"/>
                    <a:gd name="connsiteY25" fmla="*/ 1092836 h 3498714"/>
                    <a:gd name="connsiteX26" fmla="*/ 1046523 w 4545125"/>
                    <a:gd name="connsiteY26" fmla="*/ 1092836 h 3498714"/>
                    <a:gd name="connsiteX27" fmla="*/ 1041071 w 4545125"/>
                    <a:gd name="connsiteY27" fmla="*/ 1098289 h 3498714"/>
                    <a:gd name="connsiteX28" fmla="*/ 1042136 w 4545125"/>
                    <a:gd name="connsiteY28" fmla="*/ 1419754 h 3498714"/>
                    <a:gd name="connsiteX29" fmla="*/ 1042136 w 4545125"/>
                    <a:gd name="connsiteY29" fmla="*/ 3337652 h 3498714"/>
                    <a:gd name="connsiteX30" fmla="*/ 881075 w 4545125"/>
                    <a:gd name="connsiteY30" fmla="*/ 3498714 h 3498714"/>
                    <a:gd name="connsiteX31" fmla="*/ 720012 w 4545125"/>
                    <a:gd name="connsiteY31" fmla="*/ 3337652 h 3498714"/>
                    <a:gd name="connsiteX32" fmla="*/ 720012 w 4545125"/>
                    <a:gd name="connsiteY32" fmla="*/ 2125717 h 3498714"/>
                    <a:gd name="connsiteX33" fmla="*/ 718947 w 4545125"/>
                    <a:gd name="connsiteY33" fmla="*/ 2033194 h 3498714"/>
                    <a:gd name="connsiteX34" fmla="*/ 714162 w 4545125"/>
                    <a:gd name="connsiteY34" fmla="*/ 2028410 h 3498714"/>
                    <a:gd name="connsiteX35" fmla="*/ 654759 w 4545125"/>
                    <a:gd name="connsiteY35" fmla="*/ 2028410 h 3498714"/>
                    <a:gd name="connsiteX36" fmla="*/ 649974 w 4545125"/>
                    <a:gd name="connsiteY36" fmla="*/ 2033194 h 3498714"/>
                    <a:gd name="connsiteX37" fmla="*/ 649974 w 4545125"/>
                    <a:gd name="connsiteY37" fmla="*/ 2125717 h 3498714"/>
                    <a:gd name="connsiteX38" fmla="*/ 649574 w 4545125"/>
                    <a:gd name="connsiteY38" fmla="*/ 3337652 h 3498714"/>
                    <a:gd name="connsiteX39" fmla="*/ 488511 w 4545125"/>
                    <a:gd name="connsiteY39" fmla="*/ 3498714 h 3498714"/>
                    <a:gd name="connsiteX40" fmla="*/ 327450 w 4545125"/>
                    <a:gd name="connsiteY40" fmla="*/ 3337652 h 3498714"/>
                    <a:gd name="connsiteX41" fmla="*/ 327450 w 4545125"/>
                    <a:gd name="connsiteY41" fmla="*/ 1458216 h 3498714"/>
                    <a:gd name="connsiteX42" fmla="*/ 322427 w 4545125"/>
                    <a:gd name="connsiteY42" fmla="*/ 1098205 h 3498714"/>
                    <a:gd name="connsiteX43" fmla="*/ 317058 w 4545125"/>
                    <a:gd name="connsiteY43" fmla="*/ 1092836 h 3498714"/>
                    <a:gd name="connsiteX44" fmla="*/ 263371 w 4545125"/>
                    <a:gd name="connsiteY44" fmla="*/ 1092836 h 3498714"/>
                    <a:gd name="connsiteX45" fmla="*/ 258001 w 4545125"/>
                    <a:gd name="connsiteY45" fmla="*/ 1098205 h 3498714"/>
                    <a:gd name="connsiteX46" fmla="*/ 258001 w 4545125"/>
                    <a:gd name="connsiteY46" fmla="*/ 1444446 h 3498714"/>
                    <a:gd name="connsiteX47" fmla="*/ 257700 w 4545125"/>
                    <a:gd name="connsiteY47" fmla="*/ 1444370 h 3498714"/>
                    <a:gd name="connsiteX48" fmla="*/ 257700 w 4545125"/>
                    <a:gd name="connsiteY48" fmla="*/ 1912573 h 3498714"/>
                    <a:gd name="connsiteX49" fmla="*/ 128850 w 4545125"/>
                    <a:gd name="connsiteY49" fmla="*/ 2041423 h 3498714"/>
                    <a:gd name="connsiteX50" fmla="*/ 0 w 4545125"/>
                    <a:gd name="connsiteY50" fmla="*/ 1912573 h 3498714"/>
                    <a:gd name="connsiteX51" fmla="*/ 0 w 4545125"/>
                    <a:gd name="connsiteY51" fmla="*/ 1101802 h 3498714"/>
                    <a:gd name="connsiteX52" fmla="*/ 0 w 4545125"/>
                    <a:gd name="connsiteY52" fmla="*/ 1003338 h 3498714"/>
                    <a:gd name="connsiteX53" fmla="*/ 0 w 4545125"/>
                    <a:gd name="connsiteY53" fmla="*/ 982486 h 3498714"/>
                    <a:gd name="connsiteX54" fmla="*/ 12733 w 4545125"/>
                    <a:gd name="connsiteY54" fmla="*/ 894663 h 3498714"/>
                    <a:gd name="connsiteX55" fmla="*/ 20539 w 4545125"/>
                    <a:gd name="connsiteY55" fmla="*/ 868773 h 3498714"/>
                    <a:gd name="connsiteX56" fmla="*/ 358791 w 4545125"/>
                    <a:gd name="connsiteY56" fmla="*/ 644545 h 3498714"/>
                    <a:gd name="connsiteX57" fmla="*/ 682782 w 4545125"/>
                    <a:gd name="connsiteY57" fmla="*/ 0 h 3498714"/>
                    <a:gd name="connsiteX58" fmla="*/ 966919 w 4545125"/>
                    <a:gd name="connsiteY58" fmla="*/ 284138 h 3498714"/>
                    <a:gd name="connsiteX59" fmla="*/ 682782 w 4545125"/>
                    <a:gd name="connsiteY59" fmla="*/ 568275 h 3498714"/>
                    <a:gd name="connsiteX60" fmla="*/ 398645 w 4545125"/>
                    <a:gd name="connsiteY60" fmla="*/ 284138 h 3498714"/>
                    <a:gd name="connsiteX61" fmla="*/ 682782 w 4545125"/>
                    <a:gd name="connsiteY61" fmla="*/ 0 h 3498714"/>
                    <a:gd name="connsiteX62" fmla="*/ 4545125 w 4545125"/>
                    <a:gd name="connsiteY62" fmla="*/ 3124562 h 3498714"/>
                    <a:gd name="connsiteX63" fmla="*/ 4545125 w 4545125"/>
                    <a:gd name="connsiteY63" fmla="*/ 3361625 h 3498714"/>
                    <a:gd name="connsiteX64" fmla="*/ 4436113 w 4545125"/>
                    <a:gd name="connsiteY64" fmla="*/ 3470637 h 3498714"/>
                    <a:gd name="connsiteX65" fmla="*/ 4235039 w 4545125"/>
                    <a:gd name="connsiteY65" fmla="*/ 3470637 h 3498714"/>
                    <a:gd name="connsiteX66" fmla="*/ 2589325 w 4545125"/>
                    <a:gd name="connsiteY66" fmla="*/ 3124562 h 3498714"/>
                    <a:gd name="connsiteX67" fmla="*/ 2589325 w 4545125"/>
                    <a:gd name="connsiteY67" fmla="*/ 3361625 h 3498714"/>
                    <a:gd name="connsiteX68" fmla="*/ 2480313 w 4545125"/>
                    <a:gd name="connsiteY68" fmla="*/ 3470637 h 3498714"/>
                    <a:gd name="connsiteX69" fmla="*/ 2279239 w 4545125"/>
                    <a:gd name="connsiteY69" fmla="*/ 3470637 h 3498714"/>
                    <a:gd name="connsiteX70" fmla="*/ 2170227 w 4545125"/>
                    <a:gd name="connsiteY70" fmla="*/ 3361625 h 3498714"/>
                    <a:gd name="connsiteX71" fmla="*/ 2170227 w 4545125"/>
                    <a:gd name="connsiteY71" fmla="*/ 3124562 h 3498714"/>
                    <a:gd name="connsiteX72" fmla="*/ 2052754 w 4545125"/>
                    <a:gd name="connsiteY72" fmla="*/ 3124562 h 3498714"/>
                    <a:gd name="connsiteX73" fmla="*/ 1941629 w 4545125"/>
                    <a:gd name="connsiteY73" fmla="*/ 3013437 h 3498714"/>
                    <a:gd name="connsiteX74" fmla="*/ 2052754 w 4545125"/>
                    <a:gd name="connsiteY74" fmla="*/ 2902312 h 3498714"/>
                    <a:gd name="connsiteX75" fmla="*/ 682782 w 4545125"/>
                    <a:gd name="connsiteY75" fmla="*/ 0 h 3498714"/>
                    <a:gd name="connsiteX0" fmla="*/ 2251033 w 4545125"/>
                    <a:gd name="connsiteY0" fmla="*/ 2089512 h 3498714"/>
                    <a:gd name="connsiteX1" fmla="*/ 2070058 w 4545125"/>
                    <a:gd name="connsiteY1" fmla="*/ 2270487 h 3498714"/>
                    <a:gd name="connsiteX2" fmla="*/ 2251033 w 4545125"/>
                    <a:gd name="connsiteY2" fmla="*/ 2451462 h 3498714"/>
                    <a:gd name="connsiteX3" fmla="*/ 2432008 w 4545125"/>
                    <a:gd name="connsiteY3" fmla="*/ 2270487 h 3498714"/>
                    <a:gd name="connsiteX4" fmla="*/ 2251033 w 4545125"/>
                    <a:gd name="connsiteY4" fmla="*/ 2089512 h 3498714"/>
                    <a:gd name="connsiteX5" fmla="*/ 2842751 w 4545125"/>
                    <a:gd name="connsiteY5" fmla="*/ 1749356 h 3498714"/>
                    <a:gd name="connsiteX6" fmla="*/ 2392797 w 4545125"/>
                    <a:gd name="connsiteY6" fmla="*/ 1878907 h 3498714"/>
                    <a:gd name="connsiteX7" fmla="*/ 2478781 w 4545125"/>
                    <a:gd name="connsiteY7" fmla="*/ 1920808 h 3498714"/>
                    <a:gd name="connsiteX8" fmla="*/ 2842751 w 4545125"/>
                    <a:gd name="connsiteY8" fmla="*/ 1749356 h 3498714"/>
                    <a:gd name="connsiteX9" fmla="*/ 2534724 w 4545125"/>
                    <a:gd name="connsiteY9" fmla="*/ 982297 h 3498714"/>
                    <a:gd name="connsiteX10" fmla="*/ 1970999 w 4545125"/>
                    <a:gd name="connsiteY10" fmla="*/ 2826112 h 3498714"/>
                    <a:gd name="connsiteX11" fmla="*/ 1850348 w 4545125"/>
                    <a:gd name="connsiteY11" fmla="*/ 2705462 h 3498714"/>
                    <a:gd name="connsiteX12" fmla="*/ 1956769 w 4545125"/>
                    <a:gd name="connsiteY12" fmla="*/ 2587684 h 3498714"/>
                    <a:gd name="connsiteX13" fmla="*/ 1823360 w 4545125"/>
                    <a:gd name="connsiteY13" fmla="*/ 2279217 h 3498714"/>
                    <a:gd name="connsiteX14" fmla="*/ 2217440 w 4545125"/>
                    <a:gd name="connsiteY14" fmla="*/ 1856216 h 3498714"/>
                    <a:gd name="connsiteX15" fmla="*/ 2534724 w 4545125"/>
                    <a:gd name="connsiteY15" fmla="*/ 982297 h 3498714"/>
                    <a:gd name="connsiteX16" fmla="*/ 358791 w 4545125"/>
                    <a:gd name="connsiteY16" fmla="*/ 644545 h 3498714"/>
                    <a:gd name="connsiteX17" fmla="*/ 1006774 w 4545125"/>
                    <a:gd name="connsiteY17" fmla="*/ 644545 h 3498714"/>
                    <a:gd name="connsiteX18" fmla="*/ 1542636 w 4545125"/>
                    <a:gd name="connsiteY18" fmla="*/ 1193969 h 3498714"/>
                    <a:gd name="connsiteX19" fmla="*/ 1929878 w 4545125"/>
                    <a:gd name="connsiteY19" fmla="*/ 1193970 h 3498714"/>
                    <a:gd name="connsiteX20" fmla="*/ 2070059 w 4545125"/>
                    <a:gd name="connsiteY20" fmla="*/ 1334152 h 3498714"/>
                    <a:gd name="connsiteX21" fmla="*/ 1929878 w 4545125"/>
                    <a:gd name="connsiteY21" fmla="*/ 1474333 h 3498714"/>
                    <a:gd name="connsiteX22" fmla="*/ 1520943 w 4545125"/>
                    <a:gd name="connsiteY22" fmla="*/ 1470388 h 3498714"/>
                    <a:gd name="connsiteX23" fmla="*/ 1332825 w 4545125"/>
                    <a:gd name="connsiteY23" fmla="*/ 1367201 h 3498714"/>
                    <a:gd name="connsiteX24" fmla="*/ 1106501 w 4545125"/>
                    <a:gd name="connsiteY24" fmla="*/ 1098289 h 3498714"/>
                    <a:gd name="connsiteX25" fmla="*/ 1101049 w 4545125"/>
                    <a:gd name="connsiteY25" fmla="*/ 1092836 h 3498714"/>
                    <a:gd name="connsiteX26" fmla="*/ 1046523 w 4545125"/>
                    <a:gd name="connsiteY26" fmla="*/ 1092836 h 3498714"/>
                    <a:gd name="connsiteX27" fmla="*/ 1041071 w 4545125"/>
                    <a:gd name="connsiteY27" fmla="*/ 1098289 h 3498714"/>
                    <a:gd name="connsiteX28" fmla="*/ 1042136 w 4545125"/>
                    <a:gd name="connsiteY28" fmla="*/ 1419754 h 3498714"/>
                    <a:gd name="connsiteX29" fmla="*/ 1042136 w 4545125"/>
                    <a:gd name="connsiteY29" fmla="*/ 3337652 h 3498714"/>
                    <a:gd name="connsiteX30" fmla="*/ 881075 w 4545125"/>
                    <a:gd name="connsiteY30" fmla="*/ 3498714 h 3498714"/>
                    <a:gd name="connsiteX31" fmla="*/ 720012 w 4545125"/>
                    <a:gd name="connsiteY31" fmla="*/ 3337652 h 3498714"/>
                    <a:gd name="connsiteX32" fmla="*/ 720012 w 4545125"/>
                    <a:gd name="connsiteY32" fmla="*/ 2125717 h 3498714"/>
                    <a:gd name="connsiteX33" fmla="*/ 718947 w 4545125"/>
                    <a:gd name="connsiteY33" fmla="*/ 2033194 h 3498714"/>
                    <a:gd name="connsiteX34" fmla="*/ 714162 w 4545125"/>
                    <a:gd name="connsiteY34" fmla="*/ 2028410 h 3498714"/>
                    <a:gd name="connsiteX35" fmla="*/ 654759 w 4545125"/>
                    <a:gd name="connsiteY35" fmla="*/ 2028410 h 3498714"/>
                    <a:gd name="connsiteX36" fmla="*/ 649974 w 4545125"/>
                    <a:gd name="connsiteY36" fmla="*/ 2033194 h 3498714"/>
                    <a:gd name="connsiteX37" fmla="*/ 649974 w 4545125"/>
                    <a:gd name="connsiteY37" fmla="*/ 2125717 h 3498714"/>
                    <a:gd name="connsiteX38" fmla="*/ 649574 w 4545125"/>
                    <a:gd name="connsiteY38" fmla="*/ 3337652 h 3498714"/>
                    <a:gd name="connsiteX39" fmla="*/ 488511 w 4545125"/>
                    <a:gd name="connsiteY39" fmla="*/ 3498714 h 3498714"/>
                    <a:gd name="connsiteX40" fmla="*/ 327450 w 4545125"/>
                    <a:gd name="connsiteY40" fmla="*/ 3337652 h 3498714"/>
                    <a:gd name="connsiteX41" fmla="*/ 327450 w 4545125"/>
                    <a:gd name="connsiteY41" fmla="*/ 1458216 h 3498714"/>
                    <a:gd name="connsiteX42" fmla="*/ 322427 w 4545125"/>
                    <a:gd name="connsiteY42" fmla="*/ 1098205 h 3498714"/>
                    <a:gd name="connsiteX43" fmla="*/ 317058 w 4545125"/>
                    <a:gd name="connsiteY43" fmla="*/ 1092836 h 3498714"/>
                    <a:gd name="connsiteX44" fmla="*/ 263371 w 4545125"/>
                    <a:gd name="connsiteY44" fmla="*/ 1092836 h 3498714"/>
                    <a:gd name="connsiteX45" fmla="*/ 258001 w 4545125"/>
                    <a:gd name="connsiteY45" fmla="*/ 1098205 h 3498714"/>
                    <a:gd name="connsiteX46" fmla="*/ 258001 w 4545125"/>
                    <a:gd name="connsiteY46" fmla="*/ 1444446 h 3498714"/>
                    <a:gd name="connsiteX47" fmla="*/ 257700 w 4545125"/>
                    <a:gd name="connsiteY47" fmla="*/ 1444370 h 3498714"/>
                    <a:gd name="connsiteX48" fmla="*/ 257700 w 4545125"/>
                    <a:gd name="connsiteY48" fmla="*/ 1912573 h 3498714"/>
                    <a:gd name="connsiteX49" fmla="*/ 128850 w 4545125"/>
                    <a:gd name="connsiteY49" fmla="*/ 2041423 h 3498714"/>
                    <a:gd name="connsiteX50" fmla="*/ 0 w 4545125"/>
                    <a:gd name="connsiteY50" fmla="*/ 1912573 h 3498714"/>
                    <a:gd name="connsiteX51" fmla="*/ 0 w 4545125"/>
                    <a:gd name="connsiteY51" fmla="*/ 1101802 h 3498714"/>
                    <a:gd name="connsiteX52" fmla="*/ 0 w 4545125"/>
                    <a:gd name="connsiteY52" fmla="*/ 1003338 h 3498714"/>
                    <a:gd name="connsiteX53" fmla="*/ 0 w 4545125"/>
                    <a:gd name="connsiteY53" fmla="*/ 982486 h 3498714"/>
                    <a:gd name="connsiteX54" fmla="*/ 12733 w 4545125"/>
                    <a:gd name="connsiteY54" fmla="*/ 894663 h 3498714"/>
                    <a:gd name="connsiteX55" fmla="*/ 20539 w 4545125"/>
                    <a:gd name="connsiteY55" fmla="*/ 868773 h 3498714"/>
                    <a:gd name="connsiteX56" fmla="*/ 358791 w 4545125"/>
                    <a:gd name="connsiteY56" fmla="*/ 644545 h 3498714"/>
                    <a:gd name="connsiteX57" fmla="*/ 682782 w 4545125"/>
                    <a:gd name="connsiteY57" fmla="*/ 0 h 3498714"/>
                    <a:gd name="connsiteX58" fmla="*/ 966919 w 4545125"/>
                    <a:gd name="connsiteY58" fmla="*/ 284138 h 3498714"/>
                    <a:gd name="connsiteX59" fmla="*/ 682782 w 4545125"/>
                    <a:gd name="connsiteY59" fmla="*/ 568275 h 3498714"/>
                    <a:gd name="connsiteX60" fmla="*/ 398645 w 4545125"/>
                    <a:gd name="connsiteY60" fmla="*/ 284138 h 3498714"/>
                    <a:gd name="connsiteX61" fmla="*/ 682782 w 4545125"/>
                    <a:gd name="connsiteY61" fmla="*/ 0 h 3498714"/>
                    <a:gd name="connsiteX62" fmla="*/ 4545125 w 4545125"/>
                    <a:gd name="connsiteY62" fmla="*/ 3361625 h 3498714"/>
                    <a:gd name="connsiteX63" fmla="*/ 4436113 w 4545125"/>
                    <a:gd name="connsiteY63" fmla="*/ 3470637 h 3498714"/>
                    <a:gd name="connsiteX64" fmla="*/ 4235039 w 4545125"/>
                    <a:gd name="connsiteY64" fmla="*/ 3470637 h 3498714"/>
                    <a:gd name="connsiteX65" fmla="*/ 2589325 w 4545125"/>
                    <a:gd name="connsiteY65" fmla="*/ 3124562 h 3498714"/>
                    <a:gd name="connsiteX66" fmla="*/ 2589325 w 4545125"/>
                    <a:gd name="connsiteY66" fmla="*/ 3361625 h 3498714"/>
                    <a:gd name="connsiteX67" fmla="*/ 2480313 w 4545125"/>
                    <a:gd name="connsiteY67" fmla="*/ 3470637 h 3498714"/>
                    <a:gd name="connsiteX68" fmla="*/ 2279239 w 4545125"/>
                    <a:gd name="connsiteY68" fmla="*/ 3470637 h 3498714"/>
                    <a:gd name="connsiteX69" fmla="*/ 2170227 w 4545125"/>
                    <a:gd name="connsiteY69" fmla="*/ 3361625 h 3498714"/>
                    <a:gd name="connsiteX70" fmla="*/ 2170227 w 4545125"/>
                    <a:gd name="connsiteY70" fmla="*/ 3124562 h 3498714"/>
                    <a:gd name="connsiteX71" fmla="*/ 2052754 w 4545125"/>
                    <a:gd name="connsiteY71" fmla="*/ 3124562 h 3498714"/>
                    <a:gd name="connsiteX72" fmla="*/ 1941629 w 4545125"/>
                    <a:gd name="connsiteY72" fmla="*/ 3013437 h 3498714"/>
                    <a:gd name="connsiteX73" fmla="*/ 2052754 w 4545125"/>
                    <a:gd name="connsiteY73" fmla="*/ 2902312 h 3498714"/>
                    <a:gd name="connsiteX74" fmla="*/ 682782 w 4545125"/>
                    <a:gd name="connsiteY74" fmla="*/ 0 h 3498714"/>
                    <a:gd name="connsiteX0" fmla="*/ 2251033 w 4436113"/>
                    <a:gd name="connsiteY0" fmla="*/ 2089512 h 3498714"/>
                    <a:gd name="connsiteX1" fmla="*/ 2070058 w 4436113"/>
                    <a:gd name="connsiteY1" fmla="*/ 2270487 h 3498714"/>
                    <a:gd name="connsiteX2" fmla="*/ 2251033 w 4436113"/>
                    <a:gd name="connsiteY2" fmla="*/ 2451462 h 3498714"/>
                    <a:gd name="connsiteX3" fmla="*/ 2432008 w 4436113"/>
                    <a:gd name="connsiteY3" fmla="*/ 2270487 h 3498714"/>
                    <a:gd name="connsiteX4" fmla="*/ 2251033 w 4436113"/>
                    <a:gd name="connsiteY4" fmla="*/ 2089512 h 3498714"/>
                    <a:gd name="connsiteX5" fmla="*/ 2842751 w 4436113"/>
                    <a:gd name="connsiteY5" fmla="*/ 1749356 h 3498714"/>
                    <a:gd name="connsiteX6" fmla="*/ 2392797 w 4436113"/>
                    <a:gd name="connsiteY6" fmla="*/ 1878907 h 3498714"/>
                    <a:gd name="connsiteX7" fmla="*/ 2478781 w 4436113"/>
                    <a:gd name="connsiteY7" fmla="*/ 1920808 h 3498714"/>
                    <a:gd name="connsiteX8" fmla="*/ 2842751 w 4436113"/>
                    <a:gd name="connsiteY8" fmla="*/ 1749356 h 3498714"/>
                    <a:gd name="connsiteX9" fmla="*/ 2534724 w 4436113"/>
                    <a:gd name="connsiteY9" fmla="*/ 982297 h 3498714"/>
                    <a:gd name="connsiteX10" fmla="*/ 1970999 w 4436113"/>
                    <a:gd name="connsiteY10" fmla="*/ 2826112 h 3498714"/>
                    <a:gd name="connsiteX11" fmla="*/ 1850348 w 4436113"/>
                    <a:gd name="connsiteY11" fmla="*/ 2705462 h 3498714"/>
                    <a:gd name="connsiteX12" fmla="*/ 1956769 w 4436113"/>
                    <a:gd name="connsiteY12" fmla="*/ 2587684 h 3498714"/>
                    <a:gd name="connsiteX13" fmla="*/ 1823360 w 4436113"/>
                    <a:gd name="connsiteY13" fmla="*/ 2279217 h 3498714"/>
                    <a:gd name="connsiteX14" fmla="*/ 2217440 w 4436113"/>
                    <a:gd name="connsiteY14" fmla="*/ 1856216 h 3498714"/>
                    <a:gd name="connsiteX15" fmla="*/ 2534724 w 4436113"/>
                    <a:gd name="connsiteY15" fmla="*/ 982297 h 3498714"/>
                    <a:gd name="connsiteX16" fmla="*/ 358791 w 4436113"/>
                    <a:gd name="connsiteY16" fmla="*/ 644545 h 3498714"/>
                    <a:gd name="connsiteX17" fmla="*/ 1006774 w 4436113"/>
                    <a:gd name="connsiteY17" fmla="*/ 644545 h 3498714"/>
                    <a:gd name="connsiteX18" fmla="*/ 1542636 w 4436113"/>
                    <a:gd name="connsiteY18" fmla="*/ 1193969 h 3498714"/>
                    <a:gd name="connsiteX19" fmla="*/ 1929878 w 4436113"/>
                    <a:gd name="connsiteY19" fmla="*/ 1193970 h 3498714"/>
                    <a:gd name="connsiteX20" fmla="*/ 2070059 w 4436113"/>
                    <a:gd name="connsiteY20" fmla="*/ 1334152 h 3498714"/>
                    <a:gd name="connsiteX21" fmla="*/ 1929878 w 4436113"/>
                    <a:gd name="connsiteY21" fmla="*/ 1474333 h 3498714"/>
                    <a:gd name="connsiteX22" fmla="*/ 1520943 w 4436113"/>
                    <a:gd name="connsiteY22" fmla="*/ 1470388 h 3498714"/>
                    <a:gd name="connsiteX23" fmla="*/ 1332825 w 4436113"/>
                    <a:gd name="connsiteY23" fmla="*/ 1367201 h 3498714"/>
                    <a:gd name="connsiteX24" fmla="*/ 1106501 w 4436113"/>
                    <a:gd name="connsiteY24" fmla="*/ 1098289 h 3498714"/>
                    <a:gd name="connsiteX25" fmla="*/ 1101049 w 4436113"/>
                    <a:gd name="connsiteY25" fmla="*/ 1092836 h 3498714"/>
                    <a:gd name="connsiteX26" fmla="*/ 1046523 w 4436113"/>
                    <a:gd name="connsiteY26" fmla="*/ 1092836 h 3498714"/>
                    <a:gd name="connsiteX27" fmla="*/ 1041071 w 4436113"/>
                    <a:gd name="connsiteY27" fmla="*/ 1098289 h 3498714"/>
                    <a:gd name="connsiteX28" fmla="*/ 1042136 w 4436113"/>
                    <a:gd name="connsiteY28" fmla="*/ 1419754 h 3498714"/>
                    <a:gd name="connsiteX29" fmla="*/ 1042136 w 4436113"/>
                    <a:gd name="connsiteY29" fmla="*/ 3337652 h 3498714"/>
                    <a:gd name="connsiteX30" fmla="*/ 881075 w 4436113"/>
                    <a:gd name="connsiteY30" fmla="*/ 3498714 h 3498714"/>
                    <a:gd name="connsiteX31" fmla="*/ 720012 w 4436113"/>
                    <a:gd name="connsiteY31" fmla="*/ 3337652 h 3498714"/>
                    <a:gd name="connsiteX32" fmla="*/ 720012 w 4436113"/>
                    <a:gd name="connsiteY32" fmla="*/ 2125717 h 3498714"/>
                    <a:gd name="connsiteX33" fmla="*/ 718947 w 4436113"/>
                    <a:gd name="connsiteY33" fmla="*/ 2033194 h 3498714"/>
                    <a:gd name="connsiteX34" fmla="*/ 714162 w 4436113"/>
                    <a:gd name="connsiteY34" fmla="*/ 2028410 h 3498714"/>
                    <a:gd name="connsiteX35" fmla="*/ 654759 w 4436113"/>
                    <a:gd name="connsiteY35" fmla="*/ 2028410 h 3498714"/>
                    <a:gd name="connsiteX36" fmla="*/ 649974 w 4436113"/>
                    <a:gd name="connsiteY36" fmla="*/ 2033194 h 3498714"/>
                    <a:gd name="connsiteX37" fmla="*/ 649974 w 4436113"/>
                    <a:gd name="connsiteY37" fmla="*/ 2125717 h 3498714"/>
                    <a:gd name="connsiteX38" fmla="*/ 649574 w 4436113"/>
                    <a:gd name="connsiteY38" fmla="*/ 3337652 h 3498714"/>
                    <a:gd name="connsiteX39" fmla="*/ 488511 w 4436113"/>
                    <a:gd name="connsiteY39" fmla="*/ 3498714 h 3498714"/>
                    <a:gd name="connsiteX40" fmla="*/ 327450 w 4436113"/>
                    <a:gd name="connsiteY40" fmla="*/ 3337652 h 3498714"/>
                    <a:gd name="connsiteX41" fmla="*/ 327450 w 4436113"/>
                    <a:gd name="connsiteY41" fmla="*/ 1458216 h 3498714"/>
                    <a:gd name="connsiteX42" fmla="*/ 322427 w 4436113"/>
                    <a:gd name="connsiteY42" fmla="*/ 1098205 h 3498714"/>
                    <a:gd name="connsiteX43" fmla="*/ 317058 w 4436113"/>
                    <a:gd name="connsiteY43" fmla="*/ 1092836 h 3498714"/>
                    <a:gd name="connsiteX44" fmla="*/ 263371 w 4436113"/>
                    <a:gd name="connsiteY44" fmla="*/ 1092836 h 3498714"/>
                    <a:gd name="connsiteX45" fmla="*/ 258001 w 4436113"/>
                    <a:gd name="connsiteY45" fmla="*/ 1098205 h 3498714"/>
                    <a:gd name="connsiteX46" fmla="*/ 258001 w 4436113"/>
                    <a:gd name="connsiteY46" fmla="*/ 1444446 h 3498714"/>
                    <a:gd name="connsiteX47" fmla="*/ 257700 w 4436113"/>
                    <a:gd name="connsiteY47" fmla="*/ 1444370 h 3498714"/>
                    <a:gd name="connsiteX48" fmla="*/ 257700 w 4436113"/>
                    <a:gd name="connsiteY48" fmla="*/ 1912573 h 3498714"/>
                    <a:gd name="connsiteX49" fmla="*/ 128850 w 4436113"/>
                    <a:gd name="connsiteY49" fmla="*/ 2041423 h 3498714"/>
                    <a:gd name="connsiteX50" fmla="*/ 0 w 4436113"/>
                    <a:gd name="connsiteY50" fmla="*/ 1912573 h 3498714"/>
                    <a:gd name="connsiteX51" fmla="*/ 0 w 4436113"/>
                    <a:gd name="connsiteY51" fmla="*/ 1101802 h 3498714"/>
                    <a:gd name="connsiteX52" fmla="*/ 0 w 4436113"/>
                    <a:gd name="connsiteY52" fmla="*/ 1003338 h 3498714"/>
                    <a:gd name="connsiteX53" fmla="*/ 0 w 4436113"/>
                    <a:gd name="connsiteY53" fmla="*/ 982486 h 3498714"/>
                    <a:gd name="connsiteX54" fmla="*/ 12733 w 4436113"/>
                    <a:gd name="connsiteY54" fmla="*/ 894663 h 3498714"/>
                    <a:gd name="connsiteX55" fmla="*/ 20539 w 4436113"/>
                    <a:gd name="connsiteY55" fmla="*/ 868773 h 3498714"/>
                    <a:gd name="connsiteX56" fmla="*/ 358791 w 4436113"/>
                    <a:gd name="connsiteY56" fmla="*/ 644545 h 3498714"/>
                    <a:gd name="connsiteX57" fmla="*/ 682782 w 4436113"/>
                    <a:gd name="connsiteY57" fmla="*/ 0 h 3498714"/>
                    <a:gd name="connsiteX58" fmla="*/ 966919 w 4436113"/>
                    <a:gd name="connsiteY58" fmla="*/ 284138 h 3498714"/>
                    <a:gd name="connsiteX59" fmla="*/ 682782 w 4436113"/>
                    <a:gd name="connsiteY59" fmla="*/ 568275 h 3498714"/>
                    <a:gd name="connsiteX60" fmla="*/ 398645 w 4436113"/>
                    <a:gd name="connsiteY60" fmla="*/ 284138 h 3498714"/>
                    <a:gd name="connsiteX61" fmla="*/ 682782 w 4436113"/>
                    <a:gd name="connsiteY61" fmla="*/ 0 h 3498714"/>
                    <a:gd name="connsiteX62" fmla="*/ 4436113 w 4436113"/>
                    <a:gd name="connsiteY62" fmla="*/ 3470637 h 3498714"/>
                    <a:gd name="connsiteX63" fmla="*/ 4235039 w 4436113"/>
                    <a:gd name="connsiteY63" fmla="*/ 3470637 h 3498714"/>
                    <a:gd name="connsiteX64" fmla="*/ 2589325 w 4436113"/>
                    <a:gd name="connsiteY64" fmla="*/ 3124562 h 3498714"/>
                    <a:gd name="connsiteX65" fmla="*/ 2589325 w 4436113"/>
                    <a:gd name="connsiteY65" fmla="*/ 3361625 h 3498714"/>
                    <a:gd name="connsiteX66" fmla="*/ 2480313 w 4436113"/>
                    <a:gd name="connsiteY66" fmla="*/ 3470637 h 3498714"/>
                    <a:gd name="connsiteX67" fmla="*/ 2279239 w 4436113"/>
                    <a:gd name="connsiteY67" fmla="*/ 3470637 h 3498714"/>
                    <a:gd name="connsiteX68" fmla="*/ 2170227 w 4436113"/>
                    <a:gd name="connsiteY68" fmla="*/ 3361625 h 3498714"/>
                    <a:gd name="connsiteX69" fmla="*/ 2170227 w 4436113"/>
                    <a:gd name="connsiteY69" fmla="*/ 3124562 h 3498714"/>
                    <a:gd name="connsiteX70" fmla="*/ 2052754 w 4436113"/>
                    <a:gd name="connsiteY70" fmla="*/ 3124562 h 3498714"/>
                    <a:gd name="connsiteX71" fmla="*/ 1941629 w 4436113"/>
                    <a:gd name="connsiteY71" fmla="*/ 3013437 h 3498714"/>
                    <a:gd name="connsiteX72" fmla="*/ 2052754 w 4436113"/>
                    <a:gd name="connsiteY72" fmla="*/ 2902312 h 3498714"/>
                    <a:gd name="connsiteX73" fmla="*/ 682782 w 4436113"/>
                    <a:gd name="connsiteY73" fmla="*/ 0 h 3498714"/>
                    <a:gd name="connsiteX0" fmla="*/ 2251033 w 4235039"/>
                    <a:gd name="connsiteY0" fmla="*/ 2089512 h 3498714"/>
                    <a:gd name="connsiteX1" fmla="*/ 2070058 w 4235039"/>
                    <a:gd name="connsiteY1" fmla="*/ 2270487 h 3498714"/>
                    <a:gd name="connsiteX2" fmla="*/ 2251033 w 4235039"/>
                    <a:gd name="connsiteY2" fmla="*/ 2451462 h 3498714"/>
                    <a:gd name="connsiteX3" fmla="*/ 2432008 w 4235039"/>
                    <a:gd name="connsiteY3" fmla="*/ 2270487 h 3498714"/>
                    <a:gd name="connsiteX4" fmla="*/ 2251033 w 4235039"/>
                    <a:gd name="connsiteY4" fmla="*/ 2089512 h 3498714"/>
                    <a:gd name="connsiteX5" fmla="*/ 2842751 w 4235039"/>
                    <a:gd name="connsiteY5" fmla="*/ 1749356 h 3498714"/>
                    <a:gd name="connsiteX6" fmla="*/ 2392797 w 4235039"/>
                    <a:gd name="connsiteY6" fmla="*/ 1878907 h 3498714"/>
                    <a:gd name="connsiteX7" fmla="*/ 2478781 w 4235039"/>
                    <a:gd name="connsiteY7" fmla="*/ 1920808 h 3498714"/>
                    <a:gd name="connsiteX8" fmla="*/ 2842751 w 4235039"/>
                    <a:gd name="connsiteY8" fmla="*/ 1749356 h 3498714"/>
                    <a:gd name="connsiteX9" fmla="*/ 2534724 w 4235039"/>
                    <a:gd name="connsiteY9" fmla="*/ 982297 h 3498714"/>
                    <a:gd name="connsiteX10" fmla="*/ 1970999 w 4235039"/>
                    <a:gd name="connsiteY10" fmla="*/ 2826112 h 3498714"/>
                    <a:gd name="connsiteX11" fmla="*/ 1850348 w 4235039"/>
                    <a:gd name="connsiteY11" fmla="*/ 2705462 h 3498714"/>
                    <a:gd name="connsiteX12" fmla="*/ 1956769 w 4235039"/>
                    <a:gd name="connsiteY12" fmla="*/ 2587684 h 3498714"/>
                    <a:gd name="connsiteX13" fmla="*/ 1823360 w 4235039"/>
                    <a:gd name="connsiteY13" fmla="*/ 2279217 h 3498714"/>
                    <a:gd name="connsiteX14" fmla="*/ 2217440 w 4235039"/>
                    <a:gd name="connsiteY14" fmla="*/ 1856216 h 3498714"/>
                    <a:gd name="connsiteX15" fmla="*/ 2534724 w 4235039"/>
                    <a:gd name="connsiteY15" fmla="*/ 982297 h 3498714"/>
                    <a:gd name="connsiteX16" fmla="*/ 358791 w 4235039"/>
                    <a:gd name="connsiteY16" fmla="*/ 644545 h 3498714"/>
                    <a:gd name="connsiteX17" fmla="*/ 1006774 w 4235039"/>
                    <a:gd name="connsiteY17" fmla="*/ 644545 h 3498714"/>
                    <a:gd name="connsiteX18" fmla="*/ 1542636 w 4235039"/>
                    <a:gd name="connsiteY18" fmla="*/ 1193969 h 3498714"/>
                    <a:gd name="connsiteX19" fmla="*/ 1929878 w 4235039"/>
                    <a:gd name="connsiteY19" fmla="*/ 1193970 h 3498714"/>
                    <a:gd name="connsiteX20" fmla="*/ 2070059 w 4235039"/>
                    <a:gd name="connsiteY20" fmla="*/ 1334152 h 3498714"/>
                    <a:gd name="connsiteX21" fmla="*/ 1929878 w 4235039"/>
                    <a:gd name="connsiteY21" fmla="*/ 1474333 h 3498714"/>
                    <a:gd name="connsiteX22" fmla="*/ 1520943 w 4235039"/>
                    <a:gd name="connsiteY22" fmla="*/ 1470388 h 3498714"/>
                    <a:gd name="connsiteX23" fmla="*/ 1332825 w 4235039"/>
                    <a:gd name="connsiteY23" fmla="*/ 1367201 h 3498714"/>
                    <a:gd name="connsiteX24" fmla="*/ 1106501 w 4235039"/>
                    <a:gd name="connsiteY24" fmla="*/ 1098289 h 3498714"/>
                    <a:gd name="connsiteX25" fmla="*/ 1101049 w 4235039"/>
                    <a:gd name="connsiteY25" fmla="*/ 1092836 h 3498714"/>
                    <a:gd name="connsiteX26" fmla="*/ 1046523 w 4235039"/>
                    <a:gd name="connsiteY26" fmla="*/ 1092836 h 3498714"/>
                    <a:gd name="connsiteX27" fmla="*/ 1041071 w 4235039"/>
                    <a:gd name="connsiteY27" fmla="*/ 1098289 h 3498714"/>
                    <a:gd name="connsiteX28" fmla="*/ 1042136 w 4235039"/>
                    <a:gd name="connsiteY28" fmla="*/ 1419754 h 3498714"/>
                    <a:gd name="connsiteX29" fmla="*/ 1042136 w 4235039"/>
                    <a:gd name="connsiteY29" fmla="*/ 3337652 h 3498714"/>
                    <a:gd name="connsiteX30" fmla="*/ 881075 w 4235039"/>
                    <a:gd name="connsiteY30" fmla="*/ 3498714 h 3498714"/>
                    <a:gd name="connsiteX31" fmla="*/ 720012 w 4235039"/>
                    <a:gd name="connsiteY31" fmla="*/ 3337652 h 3498714"/>
                    <a:gd name="connsiteX32" fmla="*/ 720012 w 4235039"/>
                    <a:gd name="connsiteY32" fmla="*/ 2125717 h 3498714"/>
                    <a:gd name="connsiteX33" fmla="*/ 718947 w 4235039"/>
                    <a:gd name="connsiteY33" fmla="*/ 2033194 h 3498714"/>
                    <a:gd name="connsiteX34" fmla="*/ 714162 w 4235039"/>
                    <a:gd name="connsiteY34" fmla="*/ 2028410 h 3498714"/>
                    <a:gd name="connsiteX35" fmla="*/ 654759 w 4235039"/>
                    <a:gd name="connsiteY35" fmla="*/ 2028410 h 3498714"/>
                    <a:gd name="connsiteX36" fmla="*/ 649974 w 4235039"/>
                    <a:gd name="connsiteY36" fmla="*/ 2033194 h 3498714"/>
                    <a:gd name="connsiteX37" fmla="*/ 649974 w 4235039"/>
                    <a:gd name="connsiteY37" fmla="*/ 2125717 h 3498714"/>
                    <a:gd name="connsiteX38" fmla="*/ 649574 w 4235039"/>
                    <a:gd name="connsiteY38" fmla="*/ 3337652 h 3498714"/>
                    <a:gd name="connsiteX39" fmla="*/ 488511 w 4235039"/>
                    <a:gd name="connsiteY39" fmla="*/ 3498714 h 3498714"/>
                    <a:gd name="connsiteX40" fmla="*/ 327450 w 4235039"/>
                    <a:gd name="connsiteY40" fmla="*/ 3337652 h 3498714"/>
                    <a:gd name="connsiteX41" fmla="*/ 327450 w 4235039"/>
                    <a:gd name="connsiteY41" fmla="*/ 1458216 h 3498714"/>
                    <a:gd name="connsiteX42" fmla="*/ 322427 w 4235039"/>
                    <a:gd name="connsiteY42" fmla="*/ 1098205 h 3498714"/>
                    <a:gd name="connsiteX43" fmla="*/ 317058 w 4235039"/>
                    <a:gd name="connsiteY43" fmla="*/ 1092836 h 3498714"/>
                    <a:gd name="connsiteX44" fmla="*/ 263371 w 4235039"/>
                    <a:gd name="connsiteY44" fmla="*/ 1092836 h 3498714"/>
                    <a:gd name="connsiteX45" fmla="*/ 258001 w 4235039"/>
                    <a:gd name="connsiteY45" fmla="*/ 1098205 h 3498714"/>
                    <a:gd name="connsiteX46" fmla="*/ 258001 w 4235039"/>
                    <a:gd name="connsiteY46" fmla="*/ 1444446 h 3498714"/>
                    <a:gd name="connsiteX47" fmla="*/ 257700 w 4235039"/>
                    <a:gd name="connsiteY47" fmla="*/ 1444370 h 3498714"/>
                    <a:gd name="connsiteX48" fmla="*/ 257700 w 4235039"/>
                    <a:gd name="connsiteY48" fmla="*/ 1912573 h 3498714"/>
                    <a:gd name="connsiteX49" fmla="*/ 128850 w 4235039"/>
                    <a:gd name="connsiteY49" fmla="*/ 2041423 h 3498714"/>
                    <a:gd name="connsiteX50" fmla="*/ 0 w 4235039"/>
                    <a:gd name="connsiteY50" fmla="*/ 1912573 h 3498714"/>
                    <a:gd name="connsiteX51" fmla="*/ 0 w 4235039"/>
                    <a:gd name="connsiteY51" fmla="*/ 1101802 h 3498714"/>
                    <a:gd name="connsiteX52" fmla="*/ 0 w 4235039"/>
                    <a:gd name="connsiteY52" fmla="*/ 1003338 h 3498714"/>
                    <a:gd name="connsiteX53" fmla="*/ 0 w 4235039"/>
                    <a:gd name="connsiteY53" fmla="*/ 982486 h 3498714"/>
                    <a:gd name="connsiteX54" fmla="*/ 12733 w 4235039"/>
                    <a:gd name="connsiteY54" fmla="*/ 894663 h 3498714"/>
                    <a:gd name="connsiteX55" fmla="*/ 20539 w 4235039"/>
                    <a:gd name="connsiteY55" fmla="*/ 868773 h 3498714"/>
                    <a:gd name="connsiteX56" fmla="*/ 358791 w 4235039"/>
                    <a:gd name="connsiteY56" fmla="*/ 644545 h 3498714"/>
                    <a:gd name="connsiteX57" fmla="*/ 682782 w 4235039"/>
                    <a:gd name="connsiteY57" fmla="*/ 0 h 3498714"/>
                    <a:gd name="connsiteX58" fmla="*/ 966919 w 4235039"/>
                    <a:gd name="connsiteY58" fmla="*/ 284138 h 3498714"/>
                    <a:gd name="connsiteX59" fmla="*/ 682782 w 4235039"/>
                    <a:gd name="connsiteY59" fmla="*/ 568275 h 3498714"/>
                    <a:gd name="connsiteX60" fmla="*/ 398645 w 4235039"/>
                    <a:gd name="connsiteY60" fmla="*/ 284138 h 3498714"/>
                    <a:gd name="connsiteX61" fmla="*/ 682782 w 4235039"/>
                    <a:gd name="connsiteY61" fmla="*/ 0 h 3498714"/>
                    <a:gd name="connsiteX62" fmla="*/ 4235039 w 4235039"/>
                    <a:gd name="connsiteY62" fmla="*/ 3470637 h 3498714"/>
                    <a:gd name="connsiteX63" fmla="*/ 2589325 w 4235039"/>
                    <a:gd name="connsiteY63" fmla="*/ 3124562 h 3498714"/>
                    <a:gd name="connsiteX64" fmla="*/ 2589325 w 4235039"/>
                    <a:gd name="connsiteY64" fmla="*/ 3361625 h 3498714"/>
                    <a:gd name="connsiteX65" fmla="*/ 2480313 w 4235039"/>
                    <a:gd name="connsiteY65" fmla="*/ 3470637 h 3498714"/>
                    <a:gd name="connsiteX66" fmla="*/ 2279239 w 4235039"/>
                    <a:gd name="connsiteY66" fmla="*/ 3470637 h 3498714"/>
                    <a:gd name="connsiteX67" fmla="*/ 2170227 w 4235039"/>
                    <a:gd name="connsiteY67" fmla="*/ 3361625 h 3498714"/>
                    <a:gd name="connsiteX68" fmla="*/ 2170227 w 4235039"/>
                    <a:gd name="connsiteY68" fmla="*/ 3124562 h 3498714"/>
                    <a:gd name="connsiteX69" fmla="*/ 2052754 w 4235039"/>
                    <a:gd name="connsiteY69" fmla="*/ 3124562 h 3498714"/>
                    <a:gd name="connsiteX70" fmla="*/ 1941629 w 4235039"/>
                    <a:gd name="connsiteY70" fmla="*/ 3013437 h 3498714"/>
                    <a:gd name="connsiteX71" fmla="*/ 2052754 w 4235039"/>
                    <a:gd name="connsiteY71" fmla="*/ 2902312 h 3498714"/>
                    <a:gd name="connsiteX72" fmla="*/ 682782 w 4235039"/>
                    <a:gd name="connsiteY72" fmla="*/ 0 h 3498714"/>
                    <a:gd name="connsiteX0" fmla="*/ 2251033 w 2842751"/>
                    <a:gd name="connsiteY0" fmla="*/ 2089512 h 3498714"/>
                    <a:gd name="connsiteX1" fmla="*/ 2070058 w 2842751"/>
                    <a:gd name="connsiteY1" fmla="*/ 2270487 h 3498714"/>
                    <a:gd name="connsiteX2" fmla="*/ 2251033 w 2842751"/>
                    <a:gd name="connsiteY2" fmla="*/ 2451462 h 3498714"/>
                    <a:gd name="connsiteX3" fmla="*/ 2432008 w 2842751"/>
                    <a:gd name="connsiteY3" fmla="*/ 2270487 h 3498714"/>
                    <a:gd name="connsiteX4" fmla="*/ 2251033 w 2842751"/>
                    <a:gd name="connsiteY4" fmla="*/ 2089512 h 3498714"/>
                    <a:gd name="connsiteX5" fmla="*/ 2842751 w 2842751"/>
                    <a:gd name="connsiteY5" fmla="*/ 1749356 h 3498714"/>
                    <a:gd name="connsiteX6" fmla="*/ 2392797 w 2842751"/>
                    <a:gd name="connsiteY6" fmla="*/ 1878907 h 3498714"/>
                    <a:gd name="connsiteX7" fmla="*/ 2478781 w 2842751"/>
                    <a:gd name="connsiteY7" fmla="*/ 1920808 h 3498714"/>
                    <a:gd name="connsiteX8" fmla="*/ 2842751 w 2842751"/>
                    <a:gd name="connsiteY8" fmla="*/ 1749356 h 3498714"/>
                    <a:gd name="connsiteX9" fmla="*/ 2534724 w 2842751"/>
                    <a:gd name="connsiteY9" fmla="*/ 982297 h 3498714"/>
                    <a:gd name="connsiteX10" fmla="*/ 1970999 w 2842751"/>
                    <a:gd name="connsiteY10" fmla="*/ 2826112 h 3498714"/>
                    <a:gd name="connsiteX11" fmla="*/ 1850348 w 2842751"/>
                    <a:gd name="connsiteY11" fmla="*/ 2705462 h 3498714"/>
                    <a:gd name="connsiteX12" fmla="*/ 1956769 w 2842751"/>
                    <a:gd name="connsiteY12" fmla="*/ 2587684 h 3498714"/>
                    <a:gd name="connsiteX13" fmla="*/ 1823360 w 2842751"/>
                    <a:gd name="connsiteY13" fmla="*/ 2279217 h 3498714"/>
                    <a:gd name="connsiteX14" fmla="*/ 2217440 w 2842751"/>
                    <a:gd name="connsiteY14" fmla="*/ 1856216 h 3498714"/>
                    <a:gd name="connsiteX15" fmla="*/ 2534724 w 2842751"/>
                    <a:gd name="connsiteY15" fmla="*/ 982297 h 3498714"/>
                    <a:gd name="connsiteX16" fmla="*/ 358791 w 2842751"/>
                    <a:gd name="connsiteY16" fmla="*/ 644545 h 3498714"/>
                    <a:gd name="connsiteX17" fmla="*/ 1006774 w 2842751"/>
                    <a:gd name="connsiteY17" fmla="*/ 644545 h 3498714"/>
                    <a:gd name="connsiteX18" fmla="*/ 1542636 w 2842751"/>
                    <a:gd name="connsiteY18" fmla="*/ 1193969 h 3498714"/>
                    <a:gd name="connsiteX19" fmla="*/ 1929878 w 2842751"/>
                    <a:gd name="connsiteY19" fmla="*/ 1193970 h 3498714"/>
                    <a:gd name="connsiteX20" fmla="*/ 2070059 w 2842751"/>
                    <a:gd name="connsiteY20" fmla="*/ 1334152 h 3498714"/>
                    <a:gd name="connsiteX21" fmla="*/ 1929878 w 2842751"/>
                    <a:gd name="connsiteY21" fmla="*/ 1474333 h 3498714"/>
                    <a:gd name="connsiteX22" fmla="*/ 1520943 w 2842751"/>
                    <a:gd name="connsiteY22" fmla="*/ 1470388 h 3498714"/>
                    <a:gd name="connsiteX23" fmla="*/ 1332825 w 2842751"/>
                    <a:gd name="connsiteY23" fmla="*/ 1367201 h 3498714"/>
                    <a:gd name="connsiteX24" fmla="*/ 1106501 w 2842751"/>
                    <a:gd name="connsiteY24" fmla="*/ 1098289 h 3498714"/>
                    <a:gd name="connsiteX25" fmla="*/ 1101049 w 2842751"/>
                    <a:gd name="connsiteY25" fmla="*/ 1092836 h 3498714"/>
                    <a:gd name="connsiteX26" fmla="*/ 1046523 w 2842751"/>
                    <a:gd name="connsiteY26" fmla="*/ 1092836 h 3498714"/>
                    <a:gd name="connsiteX27" fmla="*/ 1041071 w 2842751"/>
                    <a:gd name="connsiteY27" fmla="*/ 1098289 h 3498714"/>
                    <a:gd name="connsiteX28" fmla="*/ 1042136 w 2842751"/>
                    <a:gd name="connsiteY28" fmla="*/ 1419754 h 3498714"/>
                    <a:gd name="connsiteX29" fmla="*/ 1042136 w 2842751"/>
                    <a:gd name="connsiteY29" fmla="*/ 3337652 h 3498714"/>
                    <a:gd name="connsiteX30" fmla="*/ 881075 w 2842751"/>
                    <a:gd name="connsiteY30" fmla="*/ 3498714 h 3498714"/>
                    <a:gd name="connsiteX31" fmla="*/ 720012 w 2842751"/>
                    <a:gd name="connsiteY31" fmla="*/ 3337652 h 3498714"/>
                    <a:gd name="connsiteX32" fmla="*/ 720012 w 2842751"/>
                    <a:gd name="connsiteY32" fmla="*/ 2125717 h 3498714"/>
                    <a:gd name="connsiteX33" fmla="*/ 718947 w 2842751"/>
                    <a:gd name="connsiteY33" fmla="*/ 2033194 h 3498714"/>
                    <a:gd name="connsiteX34" fmla="*/ 714162 w 2842751"/>
                    <a:gd name="connsiteY34" fmla="*/ 2028410 h 3498714"/>
                    <a:gd name="connsiteX35" fmla="*/ 654759 w 2842751"/>
                    <a:gd name="connsiteY35" fmla="*/ 2028410 h 3498714"/>
                    <a:gd name="connsiteX36" fmla="*/ 649974 w 2842751"/>
                    <a:gd name="connsiteY36" fmla="*/ 2033194 h 3498714"/>
                    <a:gd name="connsiteX37" fmla="*/ 649974 w 2842751"/>
                    <a:gd name="connsiteY37" fmla="*/ 2125717 h 3498714"/>
                    <a:gd name="connsiteX38" fmla="*/ 649574 w 2842751"/>
                    <a:gd name="connsiteY38" fmla="*/ 3337652 h 3498714"/>
                    <a:gd name="connsiteX39" fmla="*/ 488511 w 2842751"/>
                    <a:gd name="connsiteY39" fmla="*/ 3498714 h 3498714"/>
                    <a:gd name="connsiteX40" fmla="*/ 327450 w 2842751"/>
                    <a:gd name="connsiteY40" fmla="*/ 3337652 h 3498714"/>
                    <a:gd name="connsiteX41" fmla="*/ 327450 w 2842751"/>
                    <a:gd name="connsiteY41" fmla="*/ 1458216 h 3498714"/>
                    <a:gd name="connsiteX42" fmla="*/ 322427 w 2842751"/>
                    <a:gd name="connsiteY42" fmla="*/ 1098205 h 3498714"/>
                    <a:gd name="connsiteX43" fmla="*/ 317058 w 2842751"/>
                    <a:gd name="connsiteY43" fmla="*/ 1092836 h 3498714"/>
                    <a:gd name="connsiteX44" fmla="*/ 263371 w 2842751"/>
                    <a:gd name="connsiteY44" fmla="*/ 1092836 h 3498714"/>
                    <a:gd name="connsiteX45" fmla="*/ 258001 w 2842751"/>
                    <a:gd name="connsiteY45" fmla="*/ 1098205 h 3498714"/>
                    <a:gd name="connsiteX46" fmla="*/ 258001 w 2842751"/>
                    <a:gd name="connsiteY46" fmla="*/ 1444446 h 3498714"/>
                    <a:gd name="connsiteX47" fmla="*/ 257700 w 2842751"/>
                    <a:gd name="connsiteY47" fmla="*/ 1444370 h 3498714"/>
                    <a:gd name="connsiteX48" fmla="*/ 257700 w 2842751"/>
                    <a:gd name="connsiteY48" fmla="*/ 1912573 h 3498714"/>
                    <a:gd name="connsiteX49" fmla="*/ 128850 w 2842751"/>
                    <a:gd name="connsiteY49" fmla="*/ 2041423 h 3498714"/>
                    <a:gd name="connsiteX50" fmla="*/ 0 w 2842751"/>
                    <a:gd name="connsiteY50" fmla="*/ 1912573 h 3498714"/>
                    <a:gd name="connsiteX51" fmla="*/ 0 w 2842751"/>
                    <a:gd name="connsiteY51" fmla="*/ 1101802 h 3498714"/>
                    <a:gd name="connsiteX52" fmla="*/ 0 w 2842751"/>
                    <a:gd name="connsiteY52" fmla="*/ 1003338 h 3498714"/>
                    <a:gd name="connsiteX53" fmla="*/ 0 w 2842751"/>
                    <a:gd name="connsiteY53" fmla="*/ 982486 h 3498714"/>
                    <a:gd name="connsiteX54" fmla="*/ 12733 w 2842751"/>
                    <a:gd name="connsiteY54" fmla="*/ 894663 h 3498714"/>
                    <a:gd name="connsiteX55" fmla="*/ 20539 w 2842751"/>
                    <a:gd name="connsiteY55" fmla="*/ 868773 h 3498714"/>
                    <a:gd name="connsiteX56" fmla="*/ 358791 w 2842751"/>
                    <a:gd name="connsiteY56" fmla="*/ 644545 h 3498714"/>
                    <a:gd name="connsiteX57" fmla="*/ 682782 w 2842751"/>
                    <a:gd name="connsiteY57" fmla="*/ 0 h 3498714"/>
                    <a:gd name="connsiteX58" fmla="*/ 966919 w 2842751"/>
                    <a:gd name="connsiteY58" fmla="*/ 284138 h 3498714"/>
                    <a:gd name="connsiteX59" fmla="*/ 682782 w 2842751"/>
                    <a:gd name="connsiteY59" fmla="*/ 568275 h 3498714"/>
                    <a:gd name="connsiteX60" fmla="*/ 398645 w 2842751"/>
                    <a:gd name="connsiteY60" fmla="*/ 284138 h 3498714"/>
                    <a:gd name="connsiteX61" fmla="*/ 682782 w 2842751"/>
                    <a:gd name="connsiteY61" fmla="*/ 0 h 3498714"/>
                    <a:gd name="connsiteX62" fmla="*/ 2589325 w 2842751"/>
                    <a:gd name="connsiteY62" fmla="*/ 3124562 h 3498714"/>
                    <a:gd name="connsiteX63" fmla="*/ 2589325 w 2842751"/>
                    <a:gd name="connsiteY63" fmla="*/ 3361625 h 3498714"/>
                    <a:gd name="connsiteX64" fmla="*/ 2480313 w 2842751"/>
                    <a:gd name="connsiteY64" fmla="*/ 3470637 h 3498714"/>
                    <a:gd name="connsiteX65" fmla="*/ 2279239 w 2842751"/>
                    <a:gd name="connsiteY65" fmla="*/ 3470637 h 3498714"/>
                    <a:gd name="connsiteX66" fmla="*/ 2170227 w 2842751"/>
                    <a:gd name="connsiteY66" fmla="*/ 3361625 h 3498714"/>
                    <a:gd name="connsiteX67" fmla="*/ 2170227 w 2842751"/>
                    <a:gd name="connsiteY67" fmla="*/ 3124562 h 3498714"/>
                    <a:gd name="connsiteX68" fmla="*/ 2052754 w 2842751"/>
                    <a:gd name="connsiteY68" fmla="*/ 3124562 h 3498714"/>
                    <a:gd name="connsiteX69" fmla="*/ 1941629 w 2842751"/>
                    <a:gd name="connsiteY69" fmla="*/ 3013437 h 3498714"/>
                    <a:gd name="connsiteX70" fmla="*/ 2052754 w 2842751"/>
                    <a:gd name="connsiteY70" fmla="*/ 2902312 h 3498714"/>
                    <a:gd name="connsiteX71" fmla="*/ 682782 w 2842751"/>
                    <a:gd name="connsiteY71" fmla="*/ 0 h 3498714"/>
                    <a:gd name="connsiteX0" fmla="*/ 2251033 w 2842751"/>
                    <a:gd name="connsiteY0" fmla="*/ 2089512 h 3498714"/>
                    <a:gd name="connsiteX1" fmla="*/ 2070058 w 2842751"/>
                    <a:gd name="connsiteY1" fmla="*/ 2270487 h 3498714"/>
                    <a:gd name="connsiteX2" fmla="*/ 2432008 w 2842751"/>
                    <a:gd name="connsiteY2" fmla="*/ 2270487 h 3498714"/>
                    <a:gd name="connsiteX3" fmla="*/ 2251033 w 2842751"/>
                    <a:gd name="connsiteY3" fmla="*/ 2089512 h 3498714"/>
                    <a:gd name="connsiteX4" fmla="*/ 2842751 w 2842751"/>
                    <a:gd name="connsiteY4" fmla="*/ 1749356 h 3498714"/>
                    <a:gd name="connsiteX5" fmla="*/ 2392797 w 2842751"/>
                    <a:gd name="connsiteY5" fmla="*/ 1878907 h 3498714"/>
                    <a:gd name="connsiteX6" fmla="*/ 2478781 w 2842751"/>
                    <a:gd name="connsiteY6" fmla="*/ 1920808 h 3498714"/>
                    <a:gd name="connsiteX7" fmla="*/ 2842751 w 2842751"/>
                    <a:gd name="connsiteY7" fmla="*/ 1749356 h 3498714"/>
                    <a:gd name="connsiteX8" fmla="*/ 2534724 w 2842751"/>
                    <a:gd name="connsiteY8" fmla="*/ 982297 h 3498714"/>
                    <a:gd name="connsiteX9" fmla="*/ 1970999 w 2842751"/>
                    <a:gd name="connsiteY9" fmla="*/ 2826112 h 3498714"/>
                    <a:gd name="connsiteX10" fmla="*/ 1850348 w 2842751"/>
                    <a:gd name="connsiteY10" fmla="*/ 2705462 h 3498714"/>
                    <a:gd name="connsiteX11" fmla="*/ 1956769 w 2842751"/>
                    <a:gd name="connsiteY11" fmla="*/ 2587684 h 3498714"/>
                    <a:gd name="connsiteX12" fmla="*/ 1823360 w 2842751"/>
                    <a:gd name="connsiteY12" fmla="*/ 2279217 h 3498714"/>
                    <a:gd name="connsiteX13" fmla="*/ 2217440 w 2842751"/>
                    <a:gd name="connsiteY13" fmla="*/ 1856216 h 3498714"/>
                    <a:gd name="connsiteX14" fmla="*/ 2534724 w 2842751"/>
                    <a:gd name="connsiteY14" fmla="*/ 982297 h 3498714"/>
                    <a:gd name="connsiteX15" fmla="*/ 358791 w 2842751"/>
                    <a:gd name="connsiteY15" fmla="*/ 644545 h 3498714"/>
                    <a:gd name="connsiteX16" fmla="*/ 1006774 w 2842751"/>
                    <a:gd name="connsiteY16" fmla="*/ 644545 h 3498714"/>
                    <a:gd name="connsiteX17" fmla="*/ 1542636 w 2842751"/>
                    <a:gd name="connsiteY17" fmla="*/ 1193969 h 3498714"/>
                    <a:gd name="connsiteX18" fmla="*/ 1929878 w 2842751"/>
                    <a:gd name="connsiteY18" fmla="*/ 1193970 h 3498714"/>
                    <a:gd name="connsiteX19" fmla="*/ 2070059 w 2842751"/>
                    <a:gd name="connsiteY19" fmla="*/ 1334152 h 3498714"/>
                    <a:gd name="connsiteX20" fmla="*/ 1929878 w 2842751"/>
                    <a:gd name="connsiteY20" fmla="*/ 1474333 h 3498714"/>
                    <a:gd name="connsiteX21" fmla="*/ 1520943 w 2842751"/>
                    <a:gd name="connsiteY21" fmla="*/ 1470388 h 3498714"/>
                    <a:gd name="connsiteX22" fmla="*/ 1332825 w 2842751"/>
                    <a:gd name="connsiteY22" fmla="*/ 1367201 h 3498714"/>
                    <a:gd name="connsiteX23" fmla="*/ 1106501 w 2842751"/>
                    <a:gd name="connsiteY23" fmla="*/ 1098289 h 3498714"/>
                    <a:gd name="connsiteX24" fmla="*/ 1101049 w 2842751"/>
                    <a:gd name="connsiteY24" fmla="*/ 1092836 h 3498714"/>
                    <a:gd name="connsiteX25" fmla="*/ 1046523 w 2842751"/>
                    <a:gd name="connsiteY25" fmla="*/ 1092836 h 3498714"/>
                    <a:gd name="connsiteX26" fmla="*/ 1041071 w 2842751"/>
                    <a:gd name="connsiteY26" fmla="*/ 1098289 h 3498714"/>
                    <a:gd name="connsiteX27" fmla="*/ 1042136 w 2842751"/>
                    <a:gd name="connsiteY27" fmla="*/ 1419754 h 3498714"/>
                    <a:gd name="connsiteX28" fmla="*/ 1042136 w 2842751"/>
                    <a:gd name="connsiteY28" fmla="*/ 3337652 h 3498714"/>
                    <a:gd name="connsiteX29" fmla="*/ 881075 w 2842751"/>
                    <a:gd name="connsiteY29" fmla="*/ 3498714 h 3498714"/>
                    <a:gd name="connsiteX30" fmla="*/ 720012 w 2842751"/>
                    <a:gd name="connsiteY30" fmla="*/ 3337652 h 3498714"/>
                    <a:gd name="connsiteX31" fmla="*/ 720012 w 2842751"/>
                    <a:gd name="connsiteY31" fmla="*/ 2125717 h 3498714"/>
                    <a:gd name="connsiteX32" fmla="*/ 718947 w 2842751"/>
                    <a:gd name="connsiteY32" fmla="*/ 2033194 h 3498714"/>
                    <a:gd name="connsiteX33" fmla="*/ 714162 w 2842751"/>
                    <a:gd name="connsiteY33" fmla="*/ 2028410 h 3498714"/>
                    <a:gd name="connsiteX34" fmla="*/ 654759 w 2842751"/>
                    <a:gd name="connsiteY34" fmla="*/ 2028410 h 3498714"/>
                    <a:gd name="connsiteX35" fmla="*/ 649974 w 2842751"/>
                    <a:gd name="connsiteY35" fmla="*/ 2033194 h 3498714"/>
                    <a:gd name="connsiteX36" fmla="*/ 649974 w 2842751"/>
                    <a:gd name="connsiteY36" fmla="*/ 2125717 h 3498714"/>
                    <a:gd name="connsiteX37" fmla="*/ 649574 w 2842751"/>
                    <a:gd name="connsiteY37" fmla="*/ 3337652 h 3498714"/>
                    <a:gd name="connsiteX38" fmla="*/ 488511 w 2842751"/>
                    <a:gd name="connsiteY38" fmla="*/ 3498714 h 3498714"/>
                    <a:gd name="connsiteX39" fmla="*/ 327450 w 2842751"/>
                    <a:gd name="connsiteY39" fmla="*/ 3337652 h 3498714"/>
                    <a:gd name="connsiteX40" fmla="*/ 327450 w 2842751"/>
                    <a:gd name="connsiteY40" fmla="*/ 1458216 h 3498714"/>
                    <a:gd name="connsiteX41" fmla="*/ 322427 w 2842751"/>
                    <a:gd name="connsiteY41" fmla="*/ 1098205 h 3498714"/>
                    <a:gd name="connsiteX42" fmla="*/ 317058 w 2842751"/>
                    <a:gd name="connsiteY42" fmla="*/ 1092836 h 3498714"/>
                    <a:gd name="connsiteX43" fmla="*/ 263371 w 2842751"/>
                    <a:gd name="connsiteY43" fmla="*/ 1092836 h 3498714"/>
                    <a:gd name="connsiteX44" fmla="*/ 258001 w 2842751"/>
                    <a:gd name="connsiteY44" fmla="*/ 1098205 h 3498714"/>
                    <a:gd name="connsiteX45" fmla="*/ 258001 w 2842751"/>
                    <a:gd name="connsiteY45" fmla="*/ 1444446 h 3498714"/>
                    <a:gd name="connsiteX46" fmla="*/ 257700 w 2842751"/>
                    <a:gd name="connsiteY46" fmla="*/ 1444370 h 3498714"/>
                    <a:gd name="connsiteX47" fmla="*/ 257700 w 2842751"/>
                    <a:gd name="connsiteY47" fmla="*/ 1912573 h 3498714"/>
                    <a:gd name="connsiteX48" fmla="*/ 128850 w 2842751"/>
                    <a:gd name="connsiteY48" fmla="*/ 2041423 h 3498714"/>
                    <a:gd name="connsiteX49" fmla="*/ 0 w 2842751"/>
                    <a:gd name="connsiteY49" fmla="*/ 1912573 h 3498714"/>
                    <a:gd name="connsiteX50" fmla="*/ 0 w 2842751"/>
                    <a:gd name="connsiteY50" fmla="*/ 1101802 h 3498714"/>
                    <a:gd name="connsiteX51" fmla="*/ 0 w 2842751"/>
                    <a:gd name="connsiteY51" fmla="*/ 1003338 h 3498714"/>
                    <a:gd name="connsiteX52" fmla="*/ 0 w 2842751"/>
                    <a:gd name="connsiteY52" fmla="*/ 982486 h 3498714"/>
                    <a:gd name="connsiteX53" fmla="*/ 12733 w 2842751"/>
                    <a:gd name="connsiteY53" fmla="*/ 894663 h 3498714"/>
                    <a:gd name="connsiteX54" fmla="*/ 20539 w 2842751"/>
                    <a:gd name="connsiteY54" fmla="*/ 868773 h 3498714"/>
                    <a:gd name="connsiteX55" fmla="*/ 358791 w 2842751"/>
                    <a:gd name="connsiteY55" fmla="*/ 644545 h 3498714"/>
                    <a:gd name="connsiteX56" fmla="*/ 682782 w 2842751"/>
                    <a:gd name="connsiteY56" fmla="*/ 0 h 3498714"/>
                    <a:gd name="connsiteX57" fmla="*/ 966919 w 2842751"/>
                    <a:gd name="connsiteY57" fmla="*/ 284138 h 3498714"/>
                    <a:gd name="connsiteX58" fmla="*/ 682782 w 2842751"/>
                    <a:gd name="connsiteY58" fmla="*/ 568275 h 3498714"/>
                    <a:gd name="connsiteX59" fmla="*/ 398645 w 2842751"/>
                    <a:gd name="connsiteY59" fmla="*/ 284138 h 3498714"/>
                    <a:gd name="connsiteX60" fmla="*/ 682782 w 2842751"/>
                    <a:gd name="connsiteY60" fmla="*/ 0 h 3498714"/>
                    <a:gd name="connsiteX61" fmla="*/ 2589325 w 2842751"/>
                    <a:gd name="connsiteY61" fmla="*/ 3124562 h 3498714"/>
                    <a:gd name="connsiteX62" fmla="*/ 2589325 w 2842751"/>
                    <a:gd name="connsiteY62" fmla="*/ 3361625 h 3498714"/>
                    <a:gd name="connsiteX63" fmla="*/ 2480313 w 2842751"/>
                    <a:gd name="connsiteY63" fmla="*/ 3470637 h 3498714"/>
                    <a:gd name="connsiteX64" fmla="*/ 2279239 w 2842751"/>
                    <a:gd name="connsiteY64" fmla="*/ 3470637 h 3498714"/>
                    <a:gd name="connsiteX65" fmla="*/ 2170227 w 2842751"/>
                    <a:gd name="connsiteY65" fmla="*/ 3361625 h 3498714"/>
                    <a:gd name="connsiteX66" fmla="*/ 2170227 w 2842751"/>
                    <a:gd name="connsiteY66" fmla="*/ 3124562 h 3498714"/>
                    <a:gd name="connsiteX67" fmla="*/ 2052754 w 2842751"/>
                    <a:gd name="connsiteY67" fmla="*/ 3124562 h 3498714"/>
                    <a:gd name="connsiteX68" fmla="*/ 1941629 w 2842751"/>
                    <a:gd name="connsiteY68" fmla="*/ 3013437 h 3498714"/>
                    <a:gd name="connsiteX69" fmla="*/ 2052754 w 2842751"/>
                    <a:gd name="connsiteY69" fmla="*/ 2902312 h 3498714"/>
                    <a:gd name="connsiteX70" fmla="*/ 682782 w 2842751"/>
                    <a:gd name="connsiteY70" fmla="*/ 0 h 3498714"/>
                    <a:gd name="connsiteX0" fmla="*/ 2251033 w 2842751"/>
                    <a:gd name="connsiteY0" fmla="*/ 2089512 h 3498714"/>
                    <a:gd name="connsiteX1" fmla="*/ 2070058 w 2842751"/>
                    <a:gd name="connsiteY1" fmla="*/ 2270487 h 3498714"/>
                    <a:gd name="connsiteX2" fmla="*/ 2251033 w 2842751"/>
                    <a:gd name="connsiteY2" fmla="*/ 2089512 h 3498714"/>
                    <a:gd name="connsiteX3" fmla="*/ 2842751 w 2842751"/>
                    <a:gd name="connsiteY3" fmla="*/ 1749356 h 3498714"/>
                    <a:gd name="connsiteX4" fmla="*/ 2392797 w 2842751"/>
                    <a:gd name="connsiteY4" fmla="*/ 1878907 h 3498714"/>
                    <a:gd name="connsiteX5" fmla="*/ 2478781 w 2842751"/>
                    <a:gd name="connsiteY5" fmla="*/ 1920808 h 3498714"/>
                    <a:gd name="connsiteX6" fmla="*/ 2842751 w 2842751"/>
                    <a:gd name="connsiteY6" fmla="*/ 1749356 h 3498714"/>
                    <a:gd name="connsiteX7" fmla="*/ 2534724 w 2842751"/>
                    <a:gd name="connsiteY7" fmla="*/ 982297 h 3498714"/>
                    <a:gd name="connsiteX8" fmla="*/ 1970999 w 2842751"/>
                    <a:gd name="connsiteY8" fmla="*/ 2826112 h 3498714"/>
                    <a:gd name="connsiteX9" fmla="*/ 1850348 w 2842751"/>
                    <a:gd name="connsiteY9" fmla="*/ 2705462 h 3498714"/>
                    <a:gd name="connsiteX10" fmla="*/ 1956769 w 2842751"/>
                    <a:gd name="connsiteY10" fmla="*/ 2587684 h 3498714"/>
                    <a:gd name="connsiteX11" fmla="*/ 1823360 w 2842751"/>
                    <a:gd name="connsiteY11" fmla="*/ 2279217 h 3498714"/>
                    <a:gd name="connsiteX12" fmla="*/ 2217440 w 2842751"/>
                    <a:gd name="connsiteY12" fmla="*/ 1856216 h 3498714"/>
                    <a:gd name="connsiteX13" fmla="*/ 2534724 w 2842751"/>
                    <a:gd name="connsiteY13" fmla="*/ 982297 h 3498714"/>
                    <a:gd name="connsiteX14" fmla="*/ 358791 w 2842751"/>
                    <a:gd name="connsiteY14" fmla="*/ 644545 h 3498714"/>
                    <a:gd name="connsiteX15" fmla="*/ 1006774 w 2842751"/>
                    <a:gd name="connsiteY15" fmla="*/ 644545 h 3498714"/>
                    <a:gd name="connsiteX16" fmla="*/ 1542636 w 2842751"/>
                    <a:gd name="connsiteY16" fmla="*/ 1193969 h 3498714"/>
                    <a:gd name="connsiteX17" fmla="*/ 1929878 w 2842751"/>
                    <a:gd name="connsiteY17" fmla="*/ 1193970 h 3498714"/>
                    <a:gd name="connsiteX18" fmla="*/ 2070059 w 2842751"/>
                    <a:gd name="connsiteY18" fmla="*/ 1334152 h 3498714"/>
                    <a:gd name="connsiteX19" fmla="*/ 1929878 w 2842751"/>
                    <a:gd name="connsiteY19" fmla="*/ 1474333 h 3498714"/>
                    <a:gd name="connsiteX20" fmla="*/ 1520943 w 2842751"/>
                    <a:gd name="connsiteY20" fmla="*/ 1470388 h 3498714"/>
                    <a:gd name="connsiteX21" fmla="*/ 1332825 w 2842751"/>
                    <a:gd name="connsiteY21" fmla="*/ 1367201 h 3498714"/>
                    <a:gd name="connsiteX22" fmla="*/ 1106501 w 2842751"/>
                    <a:gd name="connsiteY22" fmla="*/ 1098289 h 3498714"/>
                    <a:gd name="connsiteX23" fmla="*/ 1101049 w 2842751"/>
                    <a:gd name="connsiteY23" fmla="*/ 1092836 h 3498714"/>
                    <a:gd name="connsiteX24" fmla="*/ 1046523 w 2842751"/>
                    <a:gd name="connsiteY24" fmla="*/ 1092836 h 3498714"/>
                    <a:gd name="connsiteX25" fmla="*/ 1041071 w 2842751"/>
                    <a:gd name="connsiteY25" fmla="*/ 1098289 h 3498714"/>
                    <a:gd name="connsiteX26" fmla="*/ 1042136 w 2842751"/>
                    <a:gd name="connsiteY26" fmla="*/ 1419754 h 3498714"/>
                    <a:gd name="connsiteX27" fmla="*/ 1042136 w 2842751"/>
                    <a:gd name="connsiteY27" fmla="*/ 3337652 h 3498714"/>
                    <a:gd name="connsiteX28" fmla="*/ 881075 w 2842751"/>
                    <a:gd name="connsiteY28" fmla="*/ 3498714 h 3498714"/>
                    <a:gd name="connsiteX29" fmla="*/ 720012 w 2842751"/>
                    <a:gd name="connsiteY29" fmla="*/ 3337652 h 3498714"/>
                    <a:gd name="connsiteX30" fmla="*/ 720012 w 2842751"/>
                    <a:gd name="connsiteY30" fmla="*/ 2125717 h 3498714"/>
                    <a:gd name="connsiteX31" fmla="*/ 718947 w 2842751"/>
                    <a:gd name="connsiteY31" fmla="*/ 2033194 h 3498714"/>
                    <a:gd name="connsiteX32" fmla="*/ 714162 w 2842751"/>
                    <a:gd name="connsiteY32" fmla="*/ 2028410 h 3498714"/>
                    <a:gd name="connsiteX33" fmla="*/ 654759 w 2842751"/>
                    <a:gd name="connsiteY33" fmla="*/ 2028410 h 3498714"/>
                    <a:gd name="connsiteX34" fmla="*/ 649974 w 2842751"/>
                    <a:gd name="connsiteY34" fmla="*/ 2033194 h 3498714"/>
                    <a:gd name="connsiteX35" fmla="*/ 649974 w 2842751"/>
                    <a:gd name="connsiteY35" fmla="*/ 2125717 h 3498714"/>
                    <a:gd name="connsiteX36" fmla="*/ 649574 w 2842751"/>
                    <a:gd name="connsiteY36" fmla="*/ 3337652 h 3498714"/>
                    <a:gd name="connsiteX37" fmla="*/ 488511 w 2842751"/>
                    <a:gd name="connsiteY37" fmla="*/ 3498714 h 3498714"/>
                    <a:gd name="connsiteX38" fmla="*/ 327450 w 2842751"/>
                    <a:gd name="connsiteY38" fmla="*/ 3337652 h 3498714"/>
                    <a:gd name="connsiteX39" fmla="*/ 327450 w 2842751"/>
                    <a:gd name="connsiteY39" fmla="*/ 1458216 h 3498714"/>
                    <a:gd name="connsiteX40" fmla="*/ 322427 w 2842751"/>
                    <a:gd name="connsiteY40" fmla="*/ 1098205 h 3498714"/>
                    <a:gd name="connsiteX41" fmla="*/ 317058 w 2842751"/>
                    <a:gd name="connsiteY41" fmla="*/ 1092836 h 3498714"/>
                    <a:gd name="connsiteX42" fmla="*/ 263371 w 2842751"/>
                    <a:gd name="connsiteY42" fmla="*/ 1092836 h 3498714"/>
                    <a:gd name="connsiteX43" fmla="*/ 258001 w 2842751"/>
                    <a:gd name="connsiteY43" fmla="*/ 1098205 h 3498714"/>
                    <a:gd name="connsiteX44" fmla="*/ 258001 w 2842751"/>
                    <a:gd name="connsiteY44" fmla="*/ 1444446 h 3498714"/>
                    <a:gd name="connsiteX45" fmla="*/ 257700 w 2842751"/>
                    <a:gd name="connsiteY45" fmla="*/ 1444370 h 3498714"/>
                    <a:gd name="connsiteX46" fmla="*/ 257700 w 2842751"/>
                    <a:gd name="connsiteY46" fmla="*/ 1912573 h 3498714"/>
                    <a:gd name="connsiteX47" fmla="*/ 128850 w 2842751"/>
                    <a:gd name="connsiteY47" fmla="*/ 2041423 h 3498714"/>
                    <a:gd name="connsiteX48" fmla="*/ 0 w 2842751"/>
                    <a:gd name="connsiteY48" fmla="*/ 1912573 h 3498714"/>
                    <a:gd name="connsiteX49" fmla="*/ 0 w 2842751"/>
                    <a:gd name="connsiteY49" fmla="*/ 1101802 h 3498714"/>
                    <a:gd name="connsiteX50" fmla="*/ 0 w 2842751"/>
                    <a:gd name="connsiteY50" fmla="*/ 1003338 h 3498714"/>
                    <a:gd name="connsiteX51" fmla="*/ 0 w 2842751"/>
                    <a:gd name="connsiteY51" fmla="*/ 982486 h 3498714"/>
                    <a:gd name="connsiteX52" fmla="*/ 12733 w 2842751"/>
                    <a:gd name="connsiteY52" fmla="*/ 894663 h 3498714"/>
                    <a:gd name="connsiteX53" fmla="*/ 20539 w 2842751"/>
                    <a:gd name="connsiteY53" fmla="*/ 868773 h 3498714"/>
                    <a:gd name="connsiteX54" fmla="*/ 358791 w 2842751"/>
                    <a:gd name="connsiteY54" fmla="*/ 644545 h 3498714"/>
                    <a:gd name="connsiteX55" fmla="*/ 682782 w 2842751"/>
                    <a:gd name="connsiteY55" fmla="*/ 0 h 3498714"/>
                    <a:gd name="connsiteX56" fmla="*/ 966919 w 2842751"/>
                    <a:gd name="connsiteY56" fmla="*/ 284138 h 3498714"/>
                    <a:gd name="connsiteX57" fmla="*/ 682782 w 2842751"/>
                    <a:gd name="connsiteY57" fmla="*/ 568275 h 3498714"/>
                    <a:gd name="connsiteX58" fmla="*/ 398645 w 2842751"/>
                    <a:gd name="connsiteY58" fmla="*/ 284138 h 3498714"/>
                    <a:gd name="connsiteX59" fmla="*/ 682782 w 2842751"/>
                    <a:gd name="connsiteY59" fmla="*/ 0 h 3498714"/>
                    <a:gd name="connsiteX60" fmla="*/ 2589325 w 2842751"/>
                    <a:gd name="connsiteY60" fmla="*/ 3124562 h 3498714"/>
                    <a:gd name="connsiteX61" fmla="*/ 2589325 w 2842751"/>
                    <a:gd name="connsiteY61" fmla="*/ 3361625 h 3498714"/>
                    <a:gd name="connsiteX62" fmla="*/ 2480313 w 2842751"/>
                    <a:gd name="connsiteY62" fmla="*/ 3470637 h 3498714"/>
                    <a:gd name="connsiteX63" fmla="*/ 2279239 w 2842751"/>
                    <a:gd name="connsiteY63" fmla="*/ 3470637 h 3498714"/>
                    <a:gd name="connsiteX64" fmla="*/ 2170227 w 2842751"/>
                    <a:gd name="connsiteY64" fmla="*/ 3361625 h 3498714"/>
                    <a:gd name="connsiteX65" fmla="*/ 2170227 w 2842751"/>
                    <a:gd name="connsiteY65" fmla="*/ 3124562 h 3498714"/>
                    <a:gd name="connsiteX66" fmla="*/ 2052754 w 2842751"/>
                    <a:gd name="connsiteY66" fmla="*/ 3124562 h 3498714"/>
                    <a:gd name="connsiteX67" fmla="*/ 1941629 w 2842751"/>
                    <a:gd name="connsiteY67" fmla="*/ 3013437 h 3498714"/>
                    <a:gd name="connsiteX68" fmla="*/ 2052754 w 2842751"/>
                    <a:gd name="connsiteY68" fmla="*/ 2902312 h 3498714"/>
                    <a:gd name="connsiteX69" fmla="*/ 682782 w 2842751"/>
                    <a:gd name="connsiteY69" fmla="*/ 0 h 3498714"/>
                    <a:gd name="connsiteX0" fmla="*/ 2251033 w 2842751"/>
                    <a:gd name="connsiteY0" fmla="*/ 2089512 h 3498714"/>
                    <a:gd name="connsiteX1" fmla="*/ 2070058 w 2842751"/>
                    <a:gd name="connsiteY1" fmla="*/ 2270487 h 3498714"/>
                    <a:gd name="connsiteX2" fmla="*/ 2251033 w 2842751"/>
                    <a:gd name="connsiteY2" fmla="*/ 2089512 h 3498714"/>
                    <a:gd name="connsiteX3" fmla="*/ 2842751 w 2842751"/>
                    <a:gd name="connsiteY3" fmla="*/ 1749356 h 3498714"/>
                    <a:gd name="connsiteX4" fmla="*/ 2392797 w 2842751"/>
                    <a:gd name="connsiteY4" fmla="*/ 1878907 h 3498714"/>
                    <a:gd name="connsiteX5" fmla="*/ 2478781 w 2842751"/>
                    <a:gd name="connsiteY5" fmla="*/ 1920808 h 3498714"/>
                    <a:gd name="connsiteX6" fmla="*/ 2842751 w 2842751"/>
                    <a:gd name="connsiteY6" fmla="*/ 1749356 h 3498714"/>
                    <a:gd name="connsiteX7" fmla="*/ 2534724 w 2842751"/>
                    <a:gd name="connsiteY7" fmla="*/ 982297 h 3498714"/>
                    <a:gd name="connsiteX8" fmla="*/ 1850348 w 2842751"/>
                    <a:gd name="connsiteY8" fmla="*/ 2705462 h 3498714"/>
                    <a:gd name="connsiteX9" fmla="*/ 1956769 w 2842751"/>
                    <a:gd name="connsiteY9" fmla="*/ 2587684 h 3498714"/>
                    <a:gd name="connsiteX10" fmla="*/ 1823360 w 2842751"/>
                    <a:gd name="connsiteY10" fmla="*/ 2279217 h 3498714"/>
                    <a:gd name="connsiteX11" fmla="*/ 2217440 w 2842751"/>
                    <a:gd name="connsiteY11" fmla="*/ 1856216 h 3498714"/>
                    <a:gd name="connsiteX12" fmla="*/ 2534724 w 2842751"/>
                    <a:gd name="connsiteY12" fmla="*/ 982297 h 3498714"/>
                    <a:gd name="connsiteX13" fmla="*/ 358791 w 2842751"/>
                    <a:gd name="connsiteY13" fmla="*/ 644545 h 3498714"/>
                    <a:gd name="connsiteX14" fmla="*/ 1006774 w 2842751"/>
                    <a:gd name="connsiteY14" fmla="*/ 644545 h 3498714"/>
                    <a:gd name="connsiteX15" fmla="*/ 1542636 w 2842751"/>
                    <a:gd name="connsiteY15" fmla="*/ 1193969 h 3498714"/>
                    <a:gd name="connsiteX16" fmla="*/ 1929878 w 2842751"/>
                    <a:gd name="connsiteY16" fmla="*/ 1193970 h 3498714"/>
                    <a:gd name="connsiteX17" fmla="*/ 2070059 w 2842751"/>
                    <a:gd name="connsiteY17" fmla="*/ 1334152 h 3498714"/>
                    <a:gd name="connsiteX18" fmla="*/ 1929878 w 2842751"/>
                    <a:gd name="connsiteY18" fmla="*/ 1474333 h 3498714"/>
                    <a:gd name="connsiteX19" fmla="*/ 1520943 w 2842751"/>
                    <a:gd name="connsiteY19" fmla="*/ 1470388 h 3498714"/>
                    <a:gd name="connsiteX20" fmla="*/ 1332825 w 2842751"/>
                    <a:gd name="connsiteY20" fmla="*/ 1367201 h 3498714"/>
                    <a:gd name="connsiteX21" fmla="*/ 1106501 w 2842751"/>
                    <a:gd name="connsiteY21" fmla="*/ 1098289 h 3498714"/>
                    <a:gd name="connsiteX22" fmla="*/ 1101049 w 2842751"/>
                    <a:gd name="connsiteY22" fmla="*/ 1092836 h 3498714"/>
                    <a:gd name="connsiteX23" fmla="*/ 1046523 w 2842751"/>
                    <a:gd name="connsiteY23" fmla="*/ 1092836 h 3498714"/>
                    <a:gd name="connsiteX24" fmla="*/ 1041071 w 2842751"/>
                    <a:gd name="connsiteY24" fmla="*/ 1098289 h 3498714"/>
                    <a:gd name="connsiteX25" fmla="*/ 1042136 w 2842751"/>
                    <a:gd name="connsiteY25" fmla="*/ 1419754 h 3498714"/>
                    <a:gd name="connsiteX26" fmla="*/ 1042136 w 2842751"/>
                    <a:gd name="connsiteY26" fmla="*/ 3337652 h 3498714"/>
                    <a:gd name="connsiteX27" fmla="*/ 881075 w 2842751"/>
                    <a:gd name="connsiteY27" fmla="*/ 3498714 h 3498714"/>
                    <a:gd name="connsiteX28" fmla="*/ 720012 w 2842751"/>
                    <a:gd name="connsiteY28" fmla="*/ 3337652 h 3498714"/>
                    <a:gd name="connsiteX29" fmla="*/ 720012 w 2842751"/>
                    <a:gd name="connsiteY29" fmla="*/ 2125717 h 3498714"/>
                    <a:gd name="connsiteX30" fmla="*/ 718947 w 2842751"/>
                    <a:gd name="connsiteY30" fmla="*/ 2033194 h 3498714"/>
                    <a:gd name="connsiteX31" fmla="*/ 714162 w 2842751"/>
                    <a:gd name="connsiteY31" fmla="*/ 2028410 h 3498714"/>
                    <a:gd name="connsiteX32" fmla="*/ 654759 w 2842751"/>
                    <a:gd name="connsiteY32" fmla="*/ 2028410 h 3498714"/>
                    <a:gd name="connsiteX33" fmla="*/ 649974 w 2842751"/>
                    <a:gd name="connsiteY33" fmla="*/ 2033194 h 3498714"/>
                    <a:gd name="connsiteX34" fmla="*/ 649974 w 2842751"/>
                    <a:gd name="connsiteY34" fmla="*/ 2125717 h 3498714"/>
                    <a:gd name="connsiteX35" fmla="*/ 649574 w 2842751"/>
                    <a:gd name="connsiteY35" fmla="*/ 3337652 h 3498714"/>
                    <a:gd name="connsiteX36" fmla="*/ 488511 w 2842751"/>
                    <a:gd name="connsiteY36" fmla="*/ 3498714 h 3498714"/>
                    <a:gd name="connsiteX37" fmla="*/ 327450 w 2842751"/>
                    <a:gd name="connsiteY37" fmla="*/ 3337652 h 3498714"/>
                    <a:gd name="connsiteX38" fmla="*/ 327450 w 2842751"/>
                    <a:gd name="connsiteY38" fmla="*/ 1458216 h 3498714"/>
                    <a:gd name="connsiteX39" fmla="*/ 322427 w 2842751"/>
                    <a:gd name="connsiteY39" fmla="*/ 1098205 h 3498714"/>
                    <a:gd name="connsiteX40" fmla="*/ 317058 w 2842751"/>
                    <a:gd name="connsiteY40" fmla="*/ 1092836 h 3498714"/>
                    <a:gd name="connsiteX41" fmla="*/ 263371 w 2842751"/>
                    <a:gd name="connsiteY41" fmla="*/ 1092836 h 3498714"/>
                    <a:gd name="connsiteX42" fmla="*/ 258001 w 2842751"/>
                    <a:gd name="connsiteY42" fmla="*/ 1098205 h 3498714"/>
                    <a:gd name="connsiteX43" fmla="*/ 258001 w 2842751"/>
                    <a:gd name="connsiteY43" fmla="*/ 1444446 h 3498714"/>
                    <a:gd name="connsiteX44" fmla="*/ 257700 w 2842751"/>
                    <a:gd name="connsiteY44" fmla="*/ 1444370 h 3498714"/>
                    <a:gd name="connsiteX45" fmla="*/ 257700 w 2842751"/>
                    <a:gd name="connsiteY45" fmla="*/ 1912573 h 3498714"/>
                    <a:gd name="connsiteX46" fmla="*/ 128850 w 2842751"/>
                    <a:gd name="connsiteY46" fmla="*/ 2041423 h 3498714"/>
                    <a:gd name="connsiteX47" fmla="*/ 0 w 2842751"/>
                    <a:gd name="connsiteY47" fmla="*/ 1912573 h 3498714"/>
                    <a:gd name="connsiteX48" fmla="*/ 0 w 2842751"/>
                    <a:gd name="connsiteY48" fmla="*/ 1101802 h 3498714"/>
                    <a:gd name="connsiteX49" fmla="*/ 0 w 2842751"/>
                    <a:gd name="connsiteY49" fmla="*/ 1003338 h 3498714"/>
                    <a:gd name="connsiteX50" fmla="*/ 0 w 2842751"/>
                    <a:gd name="connsiteY50" fmla="*/ 982486 h 3498714"/>
                    <a:gd name="connsiteX51" fmla="*/ 12733 w 2842751"/>
                    <a:gd name="connsiteY51" fmla="*/ 894663 h 3498714"/>
                    <a:gd name="connsiteX52" fmla="*/ 20539 w 2842751"/>
                    <a:gd name="connsiteY52" fmla="*/ 868773 h 3498714"/>
                    <a:gd name="connsiteX53" fmla="*/ 358791 w 2842751"/>
                    <a:gd name="connsiteY53" fmla="*/ 644545 h 3498714"/>
                    <a:gd name="connsiteX54" fmla="*/ 682782 w 2842751"/>
                    <a:gd name="connsiteY54" fmla="*/ 0 h 3498714"/>
                    <a:gd name="connsiteX55" fmla="*/ 966919 w 2842751"/>
                    <a:gd name="connsiteY55" fmla="*/ 284138 h 3498714"/>
                    <a:gd name="connsiteX56" fmla="*/ 682782 w 2842751"/>
                    <a:gd name="connsiteY56" fmla="*/ 568275 h 3498714"/>
                    <a:gd name="connsiteX57" fmla="*/ 398645 w 2842751"/>
                    <a:gd name="connsiteY57" fmla="*/ 284138 h 3498714"/>
                    <a:gd name="connsiteX58" fmla="*/ 682782 w 2842751"/>
                    <a:gd name="connsiteY58" fmla="*/ 0 h 3498714"/>
                    <a:gd name="connsiteX59" fmla="*/ 2589325 w 2842751"/>
                    <a:gd name="connsiteY59" fmla="*/ 3124562 h 3498714"/>
                    <a:gd name="connsiteX60" fmla="*/ 2589325 w 2842751"/>
                    <a:gd name="connsiteY60" fmla="*/ 3361625 h 3498714"/>
                    <a:gd name="connsiteX61" fmla="*/ 2480313 w 2842751"/>
                    <a:gd name="connsiteY61" fmla="*/ 3470637 h 3498714"/>
                    <a:gd name="connsiteX62" fmla="*/ 2279239 w 2842751"/>
                    <a:gd name="connsiteY62" fmla="*/ 3470637 h 3498714"/>
                    <a:gd name="connsiteX63" fmla="*/ 2170227 w 2842751"/>
                    <a:gd name="connsiteY63" fmla="*/ 3361625 h 3498714"/>
                    <a:gd name="connsiteX64" fmla="*/ 2170227 w 2842751"/>
                    <a:gd name="connsiteY64" fmla="*/ 3124562 h 3498714"/>
                    <a:gd name="connsiteX65" fmla="*/ 2052754 w 2842751"/>
                    <a:gd name="connsiteY65" fmla="*/ 3124562 h 3498714"/>
                    <a:gd name="connsiteX66" fmla="*/ 1941629 w 2842751"/>
                    <a:gd name="connsiteY66" fmla="*/ 3013437 h 3498714"/>
                    <a:gd name="connsiteX67" fmla="*/ 2052754 w 2842751"/>
                    <a:gd name="connsiteY67" fmla="*/ 2902312 h 3498714"/>
                    <a:gd name="connsiteX68" fmla="*/ 682782 w 2842751"/>
                    <a:gd name="connsiteY68" fmla="*/ 0 h 3498714"/>
                    <a:gd name="connsiteX0" fmla="*/ 2251033 w 2842751"/>
                    <a:gd name="connsiteY0" fmla="*/ 2089512 h 3498714"/>
                    <a:gd name="connsiteX1" fmla="*/ 2070058 w 2842751"/>
                    <a:gd name="connsiteY1" fmla="*/ 2270487 h 3498714"/>
                    <a:gd name="connsiteX2" fmla="*/ 2251033 w 2842751"/>
                    <a:gd name="connsiteY2" fmla="*/ 2089512 h 3498714"/>
                    <a:gd name="connsiteX3" fmla="*/ 2842751 w 2842751"/>
                    <a:gd name="connsiteY3" fmla="*/ 1749356 h 3498714"/>
                    <a:gd name="connsiteX4" fmla="*/ 2392797 w 2842751"/>
                    <a:gd name="connsiteY4" fmla="*/ 1878907 h 3498714"/>
                    <a:gd name="connsiteX5" fmla="*/ 2478781 w 2842751"/>
                    <a:gd name="connsiteY5" fmla="*/ 1920808 h 3498714"/>
                    <a:gd name="connsiteX6" fmla="*/ 2842751 w 2842751"/>
                    <a:gd name="connsiteY6" fmla="*/ 1749356 h 3498714"/>
                    <a:gd name="connsiteX7" fmla="*/ 2534724 w 2842751"/>
                    <a:gd name="connsiteY7" fmla="*/ 982297 h 3498714"/>
                    <a:gd name="connsiteX8" fmla="*/ 1956769 w 2842751"/>
                    <a:gd name="connsiteY8" fmla="*/ 2587684 h 3498714"/>
                    <a:gd name="connsiteX9" fmla="*/ 1823360 w 2842751"/>
                    <a:gd name="connsiteY9" fmla="*/ 2279217 h 3498714"/>
                    <a:gd name="connsiteX10" fmla="*/ 2217440 w 2842751"/>
                    <a:gd name="connsiteY10" fmla="*/ 1856216 h 3498714"/>
                    <a:gd name="connsiteX11" fmla="*/ 2534724 w 2842751"/>
                    <a:gd name="connsiteY11" fmla="*/ 982297 h 3498714"/>
                    <a:gd name="connsiteX12" fmla="*/ 358791 w 2842751"/>
                    <a:gd name="connsiteY12" fmla="*/ 644545 h 3498714"/>
                    <a:gd name="connsiteX13" fmla="*/ 1006774 w 2842751"/>
                    <a:gd name="connsiteY13" fmla="*/ 644545 h 3498714"/>
                    <a:gd name="connsiteX14" fmla="*/ 1542636 w 2842751"/>
                    <a:gd name="connsiteY14" fmla="*/ 1193969 h 3498714"/>
                    <a:gd name="connsiteX15" fmla="*/ 1929878 w 2842751"/>
                    <a:gd name="connsiteY15" fmla="*/ 1193970 h 3498714"/>
                    <a:gd name="connsiteX16" fmla="*/ 2070059 w 2842751"/>
                    <a:gd name="connsiteY16" fmla="*/ 1334152 h 3498714"/>
                    <a:gd name="connsiteX17" fmla="*/ 1929878 w 2842751"/>
                    <a:gd name="connsiteY17" fmla="*/ 1474333 h 3498714"/>
                    <a:gd name="connsiteX18" fmla="*/ 1520943 w 2842751"/>
                    <a:gd name="connsiteY18" fmla="*/ 1470388 h 3498714"/>
                    <a:gd name="connsiteX19" fmla="*/ 1332825 w 2842751"/>
                    <a:gd name="connsiteY19" fmla="*/ 1367201 h 3498714"/>
                    <a:gd name="connsiteX20" fmla="*/ 1106501 w 2842751"/>
                    <a:gd name="connsiteY20" fmla="*/ 1098289 h 3498714"/>
                    <a:gd name="connsiteX21" fmla="*/ 1101049 w 2842751"/>
                    <a:gd name="connsiteY21" fmla="*/ 1092836 h 3498714"/>
                    <a:gd name="connsiteX22" fmla="*/ 1046523 w 2842751"/>
                    <a:gd name="connsiteY22" fmla="*/ 1092836 h 3498714"/>
                    <a:gd name="connsiteX23" fmla="*/ 1041071 w 2842751"/>
                    <a:gd name="connsiteY23" fmla="*/ 1098289 h 3498714"/>
                    <a:gd name="connsiteX24" fmla="*/ 1042136 w 2842751"/>
                    <a:gd name="connsiteY24" fmla="*/ 1419754 h 3498714"/>
                    <a:gd name="connsiteX25" fmla="*/ 1042136 w 2842751"/>
                    <a:gd name="connsiteY25" fmla="*/ 3337652 h 3498714"/>
                    <a:gd name="connsiteX26" fmla="*/ 881075 w 2842751"/>
                    <a:gd name="connsiteY26" fmla="*/ 3498714 h 3498714"/>
                    <a:gd name="connsiteX27" fmla="*/ 720012 w 2842751"/>
                    <a:gd name="connsiteY27" fmla="*/ 3337652 h 3498714"/>
                    <a:gd name="connsiteX28" fmla="*/ 720012 w 2842751"/>
                    <a:gd name="connsiteY28" fmla="*/ 2125717 h 3498714"/>
                    <a:gd name="connsiteX29" fmla="*/ 718947 w 2842751"/>
                    <a:gd name="connsiteY29" fmla="*/ 2033194 h 3498714"/>
                    <a:gd name="connsiteX30" fmla="*/ 714162 w 2842751"/>
                    <a:gd name="connsiteY30" fmla="*/ 2028410 h 3498714"/>
                    <a:gd name="connsiteX31" fmla="*/ 654759 w 2842751"/>
                    <a:gd name="connsiteY31" fmla="*/ 2028410 h 3498714"/>
                    <a:gd name="connsiteX32" fmla="*/ 649974 w 2842751"/>
                    <a:gd name="connsiteY32" fmla="*/ 2033194 h 3498714"/>
                    <a:gd name="connsiteX33" fmla="*/ 649974 w 2842751"/>
                    <a:gd name="connsiteY33" fmla="*/ 2125717 h 3498714"/>
                    <a:gd name="connsiteX34" fmla="*/ 649574 w 2842751"/>
                    <a:gd name="connsiteY34" fmla="*/ 3337652 h 3498714"/>
                    <a:gd name="connsiteX35" fmla="*/ 488511 w 2842751"/>
                    <a:gd name="connsiteY35" fmla="*/ 3498714 h 3498714"/>
                    <a:gd name="connsiteX36" fmla="*/ 327450 w 2842751"/>
                    <a:gd name="connsiteY36" fmla="*/ 3337652 h 3498714"/>
                    <a:gd name="connsiteX37" fmla="*/ 327450 w 2842751"/>
                    <a:gd name="connsiteY37" fmla="*/ 1458216 h 3498714"/>
                    <a:gd name="connsiteX38" fmla="*/ 322427 w 2842751"/>
                    <a:gd name="connsiteY38" fmla="*/ 1098205 h 3498714"/>
                    <a:gd name="connsiteX39" fmla="*/ 317058 w 2842751"/>
                    <a:gd name="connsiteY39" fmla="*/ 1092836 h 3498714"/>
                    <a:gd name="connsiteX40" fmla="*/ 263371 w 2842751"/>
                    <a:gd name="connsiteY40" fmla="*/ 1092836 h 3498714"/>
                    <a:gd name="connsiteX41" fmla="*/ 258001 w 2842751"/>
                    <a:gd name="connsiteY41" fmla="*/ 1098205 h 3498714"/>
                    <a:gd name="connsiteX42" fmla="*/ 258001 w 2842751"/>
                    <a:gd name="connsiteY42" fmla="*/ 1444446 h 3498714"/>
                    <a:gd name="connsiteX43" fmla="*/ 257700 w 2842751"/>
                    <a:gd name="connsiteY43" fmla="*/ 1444370 h 3498714"/>
                    <a:gd name="connsiteX44" fmla="*/ 257700 w 2842751"/>
                    <a:gd name="connsiteY44" fmla="*/ 1912573 h 3498714"/>
                    <a:gd name="connsiteX45" fmla="*/ 128850 w 2842751"/>
                    <a:gd name="connsiteY45" fmla="*/ 2041423 h 3498714"/>
                    <a:gd name="connsiteX46" fmla="*/ 0 w 2842751"/>
                    <a:gd name="connsiteY46" fmla="*/ 1912573 h 3498714"/>
                    <a:gd name="connsiteX47" fmla="*/ 0 w 2842751"/>
                    <a:gd name="connsiteY47" fmla="*/ 1101802 h 3498714"/>
                    <a:gd name="connsiteX48" fmla="*/ 0 w 2842751"/>
                    <a:gd name="connsiteY48" fmla="*/ 1003338 h 3498714"/>
                    <a:gd name="connsiteX49" fmla="*/ 0 w 2842751"/>
                    <a:gd name="connsiteY49" fmla="*/ 982486 h 3498714"/>
                    <a:gd name="connsiteX50" fmla="*/ 12733 w 2842751"/>
                    <a:gd name="connsiteY50" fmla="*/ 894663 h 3498714"/>
                    <a:gd name="connsiteX51" fmla="*/ 20539 w 2842751"/>
                    <a:gd name="connsiteY51" fmla="*/ 868773 h 3498714"/>
                    <a:gd name="connsiteX52" fmla="*/ 358791 w 2842751"/>
                    <a:gd name="connsiteY52" fmla="*/ 644545 h 3498714"/>
                    <a:gd name="connsiteX53" fmla="*/ 682782 w 2842751"/>
                    <a:gd name="connsiteY53" fmla="*/ 0 h 3498714"/>
                    <a:gd name="connsiteX54" fmla="*/ 966919 w 2842751"/>
                    <a:gd name="connsiteY54" fmla="*/ 284138 h 3498714"/>
                    <a:gd name="connsiteX55" fmla="*/ 682782 w 2842751"/>
                    <a:gd name="connsiteY55" fmla="*/ 568275 h 3498714"/>
                    <a:gd name="connsiteX56" fmla="*/ 398645 w 2842751"/>
                    <a:gd name="connsiteY56" fmla="*/ 284138 h 3498714"/>
                    <a:gd name="connsiteX57" fmla="*/ 682782 w 2842751"/>
                    <a:gd name="connsiteY57" fmla="*/ 0 h 3498714"/>
                    <a:gd name="connsiteX58" fmla="*/ 2589325 w 2842751"/>
                    <a:gd name="connsiteY58" fmla="*/ 3124562 h 3498714"/>
                    <a:gd name="connsiteX59" fmla="*/ 2589325 w 2842751"/>
                    <a:gd name="connsiteY59" fmla="*/ 3361625 h 3498714"/>
                    <a:gd name="connsiteX60" fmla="*/ 2480313 w 2842751"/>
                    <a:gd name="connsiteY60" fmla="*/ 3470637 h 3498714"/>
                    <a:gd name="connsiteX61" fmla="*/ 2279239 w 2842751"/>
                    <a:gd name="connsiteY61" fmla="*/ 3470637 h 3498714"/>
                    <a:gd name="connsiteX62" fmla="*/ 2170227 w 2842751"/>
                    <a:gd name="connsiteY62" fmla="*/ 3361625 h 3498714"/>
                    <a:gd name="connsiteX63" fmla="*/ 2170227 w 2842751"/>
                    <a:gd name="connsiteY63" fmla="*/ 3124562 h 3498714"/>
                    <a:gd name="connsiteX64" fmla="*/ 2052754 w 2842751"/>
                    <a:gd name="connsiteY64" fmla="*/ 3124562 h 3498714"/>
                    <a:gd name="connsiteX65" fmla="*/ 1941629 w 2842751"/>
                    <a:gd name="connsiteY65" fmla="*/ 3013437 h 3498714"/>
                    <a:gd name="connsiteX66" fmla="*/ 2052754 w 2842751"/>
                    <a:gd name="connsiteY66" fmla="*/ 2902312 h 3498714"/>
                    <a:gd name="connsiteX67" fmla="*/ 682782 w 2842751"/>
                    <a:gd name="connsiteY67" fmla="*/ 0 h 3498714"/>
                    <a:gd name="connsiteX0" fmla="*/ 2251033 w 2842751"/>
                    <a:gd name="connsiteY0" fmla="*/ 2089512 h 3498714"/>
                    <a:gd name="connsiteX1" fmla="*/ 2070058 w 2842751"/>
                    <a:gd name="connsiteY1" fmla="*/ 2270487 h 3498714"/>
                    <a:gd name="connsiteX2" fmla="*/ 2251033 w 2842751"/>
                    <a:gd name="connsiteY2" fmla="*/ 2089512 h 3498714"/>
                    <a:gd name="connsiteX3" fmla="*/ 2842751 w 2842751"/>
                    <a:gd name="connsiteY3" fmla="*/ 1749356 h 3498714"/>
                    <a:gd name="connsiteX4" fmla="*/ 2392797 w 2842751"/>
                    <a:gd name="connsiteY4" fmla="*/ 1878907 h 3498714"/>
                    <a:gd name="connsiteX5" fmla="*/ 2478781 w 2842751"/>
                    <a:gd name="connsiteY5" fmla="*/ 1920808 h 3498714"/>
                    <a:gd name="connsiteX6" fmla="*/ 2842751 w 2842751"/>
                    <a:gd name="connsiteY6" fmla="*/ 1749356 h 3498714"/>
                    <a:gd name="connsiteX7" fmla="*/ 2534724 w 2842751"/>
                    <a:gd name="connsiteY7" fmla="*/ 982297 h 3498714"/>
                    <a:gd name="connsiteX8" fmla="*/ 1823360 w 2842751"/>
                    <a:gd name="connsiteY8" fmla="*/ 2279217 h 3498714"/>
                    <a:gd name="connsiteX9" fmla="*/ 2217440 w 2842751"/>
                    <a:gd name="connsiteY9" fmla="*/ 1856216 h 3498714"/>
                    <a:gd name="connsiteX10" fmla="*/ 2534724 w 2842751"/>
                    <a:gd name="connsiteY10" fmla="*/ 982297 h 3498714"/>
                    <a:gd name="connsiteX11" fmla="*/ 358791 w 2842751"/>
                    <a:gd name="connsiteY11" fmla="*/ 644545 h 3498714"/>
                    <a:gd name="connsiteX12" fmla="*/ 1006774 w 2842751"/>
                    <a:gd name="connsiteY12" fmla="*/ 644545 h 3498714"/>
                    <a:gd name="connsiteX13" fmla="*/ 1542636 w 2842751"/>
                    <a:gd name="connsiteY13" fmla="*/ 1193969 h 3498714"/>
                    <a:gd name="connsiteX14" fmla="*/ 1929878 w 2842751"/>
                    <a:gd name="connsiteY14" fmla="*/ 1193970 h 3498714"/>
                    <a:gd name="connsiteX15" fmla="*/ 2070059 w 2842751"/>
                    <a:gd name="connsiteY15" fmla="*/ 1334152 h 3498714"/>
                    <a:gd name="connsiteX16" fmla="*/ 1929878 w 2842751"/>
                    <a:gd name="connsiteY16" fmla="*/ 1474333 h 3498714"/>
                    <a:gd name="connsiteX17" fmla="*/ 1520943 w 2842751"/>
                    <a:gd name="connsiteY17" fmla="*/ 1470388 h 3498714"/>
                    <a:gd name="connsiteX18" fmla="*/ 1332825 w 2842751"/>
                    <a:gd name="connsiteY18" fmla="*/ 1367201 h 3498714"/>
                    <a:gd name="connsiteX19" fmla="*/ 1106501 w 2842751"/>
                    <a:gd name="connsiteY19" fmla="*/ 1098289 h 3498714"/>
                    <a:gd name="connsiteX20" fmla="*/ 1101049 w 2842751"/>
                    <a:gd name="connsiteY20" fmla="*/ 1092836 h 3498714"/>
                    <a:gd name="connsiteX21" fmla="*/ 1046523 w 2842751"/>
                    <a:gd name="connsiteY21" fmla="*/ 1092836 h 3498714"/>
                    <a:gd name="connsiteX22" fmla="*/ 1041071 w 2842751"/>
                    <a:gd name="connsiteY22" fmla="*/ 1098289 h 3498714"/>
                    <a:gd name="connsiteX23" fmla="*/ 1042136 w 2842751"/>
                    <a:gd name="connsiteY23" fmla="*/ 1419754 h 3498714"/>
                    <a:gd name="connsiteX24" fmla="*/ 1042136 w 2842751"/>
                    <a:gd name="connsiteY24" fmla="*/ 3337652 h 3498714"/>
                    <a:gd name="connsiteX25" fmla="*/ 881075 w 2842751"/>
                    <a:gd name="connsiteY25" fmla="*/ 3498714 h 3498714"/>
                    <a:gd name="connsiteX26" fmla="*/ 720012 w 2842751"/>
                    <a:gd name="connsiteY26" fmla="*/ 3337652 h 3498714"/>
                    <a:gd name="connsiteX27" fmla="*/ 720012 w 2842751"/>
                    <a:gd name="connsiteY27" fmla="*/ 2125717 h 3498714"/>
                    <a:gd name="connsiteX28" fmla="*/ 718947 w 2842751"/>
                    <a:gd name="connsiteY28" fmla="*/ 2033194 h 3498714"/>
                    <a:gd name="connsiteX29" fmla="*/ 714162 w 2842751"/>
                    <a:gd name="connsiteY29" fmla="*/ 2028410 h 3498714"/>
                    <a:gd name="connsiteX30" fmla="*/ 654759 w 2842751"/>
                    <a:gd name="connsiteY30" fmla="*/ 2028410 h 3498714"/>
                    <a:gd name="connsiteX31" fmla="*/ 649974 w 2842751"/>
                    <a:gd name="connsiteY31" fmla="*/ 2033194 h 3498714"/>
                    <a:gd name="connsiteX32" fmla="*/ 649974 w 2842751"/>
                    <a:gd name="connsiteY32" fmla="*/ 2125717 h 3498714"/>
                    <a:gd name="connsiteX33" fmla="*/ 649574 w 2842751"/>
                    <a:gd name="connsiteY33" fmla="*/ 3337652 h 3498714"/>
                    <a:gd name="connsiteX34" fmla="*/ 488511 w 2842751"/>
                    <a:gd name="connsiteY34" fmla="*/ 3498714 h 3498714"/>
                    <a:gd name="connsiteX35" fmla="*/ 327450 w 2842751"/>
                    <a:gd name="connsiteY35" fmla="*/ 3337652 h 3498714"/>
                    <a:gd name="connsiteX36" fmla="*/ 327450 w 2842751"/>
                    <a:gd name="connsiteY36" fmla="*/ 1458216 h 3498714"/>
                    <a:gd name="connsiteX37" fmla="*/ 322427 w 2842751"/>
                    <a:gd name="connsiteY37" fmla="*/ 1098205 h 3498714"/>
                    <a:gd name="connsiteX38" fmla="*/ 317058 w 2842751"/>
                    <a:gd name="connsiteY38" fmla="*/ 1092836 h 3498714"/>
                    <a:gd name="connsiteX39" fmla="*/ 263371 w 2842751"/>
                    <a:gd name="connsiteY39" fmla="*/ 1092836 h 3498714"/>
                    <a:gd name="connsiteX40" fmla="*/ 258001 w 2842751"/>
                    <a:gd name="connsiteY40" fmla="*/ 1098205 h 3498714"/>
                    <a:gd name="connsiteX41" fmla="*/ 258001 w 2842751"/>
                    <a:gd name="connsiteY41" fmla="*/ 1444446 h 3498714"/>
                    <a:gd name="connsiteX42" fmla="*/ 257700 w 2842751"/>
                    <a:gd name="connsiteY42" fmla="*/ 1444370 h 3498714"/>
                    <a:gd name="connsiteX43" fmla="*/ 257700 w 2842751"/>
                    <a:gd name="connsiteY43" fmla="*/ 1912573 h 3498714"/>
                    <a:gd name="connsiteX44" fmla="*/ 128850 w 2842751"/>
                    <a:gd name="connsiteY44" fmla="*/ 2041423 h 3498714"/>
                    <a:gd name="connsiteX45" fmla="*/ 0 w 2842751"/>
                    <a:gd name="connsiteY45" fmla="*/ 1912573 h 3498714"/>
                    <a:gd name="connsiteX46" fmla="*/ 0 w 2842751"/>
                    <a:gd name="connsiteY46" fmla="*/ 1101802 h 3498714"/>
                    <a:gd name="connsiteX47" fmla="*/ 0 w 2842751"/>
                    <a:gd name="connsiteY47" fmla="*/ 1003338 h 3498714"/>
                    <a:gd name="connsiteX48" fmla="*/ 0 w 2842751"/>
                    <a:gd name="connsiteY48" fmla="*/ 982486 h 3498714"/>
                    <a:gd name="connsiteX49" fmla="*/ 12733 w 2842751"/>
                    <a:gd name="connsiteY49" fmla="*/ 894663 h 3498714"/>
                    <a:gd name="connsiteX50" fmla="*/ 20539 w 2842751"/>
                    <a:gd name="connsiteY50" fmla="*/ 868773 h 3498714"/>
                    <a:gd name="connsiteX51" fmla="*/ 358791 w 2842751"/>
                    <a:gd name="connsiteY51" fmla="*/ 644545 h 3498714"/>
                    <a:gd name="connsiteX52" fmla="*/ 682782 w 2842751"/>
                    <a:gd name="connsiteY52" fmla="*/ 0 h 3498714"/>
                    <a:gd name="connsiteX53" fmla="*/ 966919 w 2842751"/>
                    <a:gd name="connsiteY53" fmla="*/ 284138 h 3498714"/>
                    <a:gd name="connsiteX54" fmla="*/ 682782 w 2842751"/>
                    <a:gd name="connsiteY54" fmla="*/ 568275 h 3498714"/>
                    <a:gd name="connsiteX55" fmla="*/ 398645 w 2842751"/>
                    <a:gd name="connsiteY55" fmla="*/ 284138 h 3498714"/>
                    <a:gd name="connsiteX56" fmla="*/ 682782 w 2842751"/>
                    <a:gd name="connsiteY56" fmla="*/ 0 h 3498714"/>
                    <a:gd name="connsiteX57" fmla="*/ 2589325 w 2842751"/>
                    <a:gd name="connsiteY57" fmla="*/ 3124562 h 3498714"/>
                    <a:gd name="connsiteX58" fmla="*/ 2589325 w 2842751"/>
                    <a:gd name="connsiteY58" fmla="*/ 3361625 h 3498714"/>
                    <a:gd name="connsiteX59" fmla="*/ 2480313 w 2842751"/>
                    <a:gd name="connsiteY59" fmla="*/ 3470637 h 3498714"/>
                    <a:gd name="connsiteX60" fmla="*/ 2279239 w 2842751"/>
                    <a:gd name="connsiteY60" fmla="*/ 3470637 h 3498714"/>
                    <a:gd name="connsiteX61" fmla="*/ 2170227 w 2842751"/>
                    <a:gd name="connsiteY61" fmla="*/ 3361625 h 3498714"/>
                    <a:gd name="connsiteX62" fmla="*/ 2170227 w 2842751"/>
                    <a:gd name="connsiteY62" fmla="*/ 3124562 h 3498714"/>
                    <a:gd name="connsiteX63" fmla="*/ 2052754 w 2842751"/>
                    <a:gd name="connsiteY63" fmla="*/ 3124562 h 3498714"/>
                    <a:gd name="connsiteX64" fmla="*/ 1941629 w 2842751"/>
                    <a:gd name="connsiteY64" fmla="*/ 3013437 h 3498714"/>
                    <a:gd name="connsiteX65" fmla="*/ 2052754 w 2842751"/>
                    <a:gd name="connsiteY65" fmla="*/ 2902312 h 3498714"/>
                    <a:gd name="connsiteX66" fmla="*/ 682782 w 2842751"/>
                    <a:gd name="connsiteY66" fmla="*/ 0 h 3498714"/>
                    <a:gd name="connsiteX0" fmla="*/ 2251033 w 2842751"/>
                    <a:gd name="connsiteY0" fmla="*/ 2089512 h 3498714"/>
                    <a:gd name="connsiteX1" fmla="*/ 2070058 w 2842751"/>
                    <a:gd name="connsiteY1" fmla="*/ 2270487 h 3498714"/>
                    <a:gd name="connsiteX2" fmla="*/ 2251033 w 2842751"/>
                    <a:gd name="connsiteY2" fmla="*/ 2089512 h 3498714"/>
                    <a:gd name="connsiteX3" fmla="*/ 2842751 w 2842751"/>
                    <a:gd name="connsiteY3" fmla="*/ 1749356 h 3498714"/>
                    <a:gd name="connsiteX4" fmla="*/ 2392797 w 2842751"/>
                    <a:gd name="connsiteY4" fmla="*/ 1878907 h 3498714"/>
                    <a:gd name="connsiteX5" fmla="*/ 2478781 w 2842751"/>
                    <a:gd name="connsiteY5" fmla="*/ 1920808 h 3498714"/>
                    <a:gd name="connsiteX6" fmla="*/ 2842751 w 2842751"/>
                    <a:gd name="connsiteY6" fmla="*/ 1749356 h 3498714"/>
                    <a:gd name="connsiteX7" fmla="*/ 2534724 w 2842751"/>
                    <a:gd name="connsiteY7" fmla="*/ 982297 h 3498714"/>
                    <a:gd name="connsiteX8" fmla="*/ 2217440 w 2842751"/>
                    <a:gd name="connsiteY8" fmla="*/ 1856216 h 3498714"/>
                    <a:gd name="connsiteX9" fmla="*/ 2534724 w 2842751"/>
                    <a:gd name="connsiteY9" fmla="*/ 982297 h 3498714"/>
                    <a:gd name="connsiteX10" fmla="*/ 358791 w 2842751"/>
                    <a:gd name="connsiteY10" fmla="*/ 644545 h 3498714"/>
                    <a:gd name="connsiteX11" fmla="*/ 1006774 w 2842751"/>
                    <a:gd name="connsiteY11" fmla="*/ 644545 h 3498714"/>
                    <a:gd name="connsiteX12" fmla="*/ 1542636 w 2842751"/>
                    <a:gd name="connsiteY12" fmla="*/ 1193969 h 3498714"/>
                    <a:gd name="connsiteX13" fmla="*/ 1929878 w 2842751"/>
                    <a:gd name="connsiteY13" fmla="*/ 1193970 h 3498714"/>
                    <a:gd name="connsiteX14" fmla="*/ 2070059 w 2842751"/>
                    <a:gd name="connsiteY14" fmla="*/ 1334152 h 3498714"/>
                    <a:gd name="connsiteX15" fmla="*/ 1929878 w 2842751"/>
                    <a:gd name="connsiteY15" fmla="*/ 1474333 h 3498714"/>
                    <a:gd name="connsiteX16" fmla="*/ 1520943 w 2842751"/>
                    <a:gd name="connsiteY16" fmla="*/ 1470388 h 3498714"/>
                    <a:gd name="connsiteX17" fmla="*/ 1332825 w 2842751"/>
                    <a:gd name="connsiteY17" fmla="*/ 1367201 h 3498714"/>
                    <a:gd name="connsiteX18" fmla="*/ 1106501 w 2842751"/>
                    <a:gd name="connsiteY18" fmla="*/ 1098289 h 3498714"/>
                    <a:gd name="connsiteX19" fmla="*/ 1101049 w 2842751"/>
                    <a:gd name="connsiteY19" fmla="*/ 1092836 h 3498714"/>
                    <a:gd name="connsiteX20" fmla="*/ 1046523 w 2842751"/>
                    <a:gd name="connsiteY20" fmla="*/ 1092836 h 3498714"/>
                    <a:gd name="connsiteX21" fmla="*/ 1041071 w 2842751"/>
                    <a:gd name="connsiteY21" fmla="*/ 1098289 h 3498714"/>
                    <a:gd name="connsiteX22" fmla="*/ 1042136 w 2842751"/>
                    <a:gd name="connsiteY22" fmla="*/ 1419754 h 3498714"/>
                    <a:gd name="connsiteX23" fmla="*/ 1042136 w 2842751"/>
                    <a:gd name="connsiteY23" fmla="*/ 3337652 h 3498714"/>
                    <a:gd name="connsiteX24" fmla="*/ 881075 w 2842751"/>
                    <a:gd name="connsiteY24" fmla="*/ 3498714 h 3498714"/>
                    <a:gd name="connsiteX25" fmla="*/ 720012 w 2842751"/>
                    <a:gd name="connsiteY25" fmla="*/ 3337652 h 3498714"/>
                    <a:gd name="connsiteX26" fmla="*/ 720012 w 2842751"/>
                    <a:gd name="connsiteY26" fmla="*/ 2125717 h 3498714"/>
                    <a:gd name="connsiteX27" fmla="*/ 718947 w 2842751"/>
                    <a:gd name="connsiteY27" fmla="*/ 2033194 h 3498714"/>
                    <a:gd name="connsiteX28" fmla="*/ 714162 w 2842751"/>
                    <a:gd name="connsiteY28" fmla="*/ 2028410 h 3498714"/>
                    <a:gd name="connsiteX29" fmla="*/ 654759 w 2842751"/>
                    <a:gd name="connsiteY29" fmla="*/ 2028410 h 3498714"/>
                    <a:gd name="connsiteX30" fmla="*/ 649974 w 2842751"/>
                    <a:gd name="connsiteY30" fmla="*/ 2033194 h 3498714"/>
                    <a:gd name="connsiteX31" fmla="*/ 649974 w 2842751"/>
                    <a:gd name="connsiteY31" fmla="*/ 2125717 h 3498714"/>
                    <a:gd name="connsiteX32" fmla="*/ 649574 w 2842751"/>
                    <a:gd name="connsiteY32" fmla="*/ 3337652 h 3498714"/>
                    <a:gd name="connsiteX33" fmla="*/ 488511 w 2842751"/>
                    <a:gd name="connsiteY33" fmla="*/ 3498714 h 3498714"/>
                    <a:gd name="connsiteX34" fmla="*/ 327450 w 2842751"/>
                    <a:gd name="connsiteY34" fmla="*/ 3337652 h 3498714"/>
                    <a:gd name="connsiteX35" fmla="*/ 327450 w 2842751"/>
                    <a:gd name="connsiteY35" fmla="*/ 1458216 h 3498714"/>
                    <a:gd name="connsiteX36" fmla="*/ 322427 w 2842751"/>
                    <a:gd name="connsiteY36" fmla="*/ 1098205 h 3498714"/>
                    <a:gd name="connsiteX37" fmla="*/ 317058 w 2842751"/>
                    <a:gd name="connsiteY37" fmla="*/ 1092836 h 3498714"/>
                    <a:gd name="connsiteX38" fmla="*/ 263371 w 2842751"/>
                    <a:gd name="connsiteY38" fmla="*/ 1092836 h 3498714"/>
                    <a:gd name="connsiteX39" fmla="*/ 258001 w 2842751"/>
                    <a:gd name="connsiteY39" fmla="*/ 1098205 h 3498714"/>
                    <a:gd name="connsiteX40" fmla="*/ 258001 w 2842751"/>
                    <a:gd name="connsiteY40" fmla="*/ 1444446 h 3498714"/>
                    <a:gd name="connsiteX41" fmla="*/ 257700 w 2842751"/>
                    <a:gd name="connsiteY41" fmla="*/ 1444370 h 3498714"/>
                    <a:gd name="connsiteX42" fmla="*/ 257700 w 2842751"/>
                    <a:gd name="connsiteY42" fmla="*/ 1912573 h 3498714"/>
                    <a:gd name="connsiteX43" fmla="*/ 128850 w 2842751"/>
                    <a:gd name="connsiteY43" fmla="*/ 2041423 h 3498714"/>
                    <a:gd name="connsiteX44" fmla="*/ 0 w 2842751"/>
                    <a:gd name="connsiteY44" fmla="*/ 1912573 h 3498714"/>
                    <a:gd name="connsiteX45" fmla="*/ 0 w 2842751"/>
                    <a:gd name="connsiteY45" fmla="*/ 1101802 h 3498714"/>
                    <a:gd name="connsiteX46" fmla="*/ 0 w 2842751"/>
                    <a:gd name="connsiteY46" fmla="*/ 1003338 h 3498714"/>
                    <a:gd name="connsiteX47" fmla="*/ 0 w 2842751"/>
                    <a:gd name="connsiteY47" fmla="*/ 982486 h 3498714"/>
                    <a:gd name="connsiteX48" fmla="*/ 12733 w 2842751"/>
                    <a:gd name="connsiteY48" fmla="*/ 894663 h 3498714"/>
                    <a:gd name="connsiteX49" fmla="*/ 20539 w 2842751"/>
                    <a:gd name="connsiteY49" fmla="*/ 868773 h 3498714"/>
                    <a:gd name="connsiteX50" fmla="*/ 358791 w 2842751"/>
                    <a:gd name="connsiteY50" fmla="*/ 644545 h 3498714"/>
                    <a:gd name="connsiteX51" fmla="*/ 682782 w 2842751"/>
                    <a:gd name="connsiteY51" fmla="*/ 0 h 3498714"/>
                    <a:gd name="connsiteX52" fmla="*/ 966919 w 2842751"/>
                    <a:gd name="connsiteY52" fmla="*/ 284138 h 3498714"/>
                    <a:gd name="connsiteX53" fmla="*/ 682782 w 2842751"/>
                    <a:gd name="connsiteY53" fmla="*/ 568275 h 3498714"/>
                    <a:gd name="connsiteX54" fmla="*/ 398645 w 2842751"/>
                    <a:gd name="connsiteY54" fmla="*/ 284138 h 3498714"/>
                    <a:gd name="connsiteX55" fmla="*/ 682782 w 2842751"/>
                    <a:gd name="connsiteY55" fmla="*/ 0 h 3498714"/>
                    <a:gd name="connsiteX56" fmla="*/ 2589325 w 2842751"/>
                    <a:gd name="connsiteY56" fmla="*/ 3124562 h 3498714"/>
                    <a:gd name="connsiteX57" fmla="*/ 2589325 w 2842751"/>
                    <a:gd name="connsiteY57" fmla="*/ 3361625 h 3498714"/>
                    <a:gd name="connsiteX58" fmla="*/ 2480313 w 2842751"/>
                    <a:gd name="connsiteY58" fmla="*/ 3470637 h 3498714"/>
                    <a:gd name="connsiteX59" fmla="*/ 2279239 w 2842751"/>
                    <a:gd name="connsiteY59" fmla="*/ 3470637 h 3498714"/>
                    <a:gd name="connsiteX60" fmla="*/ 2170227 w 2842751"/>
                    <a:gd name="connsiteY60" fmla="*/ 3361625 h 3498714"/>
                    <a:gd name="connsiteX61" fmla="*/ 2170227 w 2842751"/>
                    <a:gd name="connsiteY61" fmla="*/ 3124562 h 3498714"/>
                    <a:gd name="connsiteX62" fmla="*/ 2052754 w 2842751"/>
                    <a:gd name="connsiteY62" fmla="*/ 3124562 h 3498714"/>
                    <a:gd name="connsiteX63" fmla="*/ 1941629 w 2842751"/>
                    <a:gd name="connsiteY63" fmla="*/ 3013437 h 3498714"/>
                    <a:gd name="connsiteX64" fmla="*/ 2052754 w 2842751"/>
                    <a:gd name="connsiteY64" fmla="*/ 2902312 h 3498714"/>
                    <a:gd name="connsiteX65" fmla="*/ 682782 w 2842751"/>
                    <a:gd name="connsiteY65" fmla="*/ 0 h 3498714"/>
                    <a:gd name="connsiteX0" fmla="*/ 2842751 w 2842751"/>
                    <a:gd name="connsiteY0" fmla="*/ 1749356 h 3498714"/>
                    <a:gd name="connsiteX1" fmla="*/ 2392797 w 2842751"/>
                    <a:gd name="connsiteY1" fmla="*/ 1878907 h 3498714"/>
                    <a:gd name="connsiteX2" fmla="*/ 2478781 w 2842751"/>
                    <a:gd name="connsiteY2" fmla="*/ 1920808 h 3498714"/>
                    <a:gd name="connsiteX3" fmla="*/ 2842751 w 2842751"/>
                    <a:gd name="connsiteY3" fmla="*/ 1749356 h 3498714"/>
                    <a:gd name="connsiteX4" fmla="*/ 2534724 w 2842751"/>
                    <a:gd name="connsiteY4" fmla="*/ 982297 h 3498714"/>
                    <a:gd name="connsiteX5" fmla="*/ 2217440 w 2842751"/>
                    <a:gd name="connsiteY5" fmla="*/ 1856216 h 3498714"/>
                    <a:gd name="connsiteX6" fmla="*/ 2534724 w 2842751"/>
                    <a:gd name="connsiteY6" fmla="*/ 982297 h 3498714"/>
                    <a:gd name="connsiteX7" fmla="*/ 358791 w 2842751"/>
                    <a:gd name="connsiteY7" fmla="*/ 644545 h 3498714"/>
                    <a:gd name="connsiteX8" fmla="*/ 1006774 w 2842751"/>
                    <a:gd name="connsiteY8" fmla="*/ 644545 h 3498714"/>
                    <a:gd name="connsiteX9" fmla="*/ 1542636 w 2842751"/>
                    <a:gd name="connsiteY9" fmla="*/ 1193969 h 3498714"/>
                    <a:gd name="connsiteX10" fmla="*/ 1929878 w 2842751"/>
                    <a:gd name="connsiteY10" fmla="*/ 1193970 h 3498714"/>
                    <a:gd name="connsiteX11" fmla="*/ 2070059 w 2842751"/>
                    <a:gd name="connsiteY11" fmla="*/ 1334152 h 3498714"/>
                    <a:gd name="connsiteX12" fmla="*/ 1929878 w 2842751"/>
                    <a:gd name="connsiteY12" fmla="*/ 1474333 h 3498714"/>
                    <a:gd name="connsiteX13" fmla="*/ 1520943 w 2842751"/>
                    <a:gd name="connsiteY13" fmla="*/ 1470388 h 3498714"/>
                    <a:gd name="connsiteX14" fmla="*/ 1332825 w 2842751"/>
                    <a:gd name="connsiteY14" fmla="*/ 1367201 h 3498714"/>
                    <a:gd name="connsiteX15" fmla="*/ 1106501 w 2842751"/>
                    <a:gd name="connsiteY15" fmla="*/ 1098289 h 3498714"/>
                    <a:gd name="connsiteX16" fmla="*/ 1101049 w 2842751"/>
                    <a:gd name="connsiteY16" fmla="*/ 1092836 h 3498714"/>
                    <a:gd name="connsiteX17" fmla="*/ 1046523 w 2842751"/>
                    <a:gd name="connsiteY17" fmla="*/ 1092836 h 3498714"/>
                    <a:gd name="connsiteX18" fmla="*/ 1041071 w 2842751"/>
                    <a:gd name="connsiteY18" fmla="*/ 1098289 h 3498714"/>
                    <a:gd name="connsiteX19" fmla="*/ 1042136 w 2842751"/>
                    <a:gd name="connsiteY19" fmla="*/ 1419754 h 3498714"/>
                    <a:gd name="connsiteX20" fmla="*/ 1042136 w 2842751"/>
                    <a:gd name="connsiteY20" fmla="*/ 3337652 h 3498714"/>
                    <a:gd name="connsiteX21" fmla="*/ 881075 w 2842751"/>
                    <a:gd name="connsiteY21" fmla="*/ 3498714 h 3498714"/>
                    <a:gd name="connsiteX22" fmla="*/ 720012 w 2842751"/>
                    <a:gd name="connsiteY22" fmla="*/ 3337652 h 3498714"/>
                    <a:gd name="connsiteX23" fmla="*/ 720012 w 2842751"/>
                    <a:gd name="connsiteY23" fmla="*/ 2125717 h 3498714"/>
                    <a:gd name="connsiteX24" fmla="*/ 718947 w 2842751"/>
                    <a:gd name="connsiteY24" fmla="*/ 2033194 h 3498714"/>
                    <a:gd name="connsiteX25" fmla="*/ 714162 w 2842751"/>
                    <a:gd name="connsiteY25" fmla="*/ 2028410 h 3498714"/>
                    <a:gd name="connsiteX26" fmla="*/ 654759 w 2842751"/>
                    <a:gd name="connsiteY26" fmla="*/ 2028410 h 3498714"/>
                    <a:gd name="connsiteX27" fmla="*/ 649974 w 2842751"/>
                    <a:gd name="connsiteY27" fmla="*/ 2033194 h 3498714"/>
                    <a:gd name="connsiteX28" fmla="*/ 649974 w 2842751"/>
                    <a:gd name="connsiteY28" fmla="*/ 2125717 h 3498714"/>
                    <a:gd name="connsiteX29" fmla="*/ 649574 w 2842751"/>
                    <a:gd name="connsiteY29" fmla="*/ 3337652 h 3498714"/>
                    <a:gd name="connsiteX30" fmla="*/ 488511 w 2842751"/>
                    <a:gd name="connsiteY30" fmla="*/ 3498714 h 3498714"/>
                    <a:gd name="connsiteX31" fmla="*/ 327450 w 2842751"/>
                    <a:gd name="connsiteY31" fmla="*/ 3337652 h 3498714"/>
                    <a:gd name="connsiteX32" fmla="*/ 327450 w 2842751"/>
                    <a:gd name="connsiteY32" fmla="*/ 1458216 h 3498714"/>
                    <a:gd name="connsiteX33" fmla="*/ 322427 w 2842751"/>
                    <a:gd name="connsiteY33" fmla="*/ 1098205 h 3498714"/>
                    <a:gd name="connsiteX34" fmla="*/ 317058 w 2842751"/>
                    <a:gd name="connsiteY34" fmla="*/ 1092836 h 3498714"/>
                    <a:gd name="connsiteX35" fmla="*/ 263371 w 2842751"/>
                    <a:gd name="connsiteY35" fmla="*/ 1092836 h 3498714"/>
                    <a:gd name="connsiteX36" fmla="*/ 258001 w 2842751"/>
                    <a:gd name="connsiteY36" fmla="*/ 1098205 h 3498714"/>
                    <a:gd name="connsiteX37" fmla="*/ 258001 w 2842751"/>
                    <a:gd name="connsiteY37" fmla="*/ 1444446 h 3498714"/>
                    <a:gd name="connsiteX38" fmla="*/ 257700 w 2842751"/>
                    <a:gd name="connsiteY38" fmla="*/ 1444370 h 3498714"/>
                    <a:gd name="connsiteX39" fmla="*/ 257700 w 2842751"/>
                    <a:gd name="connsiteY39" fmla="*/ 1912573 h 3498714"/>
                    <a:gd name="connsiteX40" fmla="*/ 128850 w 2842751"/>
                    <a:gd name="connsiteY40" fmla="*/ 2041423 h 3498714"/>
                    <a:gd name="connsiteX41" fmla="*/ 0 w 2842751"/>
                    <a:gd name="connsiteY41" fmla="*/ 1912573 h 3498714"/>
                    <a:gd name="connsiteX42" fmla="*/ 0 w 2842751"/>
                    <a:gd name="connsiteY42" fmla="*/ 1101802 h 3498714"/>
                    <a:gd name="connsiteX43" fmla="*/ 0 w 2842751"/>
                    <a:gd name="connsiteY43" fmla="*/ 1003338 h 3498714"/>
                    <a:gd name="connsiteX44" fmla="*/ 0 w 2842751"/>
                    <a:gd name="connsiteY44" fmla="*/ 982486 h 3498714"/>
                    <a:gd name="connsiteX45" fmla="*/ 12733 w 2842751"/>
                    <a:gd name="connsiteY45" fmla="*/ 894663 h 3498714"/>
                    <a:gd name="connsiteX46" fmla="*/ 20539 w 2842751"/>
                    <a:gd name="connsiteY46" fmla="*/ 868773 h 3498714"/>
                    <a:gd name="connsiteX47" fmla="*/ 358791 w 2842751"/>
                    <a:gd name="connsiteY47" fmla="*/ 644545 h 3498714"/>
                    <a:gd name="connsiteX48" fmla="*/ 682782 w 2842751"/>
                    <a:gd name="connsiteY48" fmla="*/ 0 h 3498714"/>
                    <a:gd name="connsiteX49" fmla="*/ 966919 w 2842751"/>
                    <a:gd name="connsiteY49" fmla="*/ 284138 h 3498714"/>
                    <a:gd name="connsiteX50" fmla="*/ 682782 w 2842751"/>
                    <a:gd name="connsiteY50" fmla="*/ 568275 h 3498714"/>
                    <a:gd name="connsiteX51" fmla="*/ 398645 w 2842751"/>
                    <a:gd name="connsiteY51" fmla="*/ 284138 h 3498714"/>
                    <a:gd name="connsiteX52" fmla="*/ 682782 w 2842751"/>
                    <a:gd name="connsiteY52" fmla="*/ 0 h 3498714"/>
                    <a:gd name="connsiteX53" fmla="*/ 2589325 w 2842751"/>
                    <a:gd name="connsiteY53" fmla="*/ 3124562 h 3498714"/>
                    <a:gd name="connsiteX54" fmla="*/ 2589325 w 2842751"/>
                    <a:gd name="connsiteY54" fmla="*/ 3361625 h 3498714"/>
                    <a:gd name="connsiteX55" fmla="*/ 2480313 w 2842751"/>
                    <a:gd name="connsiteY55" fmla="*/ 3470637 h 3498714"/>
                    <a:gd name="connsiteX56" fmla="*/ 2279239 w 2842751"/>
                    <a:gd name="connsiteY56" fmla="*/ 3470637 h 3498714"/>
                    <a:gd name="connsiteX57" fmla="*/ 2170227 w 2842751"/>
                    <a:gd name="connsiteY57" fmla="*/ 3361625 h 3498714"/>
                    <a:gd name="connsiteX58" fmla="*/ 2170227 w 2842751"/>
                    <a:gd name="connsiteY58" fmla="*/ 3124562 h 3498714"/>
                    <a:gd name="connsiteX59" fmla="*/ 2052754 w 2842751"/>
                    <a:gd name="connsiteY59" fmla="*/ 3124562 h 3498714"/>
                    <a:gd name="connsiteX60" fmla="*/ 1941629 w 2842751"/>
                    <a:gd name="connsiteY60" fmla="*/ 3013437 h 3498714"/>
                    <a:gd name="connsiteX61" fmla="*/ 2052754 w 2842751"/>
                    <a:gd name="connsiteY61" fmla="*/ 2902312 h 3498714"/>
                    <a:gd name="connsiteX62" fmla="*/ 682782 w 2842751"/>
                    <a:gd name="connsiteY62" fmla="*/ 0 h 3498714"/>
                    <a:gd name="connsiteX0" fmla="*/ 2842751 w 2842751"/>
                    <a:gd name="connsiteY0" fmla="*/ 1749356 h 3498714"/>
                    <a:gd name="connsiteX1" fmla="*/ 2392797 w 2842751"/>
                    <a:gd name="connsiteY1" fmla="*/ 1878907 h 3498714"/>
                    <a:gd name="connsiteX2" fmla="*/ 2478781 w 2842751"/>
                    <a:gd name="connsiteY2" fmla="*/ 1920808 h 3498714"/>
                    <a:gd name="connsiteX3" fmla="*/ 2842751 w 2842751"/>
                    <a:gd name="connsiteY3" fmla="*/ 1749356 h 3498714"/>
                    <a:gd name="connsiteX4" fmla="*/ 358791 w 2842751"/>
                    <a:gd name="connsiteY4" fmla="*/ 644545 h 3498714"/>
                    <a:gd name="connsiteX5" fmla="*/ 1006774 w 2842751"/>
                    <a:gd name="connsiteY5" fmla="*/ 644545 h 3498714"/>
                    <a:gd name="connsiteX6" fmla="*/ 1542636 w 2842751"/>
                    <a:gd name="connsiteY6" fmla="*/ 1193969 h 3498714"/>
                    <a:gd name="connsiteX7" fmla="*/ 1929878 w 2842751"/>
                    <a:gd name="connsiteY7" fmla="*/ 1193970 h 3498714"/>
                    <a:gd name="connsiteX8" fmla="*/ 2070059 w 2842751"/>
                    <a:gd name="connsiteY8" fmla="*/ 1334152 h 3498714"/>
                    <a:gd name="connsiteX9" fmla="*/ 1929878 w 2842751"/>
                    <a:gd name="connsiteY9" fmla="*/ 1474333 h 3498714"/>
                    <a:gd name="connsiteX10" fmla="*/ 1520943 w 2842751"/>
                    <a:gd name="connsiteY10" fmla="*/ 1470388 h 3498714"/>
                    <a:gd name="connsiteX11" fmla="*/ 1332825 w 2842751"/>
                    <a:gd name="connsiteY11" fmla="*/ 1367201 h 3498714"/>
                    <a:gd name="connsiteX12" fmla="*/ 1106501 w 2842751"/>
                    <a:gd name="connsiteY12" fmla="*/ 1098289 h 3498714"/>
                    <a:gd name="connsiteX13" fmla="*/ 1101049 w 2842751"/>
                    <a:gd name="connsiteY13" fmla="*/ 1092836 h 3498714"/>
                    <a:gd name="connsiteX14" fmla="*/ 1046523 w 2842751"/>
                    <a:gd name="connsiteY14" fmla="*/ 1092836 h 3498714"/>
                    <a:gd name="connsiteX15" fmla="*/ 1041071 w 2842751"/>
                    <a:gd name="connsiteY15" fmla="*/ 1098289 h 3498714"/>
                    <a:gd name="connsiteX16" fmla="*/ 1042136 w 2842751"/>
                    <a:gd name="connsiteY16" fmla="*/ 1419754 h 3498714"/>
                    <a:gd name="connsiteX17" fmla="*/ 1042136 w 2842751"/>
                    <a:gd name="connsiteY17" fmla="*/ 3337652 h 3498714"/>
                    <a:gd name="connsiteX18" fmla="*/ 881075 w 2842751"/>
                    <a:gd name="connsiteY18" fmla="*/ 3498714 h 3498714"/>
                    <a:gd name="connsiteX19" fmla="*/ 720012 w 2842751"/>
                    <a:gd name="connsiteY19" fmla="*/ 3337652 h 3498714"/>
                    <a:gd name="connsiteX20" fmla="*/ 720012 w 2842751"/>
                    <a:gd name="connsiteY20" fmla="*/ 2125717 h 3498714"/>
                    <a:gd name="connsiteX21" fmla="*/ 718947 w 2842751"/>
                    <a:gd name="connsiteY21" fmla="*/ 2033194 h 3498714"/>
                    <a:gd name="connsiteX22" fmla="*/ 714162 w 2842751"/>
                    <a:gd name="connsiteY22" fmla="*/ 2028410 h 3498714"/>
                    <a:gd name="connsiteX23" fmla="*/ 654759 w 2842751"/>
                    <a:gd name="connsiteY23" fmla="*/ 2028410 h 3498714"/>
                    <a:gd name="connsiteX24" fmla="*/ 649974 w 2842751"/>
                    <a:gd name="connsiteY24" fmla="*/ 2033194 h 3498714"/>
                    <a:gd name="connsiteX25" fmla="*/ 649974 w 2842751"/>
                    <a:gd name="connsiteY25" fmla="*/ 2125717 h 3498714"/>
                    <a:gd name="connsiteX26" fmla="*/ 649574 w 2842751"/>
                    <a:gd name="connsiteY26" fmla="*/ 3337652 h 3498714"/>
                    <a:gd name="connsiteX27" fmla="*/ 488511 w 2842751"/>
                    <a:gd name="connsiteY27" fmla="*/ 3498714 h 3498714"/>
                    <a:gd name="connsiteX28" fmla="*/ 327450 w 2842751"/>
                    <a:gd name="connsiteY28" fmla="*/ 3337652 h 3498714"/>
                    <a:gd name="connsiteX29" fmla="*/ 327450 w 2842751"/>
                    <a:gd name="connsiteY29" fmla="*/ 1458216 h 3498714"/>
                    <a:gd name="connsiteX30" fmla="*/ 322427 w 2842751"/>
                    <a:gd name="connsiteY30" fmla="*/ 1098205 h 3498714"/>
                    <a:gd name="connsiteX31" fmla="*/ 317058 w 2842751"/>
                    <a:gd name="connsiteY31" fmla="*/ 1092836 h 3498714"/>
                    <a:gd name="connsiteX32" fmla="*/ 263371 w 2842751"/>
                    <a:gd name="connsiteY32" fmla="*/ 1092836 h 3498714"/>
                    <a:gd name="connsiteX33" fmla="*/ 258001 w 2842751"/>
                    <a:gd name="connsiteY33" fmla="*/ 1098205 h 3498714"/>
                    <a:gd name="connsiteX34" fmla="*/ 258001 w 2842751"/>
                    <a:gd name="connsiteY34" fmla="*/ 1444446 h 3498714"/>
                    <a:gd name="connsiteX35" fmla="*/ 257700 w 2842751"/>
                    <a:gd name="connsiteY35" fmla="*/ 1444370 h 3498714"/>
                    <a:gd name="connsiteX36" fmla="*/ 257700 w 2842751"/>
                    <a:gd name="connsiteY36" fmla="*/ 1912573 h 3498714"/>
                    <a:gd name="connsiteX37" fmla="*/ 128850 w 2842751"/>
                    <a:gd name="connsiteY37" fmla="*/ 2041423 h 3498714"/>
                    <a:gd name="connsiteX38" fmla="*/ 0 w 2842751"/>
                    <a:gd name="connsiteY38" fmla="*/ 1912573 h 3498714"/>
                    <a:gd name="connsiteX39" fmla="*/ 0 w 2842751"/>
                    <a:gd name="connsiteY39" fmla="*/ 1101802 h 3498714"/>
                    <a:gd name="connsiteX40" fmla="*/ 0 w 2842751"/>
                    <a:gd name="connsiteY40" fmla="*/ 1003338 h 3498714"/>
                    <a:gd name="connsiteX41" fmla="*/ 0 w 2842751"/>
                    <a:gd name="connsiteY41" fmla="*/ 982486 h 3498714"/>
                    <a:gd name="connsiteX42" fmla="*/ 12733 w 2842751"/>
                    <a:gd name="connsiteY42" fmla="*/ 894663 h 3498714"/>
                    <a:gd name="connsiteX43" fmla="*/ 20539 w 2842751"/>
                    <a:gd name="connsiteY43" fmla="*/ 868773 h 3498714"/>
                    <a:gd name="connsiteX44" fmla="*/ 358791 w 2842751"/>
                    <a:gd name="connsiteY44" fmla="*/ 644545 h 3498714"/>
                    <a:gd name="connsiteX45" fmla="*/ 682782 w 2842751"/>
                    <a:gd name="connsiteY45" fmla="*/ 0 h 3498714"/>
                    <a:gd name="connsiteX46" fmla="*/ 966919 w 2842751"/>
                    <a:gd name="connsiteY46" fmla="*/ 284138 h 3498714"/>
                    <a:gd name="connsiteX47" fmla="*/ 682782 w 2842751"/>
                    <a:gd name="connsiteY47" fmla="*/ 568275 h 3498714"/>
                    <a:gd name="connsiteX48" fmla="*/ 398645 w 2842751"/>
                    <a:gd name="connsiteY48" fmla="*/ 284138 h 3498714"/>
                    <a:gd name="connsiteX49" fmla="*/ 682782 w 2842751"/>
                    <a:gd name="connsiteY49" fmla="*/ 0 h 3498714"/>
                    <a:gd name="connsiteX50" fmla="*/ 2589325 w 2842751"/>
                    <a:gd name="connsiteY50" fmla="*/ 3124562 h 3498714"/>
                    <a:gd name="connsiteX51" fmla="*/ 2589325 w 2842751"/>
                    <a:gd name="connsiteY51" fmla="*/ 3361625 h 3498714"/>
                    <a:gd name="connsiteX52" fmla="*/ 2480313 w 2842751"/>
                    <a:gd name="connsiteY52" fmla="*/ 3470637 h 3498714"/>
                    <a:gd name="connsiteX53" fmla="*/ 2279239 w 2842751"/>
                    <a:gd name="connsiteY53" fmla="*/ 3470637 h 3498714"/>
                    <a:gd name="connsiteX54" fmla="*/ 2170227 w 2842751"/>
                    <a:gd name="connsiteY54" fmla="*/ 3361625 h 3498714"/>
                    <a:gd name="connsiteX55" fmla="*/ 2170227 w 2842751"/>
                    <a:gd name="connsiteY55" fmla="*/ 3124562 h 3498714"/>
                    <a:gd name="connsiteX56" fmla="*/ 2052754 w 2842751"/>
                    <a:gd name="connsiteY56" fmla="*/ 3124562 h 3498714"/>
                    <a:gd name="connsiteX57" fmla="*/ 1941629 w 2842751"/>
                    <a:gd name="connsiteY57" fmla="*/ 3013437 h 3498714"/>
                    <a:gd name="connsiteX58" fmla="*/ 2052754 w 2842751"/>
                    <a:gd name="connsiteY58" fmla="*/ 2902312 h 3498714"/>
                    <a:gd name="connsiteX59" fmla="*/ 682782 w 2842751"/>
                    <a:gd name="connsiteY59" fmla="*/ 0 h 3498714"/>
                    <a:gd name="connsiteX0" fmla="*/ 2478781 w 2589325"/>
                    <a:gd name="connsiteY0" fmla="*/ 1920808 h 3498714"/>
                    <a:gd name="connsiteX1" fmla="*/ 2392797 w 2589325"/>
                    <a:gd name="connsiteY1" fmla="*/ 1878907 h 3498714"/>
                    <a:gd name="connsiteX2" fmla="*/ 2478781 w 2589325"/>
                    <a:gd name="connsiteY2" fmla="*/ 1920808 h 3498714"/>
                    <a:gd name="connsiteX3" fmla="*/ 358791 w 2589325"/>
                    <a:gd name="connsiteY3" fmla="*/ 644545 h 3498714"/>
                    <a:gd name="connsiteX4" fmla="*/ 1006774 w 2589325"/>
                    <a:gd name="connsiteY4" fmla="*/ 644545 h 3498714"/>
                    <a:gd name="connsiteX5" fmla="*/ 1542636 w 2589325"/>
                    <a:gd name="connsiteY5" fmla="*/ 1193969 h 3498714"/>
                    <a:gd name="connsiteX6" fmla="*/ 1929878 w 2589325"/>
                    <a:gd name="connsiteY6" fmla="*/ 1193970 h 3498714"/>
                    <a:gd name="connsiteX7" fmla="*/ 2070059 w 2589325"/>
                    <a:gd name="connsiteY7" fmla="*/ 1334152 h 3498714"/>
                    <a:gd name="connsiteX8" fmla="*/ 1929878 w 2589325"/>
                    <a:gd name="connsiteY8" fmla="*/ 1474333 h 3498714"/>
                    <a:gd name="connsiteX9" fmla="*/ 1520943 w 2589325"/>
                    <a:gd name="connsiteY9" fmla="*/ 1470388 h 3498714"/>
                    <a:gd name="connsiteX10" fmla="*/ 1332825 w 2589325"/>
                    <a:gd name="connsiteY10" fmla="*/ 1367201 h 3498714"/>
                    <a:gd name="connsiteX11" fmla="*/ 1106501 w 2589325"/>
                    <a:gd name="connsiteY11" fmla="*/ 1098289 h 3498714"/>
                    <a:gd name="connsiteX12" fmla="*/ 1101049 w 2589325"/>
                    <a:gd name="connsiteY12" fmla="*/ 1092836 h 3498714"/>
                    <a:gd name="connsiteX13" fmla="*/ 1046523 w 2589325"/>
                    <a:gd name="connsiteY13" fmla="*/ 1092836 h 3498714"/>
                    <a:gd name="connsiteX14" fmla="*/ 1041071 w 2589325"/>
                    <a:gd name="connsiteY14" fmla="*/ 1098289 h 3498714"/>
                    <a:gd name="connsiteX15" fmla="*/ 1042136 w 2589325"/>
                    <a:gd name="connsiteY15" fmla="*/ 1419754 h 3498714"/>
                    <a:gd name="connsiteX16" fmla="*/ 1042136 w 2589325"/>
                    <a:gd name="connsiteY16" fmla="*/ 3337652 h 3498714"/>
                    <a:gd name="connsiteX17" fmla="*/ 881075 w 2589325"/>
                    <a:gd name="connsiteY17" fmla="*/ 3498714 h 3498714"/>
                    <a:gd name="connsiteX18" fmla="*/ 720012 w 2589325"/>
                    <a:gd name="connsiteY18" fmla="*/ 3337652 h 3498714"/>
                    <a:gd name="connsiteX19" fmla="*/ 720012 w 2589325"/>
                    <a:gd name="connsiteY19" fmla="*/ 2125717 h 3498714"/>
                    <a:gd name="connsiteX20" fmla="*/ 718947 w 2589325"/>
                    <a:gd name="connsiteY20" fmla="*/ 2033194 h 3498714"/>
                    <a:gd name="connsiteX21" fmla="*/ 714162 w 2589325"/>
                    <a:gd name="connsiteY21" fmla="*/ 2028410 h 3498714"/>
                    <a:gd name="connsiteX22" fmla="*/ 654759 w 2589325"/>
                    <a:gd name="connsiteY22" fmla="*/ 2028410 h 3498714"/>
                    <a:gd name="connsiteX23" fmla="*/ 649974 w 2589325"/>
                    <a:gd name="connsiteY23" fmla="*/ 2033194 h 3498714"/>
                    <a:gd name="connsiteX24" fmla="*/ 649974 w 2589325"/>
                    <a:gd name="connsiteY24" fmla="*/ 2125717 h 3498714"/>
                    <a:gd name="connsiteX25" fmla="*/ 649574 w 2589325"/>
                    <a:gd name="connsiteY25" fmla="*/ 3337652 h 3498714"/>
                    <a:gd name="connsiteX26" fmla="*/ 488511 w 2589325"/>
                    <a:gd name="connsiteY26" fmla="*/ 3498714 h 3498714"/>
                    <a:gd name="connsiteX27" fmla="*/ 327450 w 2589325"/>
                    <a:gd name="connsiteY27" fmla="*/ 3337652 h 3498714"/>
                    <a:gd name="connsiteX28" fmla="*/ 327450 w 2589325"/>
                    <a:gd name="connsiteY28" fmla="*/ 1458216 h 3498714"/>
                    <a:gd name="connsiteX29" fmla="*/ 322427 w 2589325"/>
                    <a:gd name="connsiteY29" fmla="*/ 1098205 h 3498714"/>
                    <a:gd name="connsiteX30" fmla="*/ 317058 w 2589325"/>
                    <a:gd name="connsiteY30" fmla="*/ 1092836 h 3498714"/>
                    <a:gd name="connsiteX31" fmla="*/ 263371 w 2589325"/>
                    <a:gd name="connsiteY31" fmla="*/ 1092836 h 3498714"/>
                    <a:gd name="connsiteX32" fmla="*/ 258001 w 2589325"/>
                    <a:gd name="connsiteY32" fmla="*/ 1098205 h 3498714"/>
                    <a:gd name="connsiteX33" fmla="*/ 258001 w 2589325"/>
                    <a:gd name="connsiteY33" fmla="*/ 1444446 h 3498714"/>
                    <a:gd name="connsiteX34" fmla="*/ 257700 w 2589325"/>
                    <a:gd name="connsiteY34" fmla="*/ 1444370 h 3498714"/>
                    <a:gd name="connsiteX35" fmla="*/ 257700 w 2589325"/>
                    <a:gd name="connsiteY35" fmla="*/ 1912573 h 3498714"/>
                    <a:gd name="connsiteX36" fmla="*/ 128850 w 2589325"/>
                    <a:gd name="connsiteY36" fmla="*/ 2041423 h 3498714"/>
                    <a:gd name="connsiteX37" fmla="*/ 0 w 2589325"/>
                    <a:gd name="connsiteY37" fmla="*/ 1912573 h 3498714"/>
                    <a:gd name="connsiteX38" fmla="*/ 0 w 2589325"/>
                    <a:gd name="connsiteY38" fmla="*/ 1101802 h 3498714"/>
                    <a:gd name="connsiteX39" fmla="*/ 0 w 2589325"/>
                    <a:gd name="connsiteY39" fmla="*/ 1003338 h 3498714"/>
                    <a:gd name="connsiteX40" fmla="*/ 0 w 2589325"/>
                    <a:gd name="connsiteY40" fmla="*/ 982486 h 3498714"/>
                    <a:gd name="connsiteX41" fmla="*/ 12733 w 2589325"/>
                    <a:gd name="connsiteY41" fmla="*/ 894663 h 3498714"/>
                    <a:gd name="connsiteX42" fmla="*/ 20539 w 2589325"/>
                    <a:gd name="connsiteY42" fmla="*/ 868773 h 3498714"/>
                    <a:gd name="connsiteX43" fmla="*/ 358791 w 2589325"/>
                    <a:gd name="connsiteY43" fmla="*/ 644545 h 3498714"/>
                    <a:gd name="connsiteX44" fmla="*/ 682782 w 2589325"/>
                    <a:gd name="connsiteY44" fmla="*/ 0 h 3498714"/>
                    <a:gd name="connsiteX45" fmla="*/ 966919 w 2589325"/>
                    <a:gd name="connsiteY45" fmla="*/ 284138 h 3498714"/>
                    <a:gd name="connsiteX46" fmla="*/ 682782 w 2589325"/>
                    <a:gd name="connsiteY46" fmla="*/ 568275 h 3498714"/>
                    <a:gd name="connsiteX47" fmla="*/ 398645 w 2589325"/>
                    <a:gd name="connsiteY47" fmla="*/ 284138 h 3498714"/>
                    <a:gd name="connsiteX48" fmla="*/ 682782 w 2589325"/>
                    <a:gd name="connsiteY48" fmla="*/ 0 h 3498714"/>
                    <a:gd name="connsiteX49" fmla="*/ 2589325 w 2589325"/>
                    <a:gd name="connsiteY49" fmla="*/ 3124562 h 3498714"/>
                    <a:gd name="connsiteX50" fmla="*/ 2589325 w 2589325"/>
                    <a:gd name="connsiteY50" fmla="*/ 3361625 h 3498714"/>
                    <a:gd name="connsiteX51" fmla="*/ 2480313 w 2589325"/>
                    <a:gd name="connsiteY51" fmla="*/ 3470637 h 3498714"/>
                    <a:gd name="connsiteX52" fmla="*/ 2279239 w 2589325"/>
                    <a:gd name="connsiteY52" fmla="*/ 3470637 h 3498714"/>
                    <a:gd name="connsiteX53" fmla="*/ 2170227 w 2589325"/>
                    <a:gd name="connsiteY53" fmla="*/ 3361625 h 3498714"/>
                    <a:gd name="connsiteX54" fmla="*/ 2170227 w 2589325"/>
                    <a:gd name="connsiteY54" fmla="*/ 3124562 h 3498714"/>
                    <a:gd name="connsiteX55" fmla="*/ 2052754 w 2589325"/>
                    <a:gd name="connsiteY55" fmla="*/ 3124562 h 3498714"/>
                    <a:gd name="connsiteX56" fmla="*/ 1941629 w 2589325"/>
                    <a:gd name="connsiteY56" fmla="*/ 3013437 h 3498714"/>
                    <a:gd name="connsiteX57" fmla="*/ 2052754 w 2589325"/>
                    <a:gd name="connsiteY57" fmla="*/ 2902312 h 3498714"/>
                    <a:gd name="connsiteX58" fmla="*/ 682782 w 2589325"/>
                    <a:gd name="connsiteY58" fmla="*/ 0 h 3498714"/>
                    <a:gd name="connsiteX0" fmla="*/ 358791 w 2589325"/>
                    <a:gd name="connsiteY0" fmla="*/ 644545 h 3498714"/>
                    <a:gd name="connsiteX1" fmla="*/ 1006774 w 2589325"/>
                    <a:gd name="connsiteY1" fmla="*/ 644545 h 3498714"/>
                    <a:gd name="connsiteX2" fmla="*/ 1542636 w 2589325"/>
                    <a:gd name="connsiteY2" fmla="*/ 1193969 h 3498714"/>
                    <a:gd name="connsiteX3" fmla="*/ 1929878 w 2589325"/>
                    <a:gd name="connsiteY3" fmla="*/ 1193970 h 3498714"/>
                    <a:gd name="connsiteX4" fmla="*/ 2070059 w 2589325"/>
                    <a:gd name="connsiteY4" fmla="*/ 1334152 h 3498714"/>
                    <a:gd name="connsiteX5" fmla="*/ 1929878 w 2589325"/>
                    <a:gd name="connsiteY5" fmla="*/ 1474333 h 3498714"/>
                    <a:gd name="connsiteX6" fmla="*/ 1520943 w 2589325"/>
                    <a:gd name="connsiteY6" fmla="*/ 1470388 h 3498714"/>
                    <a:gd name="connsiteX7" fmla="*/ 1332825 w 2589325"/>
                    <a:gd name="connsiteY7" fmla="*/ 1367201 h 3498714"/>
                    <a:gd name="connsiteX8" fmla="*/ 1106501 w 2589325"/>
                    <a:gd name="connsiteY8" fmla="*/ 1098289 h 3498714"/>
                    <a:gd name="connsiteX9" fmla="*/ 1101049 w 2589325"/>
                    <a:gd name="connsiteY9" fmla="*/ 1092836 h 3498714"/>
                    <a:gd name="connsiteX10" fmla="*/ 1046523 w 2589325"/>
                    <a:gd name="connsiteY10" fmla="*/ 1092836 h 3498714"/>
                    <a:gd name="connsiteX11" fmla="*/ 1041071 w 2589325"/>
                    <a:gd name="connsiteY11" fmla="*/ 1098289 h 3498714"/>
                    <a:gd name="connsiteX12" fmla="*/ 1042136 w 2589325"/>
                    <a:gd name="connsiteY12" fmla="*/ 1419754 h 3498714"/>
                    <a:gd name="connsiteX13" fmla="*/ 1042136 w 2589325"/>
                    <a:gd name="connsiteY13" fmla="*/ 3337652 h 3498714"/>
                    <a:gd name="connsiteX14" fmla="*/ 881075 w 2589325"/>
                    <a:gd name="connsiteY14" fmla="*/ 3498714 h 3498714"/>
                    <a:gd name="connsiteX15" fmla="*/ 720012 w 2589325"/>
                    <a:gd name="connsiteY15" fmla="*/ 3337652 h 3498714"/>
                    <a:gd name="connsiteX16" fmla="*/ 720012 w 2589325"/>
                    <a:gd name="connsiteY16" fmla="*/ 2125717 h 3498714"/>
                    <a:gd name="connsiteX17" fmla="*/ 718947 w 2589325"/>
                    <a:gd name="connsiteY17" fmla="*/ 2033194 h 3498714"/>
                    <a:gd name="connsiteX18" fmla="*/ 714162 w 2589325"/>
                    <a:gd name="connsiteY18" fmla="*/ 2028410 h 3498714"/>
                    <a:gd name="connsiteX19" fmla="*/ 654759 w 2589325"/>
                    <a:gd name="connsiteY19" fmla="*/ 2028410 h 3498714"/>
                    <a:gd name="connsiteX20" fmla="*/ 649974 w 2589325"/>
                    <a:gd name="connsiteY20" fmla="*/ 2033194 h 3498714"/>
                    <a:gd name="connsiteX21" fmla="*/ 649974 w 2589325"/>
                    <a:gd name="connsiteY21" fmla="*/ 2125717 h 3498714"/>
                    <a:gd name="connsiteX22" fmla="*/ 649574 w 2589325"/>
                    <a:gd name="connsiteY22" fmla="*/ 3337652 h 3498714"/>
                    <a:gd name="connsiteX23" fmla="*/ 488511 w 2589325"/>
                    <a:gd name="connsiteY23" fmla="*/ 3498714 h 3498714"/>
                    <a:gd name="connsiteX24" fmla="*/ 327450 w 2589325"/>
                    <a:gd name="connsiteY24" fmla="*/ 3337652 h 3498714"/>
                    <a:gd name="connsiteX25" fmla="*/ 327450 w 2589325"/>
                    <a:gd name="connsiteY25" fmla="*/ 1458216 h 3498714"/>
                    <a:gd name="connsiteX26" fmla="*/ 322427 w 2589325"/>
                    <a:gd name="connsiteY26" fmla="*/ 1098205 h 3498714"/>
                    <a:gd name="connsiteX27" fmla="*/ 317058 w 2589325"/>
                    <a:gd name="connsiteY27" fmla="*/ 1092836 h 3498714"/>
                    <a:gd name="connsiteX28" fmla="*/ 263371 w 2589325"/>
                    <a:gd name="connsiteY28" fmla="*/ 1092836 h 3498714"/>
                    <a:gd name="connsiteX29" fmla="*/ 258001 w 2589325"/>
                    <a:gd name="connsiteY29" fmla="*/ 1098205 h 3498714"/>
                    <a:gd name="connsiteX30" fmla="*/ 258001 w 2589325"/>
                    <a:gd name="connsiteY30" fmla="*/ 1444446 h 3498714"/>
                    <a:gd name="connsiteX31" fmla="*/ 257700 w 2589325"/>
                    <a:gd name="connsiteY31" fmla="*/ 1444370 h 3498714"/>
                    <a:gd name="connsiteX32" fmla="*/ 257700 w 2589325"/>
                    <a:gd name="connsiteY32" fmla="*/ 1912573 h 3498714"/>
                    <a:gd name="connsiteX33" fmla="*/ 128850 w 2589325"/>
                    <a:gd name="connsiteY33" fmla="*/ 2041423 h 3498714"/>
                    <a:gd name="connsiteX34" fmla="*/ 0 w 2589325"/>
                    <a:gd name="connsiteY34" fmla="*/ 1912573 h 3498714"/>
                    <a:gd name="connsiteX35" fmla="*/ 0 w 2589325"/>
                    <a:gd name="connsiteY35" fmla="*/ 1101802 h 3498714"/>
                    <a:gd name="connsiteX36" fmla="*/ 0 w 2589325"/>
                    <a:gd name="connsiteY36" fmla="*/ 1003338 h 3498714"/>
                    <a:gd name="connsiteX37" fmla="*/ 0 w 2589325"/>
                    <a:gd name="connsiteY37" fmla="*/ 982486 h 3498714"/>
                    <a:gd name="connsiteX38" fmla="*/ 12733 w 2589325"/>
                    <a:gd name="connsiteY38" fmla="*/ 894663 h 3498714"/>
                    <a:gd name="connsiteX39" fmla="*/ 20539 w 2589325"/>
                    <a:gd name="connsiteY39" fmla="*/ 868773 h 3498714"/>
                    <a:gd name="connsiteX40" fmla="*/ 358791 w 2589325"/>
                    <a:gd name="connsiteY40" fmla="*/ 644545 h 3498714"/>
                    <a:gd name="connsiteX41" fmla="*/ 682782 w 2589325"/>
                    <a:gd name="connsiteY41" fmla="*/ 0 h 3498714"/>
                    <a:gd name="connsiteX42" fmla="*/ 966919 w 2589325"/>
                    <a:gd name="connsiteY42" fmla="*/ 284138 h 3498714"/>
                    <a:gd name="connsiteX43" fmla="*/ 682782 w 2589325"/>
                    <a:gd name="connsiteY43" fmla="*/ 568275 h 3498714"/>
                    <a:gd name="connsiteX44" fmla="*/ 398645 w 2589325"/>
                    <a:gd name="connsiteY44" fmla="*/ 284138 h 3498714"/>
                    <a:gd name="connsiteX45" fmla="*/ 682782 w 2589325"/>
                    <a:gd name="connsiteY45" fmla="*/ 0 h 3498714"/>
                    <a:gd name="connsiteX46" fmla="*/ 2589325 w 2589325"/>
                    <a:gd name="connsiteY46" fmla="*/ 3124562 h 3498714"/>
                    <a:gd name="connsiteX47" fmla="*/ 2589325 w 2589325"/>
                    <a:gd name="connsiteY47" fmla="*/ 3361625 h 3498714"/>
                    <a:gd name="connsiteX48" fmla="*/ 2480313 w 2589325"/>
                    <a:gd name="connsiteY48" fmla="*/ 3470637 h 3498714"/>
                    <a:gd name="connsiteX49" fmla="*/ 2279239 w 2589325"/>
                    <a:gd name="connsiteY49" fmla="*/ 3470637 h 3498714"/>
                    <a:gd name="connsiteX50" fmla="*/ 2170227 w 2589325"/>
                    <a:gd name="connsiteY50" fmla="*/ 3361625 h 3498714"/>
                    <a:gd name="connsiteX51" fmla="*/ 2170227 w 2589325"/>
                    <a:gd name="connsiteY51" fmla="*/ 3124562 h 3498714"/>
                    <a:gd name="connsiteX52" fmla="*/ 2052754 w 2589325"/>
                    <a:gd name="connsiteY52" fmla="*/ 3124562 h 3498714"/>
                    <a:gd name="connsiteX53" fmla="*/ 1941629 w 2589325"/>
                    <a:gd name="connsiteY53" fmla="*/ 3013437 h 3498714"/>
                    <a:gd name="connsiteX54" fmla="*/ 2052754 w 2589325"/>
                    <a:gd name="connsiteY54" fmla="*/ 2902312 h 3498714"/>
                    <a:gd name="connsiteX55" fmla="*/ 682782 w 2589325"/>
                    <a:gd name="connsiteY55" fmla="*/ 0 h 3498714"/>
                    <a:gd name="connsiteX0" fmla="*/ 358791 w 2589325"/>
                    <a:gd name="connsiteY0" fmla="*/ 644545 h 3498714"/>
                    <a:gd name="connsiteX1" fmla="*/ 1006774 w 2589325"/>
                    <a:gd name="connsiteY1" fmla="*/ 644545 h 3498714"/>
                    <a:gd name="connsiteX2" fmla="*/ 1542636 w 2589325"/>
                    <a:gd name="connsiteY2" fmla="*/ 1193969 h 3498714"/>
                    <a:gd name="connsiteX3" fmla="*/ 1929878 w 2589325"/>
                    <a:gd name="connsiteY3" fmla="*/ 1193970 h 3498714"/>
                    <a:gd name="connsiteX4" fmla="*/ 2070059 w 2589325"/>
                    <a:gd name="connsiteY4" fmla="*/ 1334152 h 3498714"/>
                    <a:gd name="connsiteX5" fmla="*/ 1929878 w 2589325"/>
                    <a:gd name="connsiteY5" fmla="*/ 1474333 h 3498714"/>
                    <a:gd name="connsiteX6" fmla="*/ 1520943 w 2589325"/>
                    <a:gd name="connsiteY6" fmla="*/ 1470388 h 3498714"/>
                    <a:gd name="connsiteX7" fmla="*/ 1332825 w 2589325"/>
                    <a:gd name="connsiteY7" fmla="*/ 1367201 h 3498714"/>
                    <a:gd name="connsiteX8" fmla="*/ 1106501 w 2589325"/>
                    <a:gd name="connsiteY8" fmla="*/ 1098289 h 3498714"/>
                    <a:gd name="connsiteX9" fmla="*/ 1101049 w 2589325"/>
                    <a:gd name="connsiteY9" fmla="*/ 1092836 h 3498714"/>
                    <a:gd name="connsiteX10" fmla="*/ 1046523 w 2589325"/>
                    <a:gd name="connsiteY10" fmla="*/ 1092836 h 3498714"/>
                    <a:gd name="connsiteX11" fmla="*/ 1041071 w 2589325"/>
                    <a:gd name="connsiteY11" fmla="*/ 1098289 h 3498714"/>
                    <a:gd name="connsiteX12" fmla="*/ 1042136 w 2589325"/>
                    <a:gd name="connsiteY12" fmla="*/ 1419754 h 3498714"/>
                    <a:gd name="connsiteX13" fmla="*/ 1042136 w 2589325"/>
                    <a:gd name="connsiteY13" fmla="*/ 3337652 h 3498714"/>
                    <a:gd name="connsiteX14" fmla="*/ 881075 w 2589325"/>
                    <a:gd name="connsiteY14" fmla="*/ 3498714 h 3498714"/>
                    <a:gd name="connsiteX15" fmla="*/ 720012 w 2589325"/>
                    <a:gd name="connsiteY15" fmla="*/ 3337652 h 3498714"/>
                    <a:gd name="connsiteX16" fmla="*/ 720012 w 2589325"/>
                    <a:gd name="connsiteY16" fmla="*/ 2125717 h 3498714"/>
                    <a:gd name="connsiteX17" fmla="*/ 718947 w 2589325"/>
                    <a:gd name="connsiteY17" fmla="*/ 2033194 h 3498714"/>
                    <a:gd name="connsiteX18" fmla="*/ 714162 w 2589325"/>
                    <a:gd name="connsiteY18" fmla="*/ 2028410 h 3498714"/>
                    <a:gd name="connsiteX19" fmla="*/ 654759 w 2589325"/>
                    <a:gd name="connsiteY19" fmla="*/ 2028410 h 3498714"/>
                    <a:gd name="connsiteX20" fmla="*/ 649974 w 2589325"/>
                    <a:gd name="connsiteY20" fmla="*/ 2033194 h 3498714"/>
                    <a:gd name="connsiteX21" fmla="*/ 649974 w 2589325"/>
                    <a:gd name="connsiteY21" fmla="*/ 2125717 h 3498714"/>
                    <a:gd name="connsiteX22" fmla="*/ 649574 w 2589325"/>
                    <a:gd name="connsiteY22" fmla="*/ 3337652 h 3498714"/>
                    <a:gd name="connsiteX23" fmla="*/ 488511 w 2589325"/>
                    <a:gd name="connsiteY23" fmla="*/ 3498714 h 3498714"/>
                    <a:gd name="connsiteX24" fmla="*/ 327450 w 2589325"/>
                    <a:gd name="connsiteY24" fmla="*/ 3337652 h 3498714"/>
                    <a:gd name="connsiteX25" fmla="*/ 327450 w 2589325"/>
                    <a:gd name="connsiteY25" fmla="*/ 1458216 h 3498714"/>
                    <a:gd name="connsiteX26" fmla="*/ 322427 w 2589325"/>
                    <a:gd name="connsiteY26" fmla="*/ 1098205 h 3498714"/>
                    <a:gd name="connsiteX27" fmla="*/ 317058 w 2589325"/>
                    <a:gd name="connsiteY27" fmla="*/ 1092836 h 3498714"/>
                    <a:gd name="connsiteX28" fmla="*/ 263371 w 2589325"/>
                    <a:gd name="connsiteY28" fmla="*/ 1092836 h 3498714"/>
                    <a:gd name="connsiteX29" fmla="*/ 258001 w 2589325"/>
                    <a:gd name="connsiteY29" fmla="*/ 1098205 h 3498714"/>
                    <a:gd name="connsiteX30" fmla="*/ 258001 w 2589325"/>
                    <a:gd name="connsiteY30" fmla="*/ 1444446 h 3498714"/>
                    <a:gd name="connsiteX31" fmla="*/ 257700 w 2589325"/>
                    <a:gd name="connsiteY31" fmla="*/ 1444370 h 3498714"/>
                    <a:gd name="connsiteX32" fmla="*/ 257700 w 2589325"/>
                    <a:gd name="connsiteY32" fmla="*/ 1912573 h 3498714"/>
                    <a:gd name="connsiteX33" fmla="*/ 128850 w 2589325"/>
                    <a:gd name="connsiteY33" fmla="*/ 2041423 h 3498714"/>
                    <a:gd name="connsiteX34" fmla="*/ 0 w 2589325"/>
                    <a:gd name="connsiteY34" fmla="*/ 1912573 h 3498714"/>
                    <a:gd name="connsiteX35" fmla="*/ 0 w 2589325"/>
                    <a:gd name="connsiteY35" fmla="*/ 1101802 h 3498714"/>
                    <a:gd name="connsiteX36" fmla="*/ 0 w 2589325"/>
                    <a:gd name="connsiteY36" fmla="*/ 1003338 h 3498714"/>
                    <a:gd name="connsiteX37" fmla="*/ 0 w 2589325"/>
                    <a:gd name="connsiteY37" fmla="*/ 982486 h 3498714"/>
                    <a:gd name="connsiteX38" fmla="*/ 12733 w 2589325"/>
                    <a:gd name="connsiteY38" fmla="*/ 894663 h 3498714"/>
                    <a:gd name="connsiteX39" fmla="*/ 20539 w 2589325"/>
                    <a:gd name="connsiteY39" fmla="*/ 868773 h 3498714"/>
                    <a:gd name="connsiteX40" fmla="*/ 358791 w 2589325"/>
                    <a:gd name="connsiteY40" fmla="*/ 644545 h 3498714"/>
                    <a:gd name="connsiteX41" fmla="*/ 682782 w 2589325"/>
                    <a:gd name="connsiteY41" fmla="*/ 0 h 3498714"/>
                    <a:gd name="connsiteX42" fmla="*/ 966919 w 2589325"/>
                    <a:gd name="connsiteY42" fmla="*/ 284138 h 3498714"/>
                    <a:gd name="connsiteX43" fmla="*/ 682782 w 2589325"/>
                    <a:gd name="connsiteY43" fmla="*/ 568275 h 3498714"/>
                    <a:gd name="connsiteX44" fmla="*/ 398645 w 2589325"/>
                    <a:gd name="connsiteY44" fmla="*/ 284138 h 3498714"/>
                    <a:gd name="connsiteX45" fmla="*/ 682782 w 2589325"/>
                    <a:gd name="connsiteY45" fmla="*/ 0 h 3498714"/>
                    <a:gd name="connsiteX46" fmla="*/ 2589325 w 2589325"/>
                    <a:gd name="connsiteY46" fmla="*/ 3361625 h 3498714"/>
                    <a:gd name="connsiteX47" fmla="*/ 2480313 w 2589325"/>
                    <a:gd name="connsiteY47" fmla="*/ 3470637 h 3498714"/>
                    <a:gd name="connsiteX48" fmla="*/ 2279239 w 2589325"/>
                    <a:gd name="connsiteY48" fmla="*/ 3470637 h 3498714"/>
                    <a:gd name="connsiteX49" fmla="*/ 2170227 w 2589325"/>
                    <a:gd name="connsiteY49" fmla="*/ 3361625 h 3498714"/>
                    <a:gd name="connsiteX50" fmla="*/ 2170227 w 2589325"/>
                    <a:gd name="connsiteY50" fmla="*/ 3124562 h 3498714"/>
                    <a:gd name="connsiteX51" fmla="*/ 2052754 w 2589325"/>
                    <a:gd name="connsiteY51" fmla="*/ 3124562 h 3498714"/>
                    <a:gd name="connsiteX52" fmla="*/ 1941629 w 2589325"/>
                    <a:gd name="connsiteY52" fmla="*/ 3013437 h 3498714"/>
                    <a:gd name="connsiteX53" fmla="*/ 2052754 w 2589325"/>
                    <a:gd name="connsiteY53" fmla="*/ 2902312 h 3498714"/>
                    <a:gd name="connsiteX54" fmla="*/ 682782 w 2589325"/>
                    <a:gd name="connsiteY54" fmla="*/ 0 h 3498714"/>
                    <a:gd name="connsiteX0" fmla="*/ 358791 w 2480313"/>
                    <a:gd name="connsiteY0" fmla="*/ 644545 h 3498714"/>
                    <a:gd name="connsiteX1" fmla="*/ 1006774 w 2480313"/>
                    <a:gd name="connsiteY1" fmla="*/ 644545 h 3498714"/>
                    <a:gd name="connsiteX2" fmla="*/ 1542636 w 2480313"/>
                    <a:gd name="connsiteY2" fmla="*/ 1193969 h 3498714"/>
                    <a:gd name="connsiteX3" fmla="*/ 1929878 w 2480313"/>
                    <a:gd name="connsiteY3" fmla="*/ 1193970 h 3498714"/>
                    <a:gd name="connsiteX4" fmla="*/ 2070059 w 2480313"/>
                    <a:gd name="connsiteY4" fmla="*/ 1334152 h 3498714"/>
                    <a:gd name="connsiteX5" fmla="*/ 1929878 w 2480313"/>
                    <a:gd name="connsiteY5" fmla="*/ 1474333 h 3498714"/>
                    <a:gd name="connsiteX6" fmla="*/ 1520943 w 2480313"/>
                    <a:gd name="connsiteY6" fmla="*/ 1470388 h 3498714"/>
                    <a:gd name="connsiteX7" fmla="*/ 1332825 w 2480313"/>
                    <a:gd name="connsiteY7" fmla="*/ 1367201 h 3498714"/>
                    <a:gd name="connsiteX8" fmla="*/ 1106501 w 2480313"/>
                    <a:gd name="connsiteY8" fmla="*/ 1098289 h 3498714"/>
                    <a:gd name="connsiteX9" fmla="*/ 1101049 w 2480313"/>
                    <a:gd name="connsiteY9" fmla="*/ 1092836 h 3498714"/>
                    <a:gd name="connsiteX10" fmla="*/ 1046523 w 2480313"/>
                    <a:gd name="connsiteY10" fmla="*/ 1092836 h 3498714"/>
                    <a:gd name="connsiteX11" fmla="*/ 1041071 w 2480313"/>
                    <a:gd name="connsiteY11" fmla="*/ 1098289 h 3498714"/>
                    <a:gd name="connsiteX12" fmla="*/ 1042136 w 2480313"/>
                    <a:gd name="connsiteY12" fmla="*/ 1419754 h 3498714"/>
                    <a:gd name="connsiteX13" fmla="*/ 1042136 w 2480313"/>
                    <a:gd name="connsiteY13" fmla="*/ 3337652 h 3498714"/>
                    <a:gd name="connsiteX14" fmla="*/ 881075 w 2480313"/>
                    <a:gd name="connsiteY14" fmla="*/ 3498714 h 3498714"/>
                    <a:gd name="connsiteX15" fmla="*/ 720012 w 2480313"/>
                    <a:gd name="connsiteY15" fmla="*/ 3337652 h 3498714"/>
                    <a:gd name="connsiteX16" fmla="*/ 720012 w 2480313"/>
                    <a:gd name="connsiteY16" fmla="*/ 2125717 h 3498714"/>
                    <a:gd name="connsiteX17" fmla="*/ 718947 w 2480313"/>
                    <a:gd name="connsiteY17" fmla="*/ 2033194 h 3498714"/>
                    <a:gd name="connsiteX18" fmla="*/ 714162 w 2480313"/>
                    <a:gd name="connsiteY18" fmla="*/ 2028410 h 3498714"/>
                    <a:gd name="connsiteX19" fmla="*/ 654759 w 2480313"/>
                    <a:gd name="connsiteY19" fmla="*/ 2028410 h 3498714"/>
                    <a:gd name="connsiteX20" fmla="*/ 649974 w 2480313"/>
                    <a:gd name="connsiteY20" fmla="*/ 2033194 h 3498714"/>
                    <a:gd name="connsiteX21" fmla="*/ 649974 w 2480313"/>
                    <a:gd name="connsiteY21" fmla="*/ 2125717 h 3498714"/>
                    <a:gd name="connsiteX22" fmla="*/ 649574 w 2480313"/>
                    <a:gd name="connsiteY22" fmla="*/ 3337652 h 3498714"/>
                    <a:gd name="connsiteX23" fmla="*/ 488511 w 2480313"/>
                    <a:gd name="connsiteY23" fmla="*/ 3498714 h 3498714"/>
                    <a:gd name="connsiteX24" fmla="*/ 327450 w 2480313"/>
                    <a:gd name="connsiteY24" fmla="*/ 3337652 h 3498714"/>
                    <a:gd name="connsiteX25" fmla="*/ 327450 w 2480313"/>
                    <a:gd name="connsiteY25" fmla="*/ 1458216 h 3498714"/>
                    <a:gd name="connsiteX26" fmla="*/ 322427 w 2480313"/>
                    <a:gd name="connsiteY26" fmla="*/ 1098205 h 3498714"/>
                    <a:gd name="connsiteX27" fmla="*/ 317058 w 2480313"/>
                    <a:gd name="connsiteY27" fmla="*/ 1092836 h 3498714"/>
                    <a:gd name="connsiteX28" fmla="*/ 263371 w 2480313"/>
                    <a:gd name="connsiteY28" fmla="*/ 1092836 h 3498714"/>
                    <a:gd name="connsiteX29" fmla="*/ 258001 w 2480313"/>
                    <a:gd name="connsiteY29" fmla="*/ 1098205 h 3498714"/>
                    <a:gd name="connsiteX30" fmla="*/ 258001 w 2480313"/>
                    <a:gd name="connsiteY30" fmla="*/ 1444446 h 3498714"/>
                    <a:gd name="connsiteX31" fmla="*/ 257700 w 2480313"/>
                    <a:gd name="connsiteY31" fmla="*/ 1444370 h 3498714"/>
                    <a:gd name="connsiteX32" fmla="*/ 257700 w 2480313"/>
                    <a:gd name="connsiteY32" fmla="*/ 1912573 h 3498714"/>
                    <a:gd name="connsiteX33" fmla="*/ 128850 w 2480313"/>
                    <a:gd name="connsiteY33" fmla="*/ 2041423 h 3498714"/>
                    <a:gd name="connsiteX34" fmla="*/ 0 w 2480313"/>
                    <a:gd name="connsiteY34" fmla="*/ 1912573 h 3498714"/>
                    <a:gd name="connsiteX35" fmla="*/ 0 w 2480313"/>
                    <a:gd name="connsiteY35" fmla="*/ 1101802 h 3498714"/>
                    <a:gd name="connsiteX36" fmla="*/ 0 w 2480313"/>
                    <a:gd name="connsiteY36" fmla="*/ 1003338 h 3498714"/>
                    <a:gd name="connsiteX37" fmla="*/ 0 w 2480313"/>
                    <a:gd name="connsiteY37" fmla="*/ 982486 h 3498714"/>
                    <a:gd name="connsiteX38" fmla="*/ 12733 w 2480313"/>
                    <a:gd name="connsiteY38" fmla="*/ 894663 h 3498714"/>
                    <a:gd name="connsiteX39" fmla="*/ 20539 w 2480313"/>
                    <a:gd name="connsiteY39" fmla="*/ 868773 h 3498714"/>
                    <a:gd name="connsiteX40" fmla="*/ 358791 w 2480313"/>
                    <a:gd name="connsiteY40" fmla="*/ 644545 h 3498714"/>
                    <a:gd name="connsiteX41" fmla="*/ 682782 w 2480313"/>
                    <a:gd name="connsiteY41" fmla="*/ 0 h 3498714"/>
                    <a:gd name="connsiteX42" fmla="*/ 966919 w 2480313"/>
                    <a:gd name="connsiteY42" fmla="*/ 284138 h 3498714"/>
                    <a:gd name="connsiteX43" fmla="*/ 682782 w 2480313"/>
                    <a:gd name="connsiteY43" fmla="*/ 568275 h 3498714"/>
                    <a:gd name="connsiteX44" fmla="*/ 398645 w 2480313"/>
                    <a:gd name="connsiteY44" fmla="*/ 284138 h 3498714"/>
                    <a:gd name="connsiteX45" fmla="*/ 682782 w 2480313"/>
                    <a:gd name="connsiteY45" fmla="*/ 0 h 3498714"/>
                    <a:gd name="connsiteX46" fmla="*/ 2480313 w 2480313"/>
                    <a:gd name="connsiteY46" fmla="*/ 3470637 h 3498714"/>
                    <a:gd name="connsiteX47" fmla="*/ 2279239 w 2480313"/>
                    <a:gd name="connsiteY47" fmla="*/ 3470637 h 3498714"/>
                    <a:gd name="connsiteX48" fmla="*/ 2170227 w 2480313"/>
                    <a:gd name="connsiteY48" fmla="*/ 3361625 h 3498714"/>
                    <a:gd name="connsiteX49" fmla="*/ 2170227 w 2480313"/>
                    <a:gd name="connsiteY49" fmla="*/ 3124562 h 3498714"/>
                    <a:gd name="connsiteX50" fmla="*/ 2052754 w 2480313"/>
                    <a:gd name="connsiteY50" fmla="*/ 3124562 h 3498714"/>
                    <a:gd name="connsiteX51" fmla="*/ 1941629 w 2480313"/>
                    <a:gd name="connsiteY51" fmla="*/ 3013437 h 3498714"/>
                    <a:gd name="connsiteX52" fmla="*/ 2052754 w 2480313"/>
                    <a:gd name="connsiteY52" fmla="*/ 2902312 h 3498714"/>
                    <a:gd name="connsiteX53" fmla="*/ 682782 w 2480313"/>
                    <a:gd name="connsiteY53" fmla="*/ 0 h 3498714"/>
                    <a:gd name="connsiteX0" fmla="*/ 358791 w 2279239"/>
                    <a:gd name="connsiteY0" fmla="*/ 644545 h 3498714"/>
                    <a:gd name="connsiteX1" fmla="*/ 1006774 w 2279239"/>
                    <a:gd name="connsiteY1" fmla="*/ 644545 h 3498714"/>
                    <a:gd name="connsiteX2" fmla="*/ 1542636 w 2279239"/>
                    <a:gd name="connsiteY2" fmla="*/ 1193969 h 3498714"/>
                    <a:gd name="connsiteX3" fmla="*/ 1929878 w 2279239"/>
                    <a:gd name="connsiteY3" fmla="*/ 1193970 h 3498714"/>
                    <a:gd name="connsiteX4" fmla="*/ 2070059 w 2279239"/>
                    <a:gd name="connsiteY4" fmla="*/ 1334152 h 3498714"/>
                    <a:gd name="connsiteX5" fmla="*/ 1929878 w 2279239"/>
                    <a:gd name="connsiteY5" fmla="*/ 1474333 h 3498714"/>
                    <a:gd name="connsiteX6" fmla="*/ 1520943 w 2279239"/>
                    <a:gd name="connsiteY6" fmla="*/ 1470388 h 3498714"/>
                    <a:gd name="connsiteX7" fmla="*/ 1332825 w 2279239"/>
                    <a:gd name="connsiteY7" fmla="*/ 1367201 h 3498714"/>
                    <a:gd name="connsiteX8" fmla="*/ 1106501 w 2279239"/>
                    <a:gd name="connsiteY8" fmla="*/ 1098289 h 3498714"/>
                    <a:gd name="connsiteX9" fmla="*/ 1101049 w 2279239"/>
                    <a:gd name="connsiteY9" fmla="*/ 1092836 h 3498714"/>
                    <a:gd name="connsiteX10" fmla="*/ 1046523 w 2279239"/>
                    <a:gd name="connsiteY10" fmla="*/ 1092836 h 3498714"/>
                    <a:gd name="connsiteX11" fmla="*/ 1041071 w 2279239"/>
                    <a:gd name="connsiteY11" fmla="*/ 1098289 h 3498714"/>
                    <a:gd name="connsiteX12" fmla="*/ 1042136 w 2279239"/>
                    <a:gd name="connsiteY12" fmla="*/ 1419754 h 3498714"/>
                    <a:gd name="connsiteX13" fmla="*/ 1042136 w 2279239"/>
                    <a:gd name="connsiteY13" fmla="*/ 3337652 h 3498714"/>
                    <a:gd name="connsiteX14" fmla="*/ 881075 w 2279239"/>
                    <a:gd name="connsiteY14" fmla="*/ 3498714 h 3498714"/>
                    <a:gd name="connsiteX15" fmla="*/ 720012 w 2279239"/>
                    <a:gd name="connsiteY15" fmla="*/ 3337652 h 3498714"/>
                    <a:gd name="connsiteX16" fmla="*/ 720012 w 2279239"/>
                    <a:gd name="connsiteY16" fmla="*/ 2125717 h 3498714"/>
                    <a:gd name="connsiteX17" fmla="*/ 718947 w 2279239"/>
                    <a:gd name="connsiteY17" fmla="*/ 2033194 h 3498714"/>
                    <a:gd name="connsiteX18" fmla="*/ 714162 w 2279239"/>
                    <a:gd name="connsiteY18" fmla="*/ 2028410 h 3498714"/>
                    <a:gd name="connsiteX19" fmla="*/ 654759 w 2279239"/>
                    <a:gd name="connsiteY19" fmla="*/ 2028410 h 3498714"/>
                    <a:gd name="connsiteX20" fmla="*/ 649974 w 2279239"/>
                    <a:gd name="connsiteY20" fmla="*/ 2033194 h 3498714"/>
                    <a:gd name="connsiteX21" fmla="*/ 649974 w 2279239"/>
                    <a:gd name="connsiteY21" fmla="*/ 2125717 h 3498714"/>
                    <a:gd name="connsiteX22" fmla="*/ 649574 w 2279239"/>
                    <a:gd name="connsiteY22" fmla="*/ 3337652 h 3498714"/>
                    <a:gd name="connsiteX23" fmla="*/ 488511 w 2279239"/>
                    <a:gd name="connsiteY23" fmla="*/ 3498714 h 3498714"/>
                    <a:gd name="connsiteX24" fmla="*/ 327450 w 2279239"/>
                    <a:gd name="connsiteY24" fmla="*/ 3337652 h 3498714"/>
                    <a:gd name="connsiteX25" fmla="*/ 327450 w 2279239"/>
                    <a:gd name="connsiteY25" fmla="*/ 1458216 h 3498714"/>
                    <a:gd name="connsiteX26" fmla="*/ 322427 w 2279239"/>
                    <a:gd name="connsiteY26" fmla="*/ 1098205 h 3498714"/>
                    <a:gd name="connsiteX27" fmla="*/ 317058 w 2279239"/>
                    <a:gd name="connsiteY27" fmla="*/ 1092836 h 3498714"/>
                    <a:gd name="connsiteX28" fmla="*/ 263371 w 2279239"/>
                    <a:gd name="connsiteY28" fmla="*/ 1092836 h 3498714"/>
                    <a:gd name="connsiteX29" fmla="*/ 258001 w 2279239"/>
                    <a:gd name="connsiteY29" fmla="*/ 1098205 h 3498714"/>
                    <a:gd name="connsiteX30" fmla="*/ 258001 w 2279239"/>
                    <a:gd name="connsiteY30" fmla="*/ 1444446 h 3498714"/>
                    <a:gd name="connsiteX31" fmla="*/ 257700 w 2279239"/>
                    <a:gd name="connsiteY31" fmla="*/ 1444370 h 3498714"/>
                    <a:gd name="connsiteX32" fmla="*/ 257700 w 2279239"/>
                    <a:gd name="connsiteY32" fmla="*/ 1912573 h 3498714"/>
                    <a:gd name="connsiteX33" fmla="*/ 128850 w 2279239"/>
                    <a:gd name="connsiteY33" fmla="*/ 2041423 h 3498714"/>
                    <a:gd name="connsiteX34" fmla="*/ 0 w 2279239"/>
                    <a:gd name="connsiteY34" fmla="*/ 1912573 h 3498714"/>
                    <a:gd name="connsiteX35" fmla="*/ 0 w 2279239"/>
                    <a:gd name="connsiteY35" fmla="*/ 1101802 h 3498714"/>
                    <a:gd name="connsiteX36" fmla="*/ 0 w 2279239"/>
                    <a:gd name="connsiteY36" fmla="*/ 1003338 h 3498714"/>
                    <a:gd name="connsiteX37" fmla="*/ 0 w 2279239"/>
                    <a:gd name="connsiteY37" fmla="*/ 982486 h 3498714"/>
                    <a:gd name="connsiteX38" fmla="*/ 12733 w 2279239"/>
                    <a:gd name="connsiteY38" fmla="*/ 894663 h 3498714"/>
                    <a:gd name="connsiteX39" fmla="*/ 20539 w 2279239"/>
                    <a:gd name="connsiteY39" fmla="*/ 868773 h 3498714"/>
                    <a:gd name="connsiteX40" fmla="*/ 358791 w 2279239"/>
                    <a:gd name="connsiteY40" fmla="*/ 644545 h 3498714"/>
                    <a:gd name="connsiteX41" fmla="*/ 682782 w 2279239"/>
                    <a:gd name="connsiteY41" fmla="*/ 0 h 3498714"/>
                    <a:gd name="connsiteX42" fmla="*/ 966919 w 2279239"/>
                    <a:gd name="connsiteY42" fmla="*/ 284138 h 3498714"/>
                    <a:gd name="connsiteX43" fmla="*/ 682782 w 2279239"/>
                    <a:gd name="connsiteY43" fmla="*/ 568275 h 3498714"/>
                    <a:gd name="connsiteX44" fmla="*/ 398645 w 2279239"/>
                    <a:gd name="connsiteY44" fmla="*/ 284138 h 3498714"/>
                    <a:gd name="connsiteX45" fmla="*/ 682782 w 2279239"/>
                    <a:gd name="connsiteY45" fmla="*/ 0 h 3498714"/>
                    <a:gd name="connsiteX46" fmla="*/ 2279239 w 2279239"/>
                    <a:gd name="connsiteY46" fmla="*/ 3470637 h 3498714"/>
                    <a:gd name="connsiteX47" fmla="*/ 2170227 w 2279239"/>
                    <a:gd name="connsiteY47" fmla="*/ 3361625 h 3498714"/>
                    <a:gd name="connsiteX48" fmla="*/ 2170227 w 2279239"/>
                    <a:gd name="connsiteY48" fmla="*/ 3124562 h 3498714"/>
                    <a:gd name="connsiteX49" fmla="*/ 2052754 w 2279239"/>
                    <a:gd name="connsiteY49" fmla="*/ 3124562 h 3498714"/>
                    <a:gd name="connsiteX50" fmla="*/ 1941629 w 2279239"/>
                    <a:gd name="connsiteY50" fmla="*/ 3013437 h 3498714"/>
                    <a:gd name="connsiteX51" fmla="*/ 2052754 w 2279239"/>
                    <a:gd name="connsiteY51" fmla="*/ 2902312 h 3498714"/>
                    <a:gd name="connsiteX52" fmla="*/ 682782 w 2279239"/>
                    <a:gd name="connsiteY52" fmla="*/ 0 h 3498714"/>
                    <a:gd name="connsiteX0" fmla="*/ 358791 w 2170227"/>
                    <a:gd name="connsiteY0" fmla="*/ 644545 h 3498714"/>
                    <a:gd name="connsiteX1" fmla="*/ 1006774 w 2170227"/>
                    <a:gd name="connsiteY1" fmla="*/ 644545 h 3498714"/>
                    <a:gd name="connsiteX2" fmla="*/ 1542636 w 2170227"/>
                    <a:gd name="connsiteY2" fmla="*/ 1193969 h 3498714"/>
                    <a:gd name="connsiteX3" fmla="*/ 1929878 w 2170227"/>
                    <a:gd name="connsiteY3" fmla="*/ 1193970 h 3498714"/>
                    <a:gd name="connsiteX4" fmla="*/ 2070059 w 2170227"/>
                    <a:gd name="connsiteY4" fmla="*/ 1334152 h 3498714"/>
                    <a:gd name="connsiteX5" fmla="*/ 1929878 w 2170227"/>
                    <a:gd name="connsiteY5" fmla="*/ 1474333 h 3498714"/>
                    <a:gd name="connsiteX6" fmla="*/ 1520943 w 2170227"/>
                    <a:gd name="connsiteY6" fmla="*/ 1470388 h 3498714"/>
                    <a:gd name="connsiteX7" fmla="*/ 1332825 w 2170227"/>
                    <a:gd name="connsiteY7" fmla="*/ 1367201 h 3498714"/>
                    <a:gd name="connsiteX8" fmla="*/ 1106501 w 2170227"/>
                    <a:gd name="connsiteY8" fmla="*/ 1098289 h 3498714"/>
                    <a:gd name="connsiteX9" fmla="*/ 1101049 w 2170227"/>
                    <a:gd name="connsiteY9" fmla="*/ 1092836 h 3498714"/>
                    <a:gd name="connsiteX10" fmla="*/ 1046523 w 2170227"/>
                    <a:gd name="connsiteY10" fmla="*/ 1092836 h 3498714"/>
                    <a:gd name="connsiteX11" fmla="*/ 1041071 w 2170227"/>
                    <a:gd name="connsiteY11" fmla="*/ 1098289 h 3498714"/>
                    <a:gd name="connsiteX12" fmla="*/ 1042136 w 2170227"/>
                    <a:gd name="connsiteY12" fmla="*/ 1419754 h 3498714"/>
                    <a:gd name="connsiteX13" fmla="*/ 1042136 w 2170227"/>
                    <a:gd name="connsiteY13" fmla="*/ 3337652 h 3498714"/>
                    <a:gd name="connsiteX14" fmla="*/ 881075 w 2170227"/>
                    <a:gd name="connsiteY14" fmla="*/ 3498714 h 3498714"/>
                    <a:gd name="connsiteX15" fmla="*/ 720012 w 2170227"/>
                    <a:gd name="connsiteY15" fmla="*/ 3337652 h 3498714"/>
                    <a:gd name="connsiteX16" fmla="*/ 720012 w 2170227"/>
                    <a:gd name="connsiteY16" fmla="*/ 2125717 h 3498714"/>
                    <a:gd name="connsiteX17" fmla="*/ 718947 w 2170227"/>
                    <a:gd name="connsiteY17" fmla="*/ 2033194 h 3498714"/>
                    <a:gd name="connsiteX18" fmla="*/ 714162 w 2170227"/>
                    <a:gd name="connsiteY18" fmla="*/ 2028410 h 3498714"/>
                    <a:gd name="connsiteX19" fmla="*/ 654759 w 2170227"/>
                    <a:gd name="connsiteY19" fmla="*/ 2028410 h 3498714"/>
                    <a:gd name="connsiteX20" fmla="*/ 649974 w 2170227"/>
                    <a:gd name="connsiteY20" fmla="*/ 2033194 h 3498714"/>
                    <a:gd name="connsiteX21" fmla="*/ 649974 w 2170227"/>
                    <a:gd name="connsiteY21" fmla="*/ 2125717 h 3498714"/>
                    <a:gd name="connsiteX22" fmla="*/ 649574 w 2170227"/>
                    <a:gd name="connsiteY22" fmla="*/ 3337652 h 3498714"/>
                    <a:gd name="connsiteX23" fmla="*/ 488511 w 2170227"/>
                    <a:gd name="connsiteY23" fmla="*/ 3498714 h 3498714"/>
                    <a:gd name="connsiteX24" fmla="*/ 327450 w 2170227"/>
                    <a:gd name="connsiteY24" fmla="*/ 3337652 h 3498714"/>
                    <a:gd name="connsiteX25" fmla="*/ 327450 w 2170227"/>
                    <a:gd name="connsiteY25" fmla="*/ 1458216 h 3498714"/>
                    <a:gd name="connsiteX26" fmla="*/ 322427 w 2170227"/>
                    <a:gd name="connsiteY26" fmla="*/ 1098205 h 3498714"/>
                    <a:gd name="connsiteX27" fmla="*/ 317058 w 2170227"/>
                    <a:gd name="connsiteY27" fmla="*/ 1092836 h 3498714"/>
                    <a:gd name="connsiteX28" fmla="*/ 263371 w 2170227"/>
                    <a:gd name="connsiteY28" fmla="*/ 1092836 h 3498714"/>
                    <a:gd name="connsiteX29" fmla="*/ 258001 w 2170227"/>
                    <a:gd name="connsiteY29" fmla="*/ 1098205 h 3498714"/>
                    <a:gd name="connsiteX30" fmla="*/ 258001 w 2170227"/>
                    <a:gd name="connsiteY30" fmla="*/ 1444446 h 3498714"/>
                    <a:gd name="connsiteX31" fmla="*/ 257700 w 2170227"/>
                    <a:gd name="connsiteY31" fmla="*/ 1444370 h 3498714"/>
                    <a:gd name="connsiteX32" fmla="*/ 257700 w 2170227"/>
                    <a:gd name="connsiteY32" fmla="*/ 1912573 h 3498714"/>
                    <a:gd name="connsiteX33" fmla="*/ 128850 w 2170227"/>
                    <a:gd name="connsiteY33" fmla="*/ 2041423 h 3498714"/>
                    <a:gd name="connsiteX34" fmla="*/ 0 w 2170227"/>
                    <a:gd name="connsiteY34" fmla="*/ 1912573 h 3498714"/>
                    <a:gd name="connsiteX35" fmla="*/ 0 w 2170227"/>
                    <a:gd name="connsiteY35" fmla="*/ 1101802 h 3498714"/>
                    <a:gd name="connsiteX36" fmla="*/ 0 w 2170227"/>
                    <a:gd name="connsiteY36" fmla="*/ 1003338 h 3498714"/>
                    <a:gd name="connsiteX37" fmla="*/ 0 w 2170227"/>
                    <a:gd name="connsiteY37" fmla="*/ 982486 h 3498714"/>
                    <a:gd name="connsiteX38" fmla="*/ 12733 w 2170227"/>
                    <a:gd name="connsiteY38" fmla="*/ 894663 h 3498714"/>
                    <a:gd name="connsiteX39" fmla="*/ 20539 w 2170227"/>
                    <a:gd name="connsiteY39" fmla="*/ 868773 h 3498714"/>
                    <a:gd name="connsiteX40" fmla="*/ 358791 w 2170227"/>
                    <a:gd name="connsiteY40" fmla="*/ 644545 h 3498714"/>
                    <a:gd name="connsiteX41" fmla="*/ 682782 w 2170227"/>
                    <a:gd name="connsiteY41" fmla="*/ 0 h 3498714"/>
                    <a:gd name="connsiteX42" fmla="*/ 966919 w 2170227"/>
                    <a:gd name="connsiteY42" fmla="*/ 284138 h 3498714"/>
                    <a:gd name="connsiteX43" fmla="*/ 682782 w 2170227"/>
                    <a:gd name="connsiteY43" fmla="*/ 568275 h 3498714"/>
                    <a:gd name="connsiteX44" fmla="*/ 398645 w 2170227"/>
                    <a:gd name="connsiteY44" fmla="*/ 284138 h 3498714"/>
                    <a:gd name="connsiteX45" fmla="*/ 682782 w 2170227"/>
                    <a:gd name="connsiteY45" fmla="*/ 0 h 3498714"/>
                    <a:gd name="connsiteX46" fmla="*/ 2170227 w 2170227"/>
                    <a:gd name="connsiteY46" fmla="*/ 3361625 h 3498714"/>
                    <a:gd name="connsiteX47" fmla="*/ 2170227 w 2170227"/>
                    <a:gd name="connsiteY47" fmla="*/ 3124562 h 3498714"/>
                    <a:gd name="connsiteX48" fmla="*/ 2052754 w 2170227"/>
                    <a:gd name="connsiteY48" fmla="*/ 3124562 h 3498714"/>
                    <a:gd name="connsiteX49" fmla="*/ 1941629 w 2170227"/>
                    <a:gd name="connsiteY49" fmla="*/ 3013437 h 3498714"/>
                    <a:gd name="connsiteX50" fmla="*/ 2052754 w 2170227"/>
                    <a:gd name="connsiteY50" fmla="*/ 2902312 h 3498714"/>
                    <a:gd name="connsiteX51" fmla="*/ 682782 w 2170227"/>
                    <a:gd name="connsiteY51" fmla="*/ 0 h 3498714"/>
                    <a:gd name="connsiteX0" fmla="*/ 358791 w 2170227"/>
                    <a:gd name="connsiteY0" fmla="*/ 644545 h 3498714"/>
                    <a:gd name="connsiteX1" fmla="*/ 1006774 w 2170227"/>
                    <a:gd name="connsiteY1" fmla="*/ 644545 h 3498714"/>
                    <a:gd name="connsiteX2" fmla="*/ 1542636 w 2170227"/>
                    <a:gd name="connsiteY2" fmla="*/ 1193969 h 3498714"/>
                    <a:gd name="connsiteX3" fmla="*/ 1929878 w 2170227"/>
                    <a:gd name="connsiteY3" fmla="*/ 1193970 h 3498714"/>
                    <a:gd name="connsiteX4" fmla="*/ 2070059 w 2170227"/>
                    <a:gd name="connsiteY4" fmla="*/ 1334152 h 3498714"/>
                    <a:gd name="connsiteX5" fmla="*/ 1929878 w 2170227"/>
                    <a:gd name="connsiteY5" fmla="*/ 1474333 h 3498714"/>
                    <a:gd name="connsiteX6" fmla="*/ 1520943 w 2170227"/>
                    <a:gd name="connsiteY6" fmla="*/ 1470388 h 3498714"/>
                    <a:gd name="connsiteX7" fmla="*/ 1332825 w 2170227"/>
                    <a:gd name="connsiteY7" fmla="*/ 1367201 h 3498714"/>
                    <a:gd name="connsiteX8" fmla="*/ 1106501 w 2170227"/>
                    <a:gd name="connsiteY8" fmla="*/ 1098289 h 3498714"/>
                    <a:gd name="connsiteX9" fmla="*/ 1101049 w 2170227"/>
                    <a:gd name="connsiteY9" fmla="*/ 1092836 h 3498714"/>
                    <a:gd name="connsiteX10" fmla="*/ 1046523 w 2170227"/>
                    <a:gd name="connsiteY10" fmla="*/ 1092836 h 3498714"/>
                    <a:gd name="connsiteX11" fmla="*/ 1041071 w 2170227"/>
                    <a:gd name="connsiteY11" fmla="*/ 1098289 h 3498714"/>
                    <a:gd name="connsiteX12" fmla="*/ 1042136 w 2170227"/>
                    <a:gd name="connsiteY12" fmla="*/ 1419754 h 3498714"/>
                    <a:gd name="connsiteX13" fmla="*/ 1042136 w 2170227"/>
                    <a:gd name="connsiteY13" fmla="*/ 3337652 h 3498714"/>
                    <a:gd name="connsiteX14" fmla="*/ 881075 w 2170227"/>
                    <a:gd name="connsiteY14" fmla="*/ 3498714 h 3498714"/>
                    <a:gd name="connsiteX15" fmla="*/ 720012 w 2170227"/>
                    <a:gd name="connsiteY15" fmla="*/ 3337652 h 3498714"/>
                    <a:gd name="connsiteX16" fmla="*/ 720012 w 2170227"/>
                    <a:gd name="connsiteY16" fmla="*/ 2125717 h 3498714"/>
                    <a:gd name="connsiteX17" fmla="*/ 718947 w 2170227"/>
                    <a:gd name="connsiteY17" fmla="*/ 2033194 h 3498714"/>
                    <a:gd name="connsiteX18" fmla="*/ 714162 w 2170227"/>
                    <a:gd name="connsiteY18" fmla="*/ 2028410 h 3498714"/>
                    <a:gd name="connsiteX19" fmla="*/ 654759 w 2170227"/>
                    <a:gd name="connsiteY19" fmla="*/ 2028410 h 3498714"/>
                    <a:gd name="connsiteX20" fmla="*/ 649974 w 2170227"/>
                    <a:gd name="connsiteY20" fmla="*/ 2033194 h 3498714"/>
                    <a:gd name="connsiteX21" fmla="*/ 649974 w 2170227"/>
                    <a:gd name="connsiteY21" fmla="*/ 2125717 h 3498714"/>
                    <a:gd name="connsiteX22" fmla="*/ 649574 w 2170227"/>
                    <a:gd name="connsiteY22" fmla="*/ 3337652 h 3498714"/>
                    <a:gd name="connsiteX23" fmla="*/ 488511 w 2170227"/>
                    <a:gd name="connsiteY23" fmla="*/ 3498714 h 3498714"/>
                    <a:gd name="connsiteX24" fmla="*/ 327450 w 2170227"/>
                    <a:gd name="connsiteY24" fmla="*/ 3337652 h 3498714"/>
                    <a:gd name="connsiteX25" fmla="*/ 327450 w 2170227"/>
                    <a:gd name="connsiteY25" fmla="*/ 1458216 h 3498714"/>
                    <a:gd name="connsiteX26" fmla="*/ 322427 w 2170227"/>
                    <a:gd name="connsiteY26" fmla="*/ 1098205 h 3498714"/>
                    <a:gd name="connsiteX27" fmla="*/ 317058 w 2170227"/>
                    <a:gd name="connsiteY27" fmla="*/ 1092836 h 3498714"/>
                    <a:gd name="connsiteX28" fmla="*/ 263371 w 2170227"/>
                    <a:gd name="connsiteY28" fmla="*/ 1092836 h 3498714"/>
                    <a:gd name="connsiteX29" fmla="*/ 258001 w 2170227"/>
                    <a:gd name="connsiteY29" fmla="*/ 1098205 h 3498714"/>
                    <a:gd name="connsiteX30" fmla="*/ 258001 w 2170227"/>
                    <a:gd name="connsiteY30" fmla="*/ 1444446 h 3498714"/>
                    <a:gd name="connsiteX31" fmla="*/ 257700 w 2170227"/>
                    <a:gd name="connsiteY31" fmla="*/ 1444370 h 3498714"/>
                    <a:gd name="connsiteX32" fmla="*/ 257700 w 2170227"/>
                    <a:gd name="connsiteY32" fmla="*/ 1912573 h 3498714"/>
                    <a:gd name="connsiteX33" fmla="*/ 128850 w 2170227"/>
                    <a:gd name="connsiteY33" fmla="*/ 2041423 h 3498714"/>
                    <a:gd name="connsiteX34" fmla="*/ 0 w 2170227"/>
                    <a:gd name="connsiteY34" fmla="*/ 1912573 h 3498714"/>
                    <a:gd name="connsiteX35" fmla="*/ 0 w 2170227"/>
                    <a:gd name="connsiteY35" fmla="*/ 1101802 h 3498714"/>
                    <a:gd name="connsiteX36" fmla="*/ 0 w 2170227"/>
                    <a:gd name="connsiteY36" fmla="*/ 1003338 h 3498714"/>
                    <a:gd name="connsiteX37" fmla="*/ 0 w 2170227"/>
                    <a:gd name="connsiteY37" fmla="*/ 982486 h 3498714"/>
                    <a:gd name="connsiteX38" fmla="*/ 12733 w 2170227"/>
                    <a:gd name="connsiteY38" fmla="*/ 894663 h 3498714"/>
                    <a:gd name="connsiteX39" fmla="*/ 20539 w 2170227"/>
                    <a:gd name="connsiteY39" fmla="*/ 868773 h 3498714"/>
                    <a:gd name="connsiteX40" fmla="*/ 358791 w 2170227"/>
                    <a:gd name="connsiteY40" fmla="*/ 644545 h 3498714"/>
                    <a:gd name="connsiteX41" fmla="*/ 682782 w 2170227"/>
                    <a:gd name="connsiteY41" fmla="*/ 0 h 3498714"/>
                    <a:gd name="connsiteX42" fmla="*/ 966919 w 2170227"/>
                    <a:gd name="connsiteY42" fmla="*/ 284138 h 3498714"/>
                    <a:gd name="connsiteX43" fmla="*/ 682782 w 2170227"/>
                    <a:gd name="connsiteY43" fmla="*/ 568275 h 3498714"/>
                    <a:gd name="connsiteX44" fmla="*/ 398645 w 2170227"/>
                    <a:gd name="connsiteY44" fmla="*/ 284138 h 3498714"/>
                    <a:gd name="connsiteX45" fmla="*/ 682782 w 2170227"/>
                    <a:gd name="connsiteY45" fmla="*/ 0 h 3498714"/>
                    <a:gd name="connsiteX46" fmla="*/ 2170227 w 2170227"/>
                    <a:gd name="connsiteY46" fmla="*/ 3124562 h 3498714"/>
                    <a:gd name="connsiteX47" fmla="*/ 2052754 w 2170227"/>
                    <a:gd name="connsiteY47" fmla="*/ 3124562 h 3498714"/>
                    <a:gd name="connsiteX48" fmla="*/ 1941629 w 2170227"/>
                    <a:gd name="connsiteY48" fmla="*/ 3013437 h 3498714"/>
                    <a:gd name="connsiteX49" fmla="*/ 2052754 w 2170227"/>
                    <a:gd name="connsiteY49" fmla="*/ 2902312 h 3498714"/>
                    <a:gd name="connsiteX50" fmla="*/ 682782 w 2170227"/>
                    <a:gd name="connsiteY50" fmla="*/ 0 h 3498714"/>
                    <a:gd name="connsiteX0" fmla="*/ 358791 w 2170227"/>
                    <a:gd name="connsiteY0" fmla="*/ 644545 h 3498714"/>
                    <a:gd name="connsiteX1" fmla="*/ 1006774 w 2170227"/>
                    <a:gd name="connsiteY1" fmla="*/ 644545 h 3498714"/>
                    <a:gd name="connsiteX2" fmla="*/ 1542636 w 2170227"/>
                    <a:gd name="connsiteY2" fmla="*/ 1193969 h 3498714"/>
                    <a:gd name="connsiteX3" fmla="*/ 1929878 w 2170227"/>
                    <a:gd name="connsiteY3" fmla="*/ 1193970 h 3498714"/>
                    <a:gd name="connsiteX4" fmla="*/ 2070059 w 2170227"/>
                    <a:gd name="connsiteY4" fmla="*/ 1334152 h 3498714"/>
                    <a:gd name="connsiteX5" fmla="*/ 1929878 w 2170227"/>
                    <a:gd name="connsiteY5" fmla="*/ 1474333 h 3498714"/>
                    <a:gd name="connsiteX6" fmla="*/ 1520943 w 2170227"/>
                    <a:gd name="connsiteY6" fmla="*/ 1470388 h 3498714"/>
                    <a:gd name="connsiteX7" fmla="*/ 1332825 w 2170227"/>
                    <a:gd name="connsiteY7" fmla="*/ 1367201 h 3498714"/>
                    <a:gd name="connsiteX8" fmla="*/ 1106501 w 2170227"/>
                    <a:gd name="connsiteY8" fmla="*/ 1098289 h 3498714"/>
                    <a:gd name="connsiteX9" fmla="*/ 1101049 w 2170227"/>
                    <a:gd name="connsiteY9" fmla="*/ 1092836 h 3498714"/>
                    <a:gd name="connsiteX10" fmla="*/ 1046523 w 2170227"/>
                    <a:gd name="connsiteY10" fmla="*/ 1092836 h 3498714"/>
                    <a:gd name="connsiteX11" fmla="*/ 1041071 w 2170227"/>
                    <a:gd name="connsiteY11" fmla="*/ 1098289 h 3498714"/>
                    <a:gd name="connsiteX12" fmla="*/ 1042136 w 2170227"/>
                    <a:gd name="connsiteY12" fmla="*/ 1419754 h 3498714"/>
                    <a:gd name="connsiteX13" fmla="*/ 1042136 w 2170227"/>
                    <a:gd name="connsiteY13" fmla="*/ 3337652 h 3498714"/>
                    <a:gd name="connsiteX14" fmla="*/ 881075 w 2170227"/>
                    <a:gd name="connsiteY14" fmla="*/ 3498714 h 3498714"/>
                    <a:gd name="connsiteX15" fmla="*/ 720012 w 2170227"/>
                    <a:gd name="connsiteY15" fmla="*/ 3337652 h 3498714"/>
                    <a:gd name="connsiteX16" fmla="*/ 720012 w 2170227"/>
                    <a:gd name="connsiteY16" fmla="*/ 2125717 h 3498714"/>
                    <a:gd name="connsiteX17" fmla="*/ 718947 w 2170227"/>
                    <a:gd name="connsiteY17" fmla="*/ 2033194 h 3498714"/>
                    <a:gd name="connsiteX18" fmla="*/ 714162 w 2170227"/>
                    <a:gd name="connsiteY18" fmla="*/ 2028410 h 3498714"/>
                    <a:gd name="connsiteX19" fmla="*/ 654759 w 2170227"/>
                    <a:gd name="connsiteY19" fmla="*/ 2028410 h 3498714"/>
                    <a:gd name="connsiteX20" fmla="*/ 649974 w 2170227"/>
                    <a:gd name="connsiteY20" fmla="*/ 2033194 h 3498714"/>
                    <a:gd name="connsiteX21" fmla="*/ 649974 w 2170227"/>
                    <a:gd name="connsiteY21" fmla="*/ 2125717 h 3498714"/>
                    <a:gd name="connsiteX22" fmla="*/ 649574 w 2170227"/>
                    <a:gd name="connsiteY22" fmla="*/ 3337652 h 3498714"/>
                    <a:gd name="connsiteX23" fmla="*/ 488511 w 2170227"/>
                    <a:gd name="connsiteY23" fmla="*/ 3498714 h 3498714"/>
                    <a:gd name="connsiteX24" fmla="*/ 327450 w 2170227"/>
                    <a:gd name="connsiteY24" fmla="*/ 3337652 h 3498714"/>
                    <a:gd name="connsiteX25" fmla="*/ 327450 w 2170227"/>
                    <a:gd name="connsiteY25" fmla="*/ 1458216 h 3498714"/>
                    <a:gd name="connsiteX26" fmla="*/ 322427 w 2170227"/>
                    <a:gd name="connsiteY26" fmla="*/ 1098205 h 3498714"/>
                    <a:gd name="connsiteX27" fmla="*/ 317058 w 2170227"/>
                    <a:gd name="connsiteY27" fmla="*/ 1092836 h 3498714"/>
                    <a:gd name="connsiteX28" fmla="*/ 263371 w 2170227"/>
                    <a:gd name="connsiteY28" fmla="*/ 1092836 h 3498714"/>
                    <a:gd name="connsiteX29" fmla="*/ 258001 w 2170227"/>
                    <a:gd name="connsiteY29" fmla="*/ 1098205 h 3498714"/>
                    <a:gd name="connsiteX30" fmla="*/ 258001 w 2170227"/>
                    <a:gd name="connsiteY30" fmla="*/ 1444446 h 3498714"/>
                    <a:gd name="connsiteX31" fmla="*/ 257700 w 2170227"/>
                    <a:gd name="connsiteY31" fmla="*/ 1444370 h 3498714"/>
                    <a:gd name="connsiteX32" fmla="*/ 257700 w 2170227"/>
                    <a:gd name="connsiteY32" fmla="*/ 1912573 h 3498714"/>
                    <a:gd name="connsiteX33" fmla="*/ 128850 w 2170227"/>
                    <a:gd name="connsiteY33" fmla="*/ 2041423 h 3498714"/>
                    <a:gd name="connsiteX34" fmla="*/ 0 w 2170227"/>
                    <a:gd name="connsiteY34" fmla="*/ 1912573 h 3498714"/>
                    <a:gd name="connsiteX35" fmla="*/ 0 w 2170227"/>
                    <a:gd name="connsiteY35" fmla="*/ 1101802 h 3498714"/>
                    <a:gd name="connsiteX36" fmla="*/ 0 w 2170227"/>
                    <a:gd name="connsiteY36" fmla="*/ 1003338 h 3498714"/>
                    <a:gd name="connsiteX37" fmla="*/ 0 w 2170227"/>
                    <a:gd name="connsiteY37" fmla="*/ 982486 h 3498714"/>
                    <a:gd name="connsiteX38" fmla="*/ 12733 w 2170227"/>
                    <a:gd name="connsiteY38" fmla="*/ 894663 h 3498714"/>
                    <a:gd name="connsiteX39" fmla="*/ 20539 w 2170227"/>
                    <a:gd name="connsiteY39" fmla="*/ 868773 h 3498714"/>
                    <a:gd name="connsiteX40" fmla="*/ 358791 w 2170227"/>
                    <a:gd name="connsiteY40" fmla="*/ 644545 h 3498714"/>
                    <a:gd name="connsiteX41" fmla="*/ 682782 w 2170227"/>
                    <a:gd name="connsiteY41" fmla="*/ 0 h 3498714"/>
                    <a:gd name="connsiteX42" fmla="*/ 966919 w 2170227"/>
                    <a:gd name="connsiteY42" fmla="*/ 284138 h 3498714"/>
                    <a:gd name="connsiteX43" fmla="*/ 682782 w 2170227"/>
                    <a:gd name="connsiteY43" fmla="*/ 568275 h 3498714"/>
                    <a:gd name="connsiteX44" fmla="*/ 398645 w 2170227"/>
                    <a:gd name="connsiteY44" fmla="*/ 284138 h 3498714"/>
                    <a:gd name="connsiteX45" fmla="*/ 682782 w 2170227"/>
                    <a:gd name="connsiteY45" fmla="*/ 0 h 3498714"/>
                    <a:gd name="connsiteX46" fmla="*/ 2170227 w 2170227"/>
                    <a:gd name="connsiteY46" fmla="*/ 3124562 h 3498714"/>
                    <a:gd name="connsiteX47" fmla="*/ 1941629 w 2170227"/>
                    <a:gd name="connsiteY47" fmla="*/ 3013437 h 3498714"/>
                    <a:gd name="connsiteX48" fmla="*/ 2052754 w 2170227"/>
                    <a:gd name="connsiteY48" fmla="*/ 2902312 h 3498714"/>
                    <a:gd name="connsiteX49" fmla="*/ 682782 w 2170227"/>
                    <a:gd name="connsiteY49" fmla="*/ 0 h 3498714"/>
                    <a:gd name="connsiteX0" fmla="*/ 358791 w 2170227"/>
                    <a:gd name="connsiteY0" fmla="*/ 644545 h 3498714"/>
                    <a:gd name="connsiteX1" fmla="*/ 1006774 w 2170227"/>
                    <a:gd name="connsiteY1" fmla="*/ 644545 h 3498714"/>
                    <a:gd name="connsiteX2" fmla="*/ 1542636 w 2170227"/>
                    <a:gd name="connsiteY2" fmla="*/ 1193969 h 3498714"/>
                    <a:gd name="connsiteX3" fmla="*/ 1929878 w 2170227"/>
                    <a:gd name="connsiteY3" fmla="*/ 1193970 h 3498714"/>
                    <a:gd name="connsiteX4" fmla="*/ 2070059 w 2170227"/>
                    <a:gd name="connsiteY4" fmla="*/ 1334152 h 3498714"/>
                    <a:gd name="connsiteX5" fmla="*/ 1929878 w 2170227"/>
                    <a:gd name="connsiteY5" fmla="*/ 1474333 h 3498714"/>
                    <a:gd name="connsiteX6" fmla="*/ 1520943 w 2170227"/>
                    <a:gd name="connsiteY6" fmla="*/ 1470388 h 3498714"/>
                    <a:gd name="connsiteX7" fmla="*/ 1332825 w 2170227"/>
                    <a:gd name="connsiteY7" fmla="*/ 1367201 h 3498714"/>
                    <a:gd name="connsiteX8" fmla="*/ 1106501 w 2170227"/>
                    <a:gd name="connsiteY8" fmla="*/ 1098289 h 3498714"/>
                    <a:gd name="connsiteX9" fmla="*/ 1101049 w 2170227"/>
                    <a:gd name="connsiteY9" fmla="*/ 1092836 h 3498714"/>
                    <a:gd name="connsiteX10" fmla="*/ 1046523 w 2170227"/>
                    <a:gd name="connsiteY10" fmla="*/ 1092836 h 3498714"/>
                    <a:gd name="connsiteX11" fmla="*/ 1041071 w 2170227"/>
                    <a:gd name="connsiteY11" fmla="*/ 1098289 h 3498714"/>
                    <a:gd name="connsiteX12" fmla="*/ 1042136 w 2170227"/>
                    <a:gd name="connsiteY12" fmla="*/ 1419754 h 3498714"/>
                    <a:gd name="connsiteX13" fmla="*/ 1042136 w 2170227"/>
                    <a:gd name="connsiteY13" fmla="*/ 3337652 h 3498714"/>
                    <a:gd name="connsiteX14" fmla="*/ 881075 w 2170227"/>
                    <a:gd name="connsiteY14" fmla="*/ 3498714 h 3498714"/>
                    <a:gd name="connsiteX15" fmla="*/ 720012 w 2170227"/>
                    <a:gd name="connsiteY15" fmla="*/ 3337652 h 3498714"/>
                    <a:gd name="connsiteX16" fmla="*/ 720012 w 2170227"/>
                    <a:gd name="connsiteY16" fmla="*/ 2125717 h 3498714"/>
                    <a:gd name="connsiteX17" fmla="*/ 718947 w 2170227"/>
                    <a:gd name="connsiteY17" fmla="*/ 2033194 h 3498714"/>
                    <a:gd name="connsiteX18" fmla="*/ 714162 w 2170227"/>
                    <a:gd name="connsiteY18" fmla="*/ 2028410 h 3498714"/>
                    <a:gd name="connsiteX19" fmla="*/ 654759 w 2170227"/>
                    <a:gd name="connsiteY19" fmla="*/ 2028410 h 3498714"/>
                    <a:gd name="connsiteX20" fmla="*/ 649974 w 2170227"/>
                    <a:gd name="connsiteY20" fmla="*/ 2033194 h 3498714"/>
                    <a:gd name="connsiteX21" fmla="*/ 649974 w 2170227"/>
                    <a:gd name="connsiteY21" fmla="*/ 2125717 h 3498714"/>
                    <a:gd name="connsiteX22" fmla="*/ 649574 w 2170227"/>
                    <a:gd name="connsiteY22" fmla="*/ 3337652 h 3498714"/>
                    <a:gd name="connsiteX23" fmla="*/ 488511 w 2170227"/>
                    <a:gd name="connsiteY23" fmla="*/ 3498714 h 3498714"/>
                    <a:gd name="connsiteX24" fmla="*/ 327450 w 2170227"/>
                    <a:gd name="connsiteY24" fmla="*/ 3337652 h 3498714"/>
                    <a:gd name="connsiteX25" fmla="*/ 327450 w 2170227"/>
                    <a:gd name="connsiteY25" fmla="*/ 1458216 h 3498714"/>
                    <a:gd name="connsiteX26" fmla="*/ 322427 w 2170227"/>
                    <a:gd name="connsiteY26" fmla="*/ 1098205 h 3498714"/>
                    <a:gd name="connsiteX27" fmla="*/ 317058 w 2170227"/>
                    <a:gd name="connsiteY27" fmla="*/ 1092836 h 3498714"/>
                    <a:gd name="connsiteX28" fmla="*/ 263371 w 2170227"/>
                    <a:gd name="connsiteY28" fmla="*/ 1092836 h 3498714"/>
                    <a:gd name="connsiteX29" fmla="*/ 258001 w 2170227"/>
                    <a:gd name="connsiteY29" fmla="*/ 1098205 h 3498714"/>
                    <a:gd name="connsiteX30" fmla="*/ 258001 w 2170227"/>
                    <a:gd name="connsiteY30" fmla="*/ 1444446 h 3498714"/>
                    <a:gd name="connsiteX31" fmla="*/ 257700 w 2170227"/>
                    <a:gd name="connsiteY31" fmla="*/ 1444370 h 3498714"/>
                    <a:gd name="connsiteX32" fmla="*/ 257700 w 2170227"/>
                    <a:gd name="connsiteY32" fmla="*/ 1912573 h 3498714"/>
                    <a:gd name="connsiteX33" fmla="*/ 128850 w 2170227"/>
                    <a:gd name="connsiteY33" fmla="*/ 2041423 h 3498714"/>
                    <a:gd name="connsiteX34" fmla="*/ 0 w 2170227"/>
                    <a:gd name="connsiteY34" fmla="*/ 1912573 h 3498714"/>
                    <a:gd name="connsiteX35" fmla="*/ 0 w 2170227"/>
                    <a:gd name="connsiteY35" fmla="*/ 1101802 h 3498714"/>
                    <a:gd name="connsiteX36" fmla="*/ 0 w 2170227"/>
                    <a:gd name="connsiteY36" fmla="*/ 1003338 h 3498714"/>
                    <a:gd name="connsiteX37" fmla="*/ 0 w 2170227"/>
                    <a:gd name="connsiteY37" fmla="*/ 982486 h 3498714"/>
                    <a:gd name="connsiteX38" fmla="*/ 12733 w 2170227"/>
                    <a:gd name="connsiteY38" fmla="*/ 894663 h 3498714"/>
                    <a:gd name="connsiteX39" fmla="*/ 20539 w 2170227"/>
                    <a:gd name="connsiteY39" fmla="*/ 868773 h 3498714"/>
                    <a:gd name="connsiteX40" fmla="*/ 358791 w 2170227"/>
                    <a:gd name="connsiteY40" fmla="*/ 644545 h 3498714"/>
                    <a:gd name="connsiteX41" fmla="*/ 682782 w 2170227"/>
                    <a:gd name="connsiteY41" fmla="*/ 0 h 3498714"/>
                    <a:gd name="connsiteX42" fmla="*/ 966919 w 2170227"/>
                    <a:gd name="connsiteY42" fmla="*/ 284138 h 3498714"/>
                    <a:gd name="connsiteX43" fmla="*/ 682782 w 2170227"/>
                    <a:gd name="connsiteY43" fmla="*/ 568275 h 3498714"/>
                    <a:gd name="connsiteX44" fmla="*/ 398645 w 2170227"/>
                    <a:gd name="connsiteY44" fmla="*/ 284138 h 3498714"/>
                    <a:gd name="connsiteX45" fmla="*/ 682782 w 2170227"/>
                    <a:gd name="connsiteY45" fmla="*/ 0 h 3498714"/>
                    <a:gd name="connsiteX46" fmla="*/ 2170227 w 2170227"/>
                    <a:gd name="connsiteY46" fmla="*/ 3124562 h 3498714"/>
                    <a:gd name="connsiteX47" fmla="*/ 2052754 w 2170227"/>
                    <a:gd name="connsiteY47" fmla="*/ 2902312 h 3498714"/>
                    <a:gd name="connsiteX48" fmla="*/ 682782 w 2170227"/>
                    <a:gd name="connsiteY48" fmla="*/ 0 h 3498714"/>
                    <a:gd name="connsiteX0" fmla="*/ 358791 w 2170227"/>
                    <a:gd name="connsiteY0" fmla="*/ 644545 h 3498714"/>
                    <a:gd name="connsiteX1" fmla="*/ 1006774 w 2170227"/>
                    <a:gd name="connsiteY1" fmla="*/ 644545 h 3498714"/>
                    <a:gd name="connsiteX2" fmla="*/ 1542636 w 2170227"/>
                    <a:gd name="connsiteY2" fmla="*/ 1193969 h 3498714"/>
                    <a:gd name="connsiteX3" fmla="*/ 1929878 w 2170227"/>
                    <a:gd name="connsiteY3" fmla="*/ 1193970 h 3498714"/>
                    <a:gd name="connsiteX4" fmla="*/ 2070059 w 2170227"/>
                    <a:gd name="connsiteY4" fmla="*/ 1334152 h 3498714"/>
                    <a:gd name="connsiteX5" fmla="*/ 1929878 w 2170227"/>
                    <a:gd name="connsiteY5" fmla="*/ 1474333 h 3498714"/>
                    <a:gd name="connsiteX6" fmla="*/ 1520943 w 2170227"/>
                    <a:gd name="connsiteY6" fmla="*/ 1470388 h 3498714"/>
                    <a:gd name="connsiteX7" fmla="*/ 1332825 w 2170227"/>
                    <a:gd name="connsiteY7" fmla="*/ 1367201 h 3498714"/>
                    <a:gd name="connsiteX8" fmla="*/ 1106501 w 2170227"/>
                    <a:gd name="connsiteY8" fmla="*/ 1098289 h 3498714"/>
                    <a:gd name="connsiteX9" fmla="*/ 1101049 w 2170227"/>
                    <a:gd name="connsiteY9" fmla="*/ 1092836 h 3498714"/>
                    <a:gd name="connsiteX10" fmla="*/ 1046523 w 2170227"/>
                    <a:gd name="connsiteY10" fmla="*/ 1092836 h 3498714"/>
                    <a:gd name="connsiteX11" fmla="*/ 1041071 w 2170227"/>
                    <a:gd name="connsiteY11" fmla="*/ 1098289 h 3498714"/>
                    <a:gd name="connsiteX12" fmla="*/ 1042136 w 2170227"/>
                    <a:gd name="connsiteY12" fmla="*/ 1419754 h 3498714"/>
                    <a:gd name="connsiteX13" fmla="*/ 1042136 w 2170227"/>
                    <a:gd name="connsiteY13" fmla="*/ 3337652 h 3498714"/>
                    <a:gd name="connsiteX14" fmla="*/ 881075 w 2170227"/>
                    <a:gd name="connsiteY14" fmla="*/ 3498714 h 3498714"/>
                    <a:gd name="connsiteX15" fmla="*/ 720012 w 2170227"/>
                    <a:gd name="connsiteY15" fmla="*/ 3337652 h 3498714"/>
                    <a:gd name="connsiteX16" fmla="*/ 720012 w 2170227"/>
                    <a:gd name="connsiteY16" fmla="*/ 2125717 h 3498714"/>
                    <a:gd name="connsiteX17" fmla="*/ 718947 w 2170227"/>
                    <a:gd name="connsiteY17" fmla="*/ 2033194 h 3498714"/>
                    <a:gd name="connsiteX18" fmla="*/ 714162 w 2170227"/>
                    <a:gd name="connsiteY18" fmla="*/ 2028410 h 3498714"/>
                    <a:gd name="connsiteX19" fmla="*/ 654759 w 2170227"/>
                    <a:gd name="connsiteY19" fmla="*/ 2028410 h 3498714"/>
                    <a:gd name="connsiteX20" fmla="*/ 649974 w 2170227"/>
                    <a:gd name="connsiteY20" fmla="*/ 2033194 h 3498714"/>
                    <a:gd name="connsiteX21" fmla="*/ 649974 w 2170227"/>
                    <a:gd name="connsiteY21" fmla="*/ 2125717 h 3498714"/>
                    <a:gd name="connsiteX22" fmla="*/ 649574 w 2170227"/>
                    <a:gd name="connsiteY22" fmla="*/ 3337652 h 3498714"/>
                    <a:gd name="connsiteX23" fmla="*/ 488511 w 2170227"/>
                    <a:gd name="connsiteY23" fmla="*/ 3498714 h 3498714"/>
                    <a:gd name="connsiteX24" fmla="*/ 327450 w 2170227"/>
                    <a:gd name="connsiteY24" fmla="*/ 3337652 h 3498714"/>
                    <a:gd name="connsiteX25" fmla="*/ 327450 w 2170227"/>
                    <a:gd name="connsiteY25" fmla="*/ 1458216 h 3498714"/>
                    <a:gd name="connsiteX26" fmla="*/ 322427 w 2170227"/>
                    <a:gd name="connsiteY26" fmla="*/ 1098205 h 3498714"/>
                    <a:gd name="connsiteX27" fmla="*/ 317058 w 2170227"/>
                    <a:gd name="connsiteY27" fmla="*/ 1092836 h 3498714"/>
                    <a:gd name="connsiteX28" fmla="*/ 263371 w 2170227"/>
                    <a:gd name="connsiteY28" fmla="*/ 1092836 h 3498714"/>
                    <a:gd name="connsiteX29" fmla="*/ 258001 w 2170227"/>
                    <a:gd name="connsiteY29" fmla="*/ 1098205 h 3498714"/>
                    <a:gd name="connsiteX30" fmla="*/ 258001 w 2170227"/>
                    <a:gd name="connsiteY30" fmla="*/ 1444446 h 3498714"/>
                    <a:gd name="connsiteX31" fmla="*/ 257700 w 2170227"/>
                    <a:gd name="connsiteY31" fmla="*/ 1444370 h 3498714"/>
                    <a:gd name="connsiteX32" fmla="*/ 257700 w 2170227"/>
                    <a:gd name="connsiteY32" fmla="*/ 1912573 h 3498714"/>
                    <a:gd name="connsiteX33" fmla="*/ 128850 w 2170227"/>
                    <a:gd name="connsiteY33" fmla="*/ 2041423 h 3498714"/>
                    <a:gd name="connsiteX34" fmla="*/ 0 w 2170227"/>
                    <a:gd name="connsiteY34" fmla="*/ 1912573 h 3498714"/>
                    <a:gd name="connsiteX35" fmla="*/ 0 w 2170227"/>
                    <a:gd name="connsiteY35" fmla="*/ 1101802 h 3498714"/>
                    <a:gd name="connsiteX36" fmla="*/ 0 w 2170227"/>
                    <a:gd name="connsiteY36" fmla="*/ 1003338 h 3498714"/>
                    <a:gd name="connsiteX37" fmla="*/ 0 w 2170227"/>
                    <a:gd name="connsiteY37" fmla="*/ 982486 h 3498714"/>
                    <a:gd name="connsiteX38" fmla="*/ 12733 w 2170227"/>
                    <a:gd name="connsiteY38" fmla="*/ 894663 h 3498714"/>
                    <a:gd name="connsiteX39" fmla="*/ 20539 w 2170227"/>
                    <a:gd name="connsiteY39" fmla="*/ 868773 h 3498714"/>
                    <a:gd name="connsiteX40" fmla="*/ 358791 w 2170227"/>
                    <a:gd name="connsiteY40" fmla="*/ 644545 h 3498714"/>
                    <a:gd name="connsiteX41" fmla="*/ 682782 w 2170227"/>
                    <a:gd name="connsiteY41" fmla="*/ 0 h 3498714"/>
                    <a:gd name="connsiteX42" fmla="*/ 966919 w 2170227"/>
                    <a:gd name="connsiteY42" fmla="*/ 284138 h 3498714"/>
                    <a:gd name="connsiteX43" fmla="*/ 682782 w 2170227"/>
                    <a:gd name="connsiteY43" fmla="*/ 568275 h 3498714"/>
                    <a:gd name="connsiteX44" fmla="*/ 398645 w 2170227"/>
                    <a:gd name="connsiteY44" fmla="*/ 284138 h 3498714"/>
                    <a:gd name="connsiteX45" fmla="*/ 682782 w 2170227"/>
                    <a:gd name="connsiteY45" fmla="*/ 0 h 3498714"/>
                    <a:gd name="connsiteX46" fmla="*/ 2170227 w 2170227"/>
                    <a:gd name="connsiteY46" fmla="*/ 3124562 h 3498714"/>
                    <a:gd name="connsiteX47" fmla="*/ 682782 w 2170227"/>
                    <a:gd name="connsiteY47" fmla="*/ 0 h 3498714"/>
                    <a:gd name="connsiteX0" fmla="*/ 358791 w 2070059"/>
                    <a:gd name="connsiteY0" fmla="*/ 644545 h 3498714"/>
                    <a:gd name="connsiteX1" fmla="*/ 1006774 w 2070059"/>
                    <a:gd name="connsiteY1" fmla="*/ 644545 h 3498714"/>
                    <a:gd name="connsiteX2" fmla="*/ 1542636 w 2070059"/>
                    <a:gd name="connsiteY2" fmla="*/ 1193969 h 3498714"/>
                    <a:gd name="connsiteX3" fmla="*/ 1929878 w 2070059"/>
                    <a:gd name="connsiteY3" fmla="*/ 1193970 h 3498714"/>
                    <a:gd name="connsiteX4" fmla="*/ 2070059 w 2070059"/>
                    <a:gd name="connsiteY4" fmla="*/ 1334152 h 3498714"/>
                    <a:gd name="connsiteX5" fmla="*/ 1929878 w 2070059"/>
                    <a:gd name="connsiteY5" fmla="*/ 1474333 h 3498714"/>
                    <a:gd name="connsiteX6" fmla="*/ 1520943 w 2070059"/>
                    <a:gd name="connsiteY6" fmla="*/ 1470388 h 3498714"/>
                    <a:gd name="connsiteX7" fmla="*/ 1332825 w 2070059"/>
                    <a:gd name="connsiteY7" fmla="*/ 1367201 h 3498714"/>
                    <a:gd name="connsiteX8" fmla="*/ 1106501 w 2070059"/>
                    <a:gd name="connsiteY8" fmla="*/ 1098289 h 3498714"/>
                    <a:gd name="connsiteX9" fmla="*/ 1101049 w 2070059"/>
                    <a:gd name="connsiteY9" fmla="*/ 1092836 h 3498714"/>
                    <a:gd name="connsiteX10" fmla="*/ 1046523 w 2070059"/>
                    <a:gd name="connsiteY10" fmla="*/ 1092836 h 3498714"/>
                    <a:gd name="connsiteX11" fmla="*/ 1041071 w 2070059"/>
                    <a:gd name="connsiteY11" fmla="*/ 1098289 h 3498714"/>
                    <a:gd name="connsiteX12" fmla="*/ 1042136 w 2070059"/>
                    <a:gd name="connsiteY12" fmla="*/ 1419754 h 3498714"/>
                    <a:gd name="connsiteX13" fmla="*/ 1042136 w 2070059"/>
                    <a:gd name="connsiteY13" fmla="*/ 3337652 h 3498714"/>
                    <a:gd name="connsiteX14" fmla="*/ 881075 w 2070059"/>
                    <a:gd name="connsiteY14" fmla="*/ 3498714 h 3498714"/>
                    <a:gd name="connsiteX15" fmla="*/ 720012 w 2070059"/>
                    <a:gd name="connsiteY15" fmla="*/ 3337652 h 3498714"/>
                    <a:gd name="connsiteX16" fmla="*/ 720012 w 2070059"/>
                    <a:gd name="connsiteY16" fmla="*/ 2125717 h 3498714"/>
                    <a:gd name="connsiteX17" fmla="*/ 718947 w 2070059"/>
                    <a:gd name="connsiteY17" fmla="*/ 2033194 h 3498714"/>
                    <a:gd name="connsiteX18" fmla="*/ 714162 w 2070059"/>
                    <a:gd name="connsiteY18" fmla="*/ 2028410 h 3498714"/>
                    <a:gd name="connsiteX19" fmla="*/ 654759 w 2070059"/>
                    <a:gd name="connsiteY19" fmla="*/ 2028410 h 3498714"/>
                    <a:gd name="connsiteX20" fmla="*/ 649974 w 2070059"/>
                    <a:gd name="connsiteY20" fmla="*/ 2033194 h 3498714"/>
                    <a:gd name="connsiteX21" fmla="*/ 649974 w 2070059"/>
                    <a:gd name="connsiteY21" fmla="*/ 2125717 h 3498714"/>
                    <a:gd name="connsiteX22" fmla="*/ 649574 w 2070059"/>
                    <a:gd name="connsiteY22" fmla="*/ 3337652 h 3498714"/>
                    <a:gd name="connsiteX23" fmla="*/ 488511 w 2070059"/>
                    <a:gd name="connsiteY23" fmla="*/ 3498714 h 3498714"/>
                    <a:gd name="connsiteX24" fmla="*/ 327450 w 2070059"/>
                    <a:gd name="connsiteY24" fmla="*/ 3337652 h 3498714"/>
                    <a:gd name="connsiteX25" fmla="*/ 327450 w 2070059"/>
                    <a:gd name="connsiteY25" fmla="*/ 1458216 h 3498714"/>
                    <a:gd name="connsiteX26" fmla="*/ 322427 w 2070059"/>
                    <a:gd name="connsiteY26" fmla="*/ 1098205 h 3498714"/>
                    <a:gd name="connsiteX27" fmla="*/ 317058 w 2070059"/>
                    <a:gd name="connsiteY27" fmla="*/ 1092836 h 3498714"/>
                    <a:gd name="connsiteX28" fmla="*/ 263371 w 2070059"/>
                    <a:gd name="connsiteY28" fmla="*/ 1092836 h 3498714"/>
                    <a:gd name="connsiteX29" fmla="*/ 258001 w 2070059"/>
                    <a:gd name="connsiteY29" fmla="*/ 1098205 h 3498714"/>
                    <a:gd name="connsiteX30" fmla="*/ 258001 w 2070059"/>
                    <a:gd name="connsiteY30" fmla="*/ 1444446 h 3498714"/>
                    <a:gd name="connsiteX31" fmla="*/ 257700 w 2070059"/>
                    <a:gd name="connsiteY31" fmla="*/ 1444370 h 3498714"/>
                    <a:gd name="connsiteX32" fmla="*/ 257700 w 2070059"/>
                    <a:gd name="connsiteY32" fmla="*/ 1912573 h 3498714"/>
                    <a:gd name="connsiteX33" fmla="*/ 128850 w 2070059"/>
                    <a:gd name="connsiteY33" fmla="*/ 2041423 h 3498714"/>
                    <a:gd name="connsiteX34" fmla="*/ 0 w 2070059"/>
                    <a:gd name="connsiteY34" fmla="*/ 1912573 h 3498714"/>
                    <a:gd name="connsiteX35" fmla="*/ 0 w 2070059"/>
                    <a:gd name="connsiteY35" fmla="*/ 1101802 h 3498714"/>
                    <a:gd name="connsiteX36" fmla="*/ 0 w 2070059"/>
                    <a:gd name="connsiteY36" fmla="*/ 1003338 h 3498714"/>
                    <a:gd name="connsiteX37" fmla="*/ 0 w 2070059"/>
                    <a:gd name="connsiteY37" fmla="*/ 982486 h 3498714"/>
                    <a:gd name="connsiteX38" fmla="*/ 12733 w 2070059"/>
                    <a:gd name="connsiteY38" fmla="*/ 894663 h 3498714"/>
                    <a:gd name="connsiteX39" fmla="*/ 20539 w 2070059"/>
                    <a:gd name="connsiteY39" fmla="*/ 868773 h 3498714"/>
                    <a:gd name="connsiteX40" fmla="*/ 358791 w 2070059"/>
                    <a:gd name="connsiteY40" fmla="*/ 644545 h 3498714"/>
                    <a:gd name="connsiteX41" fmla="*/ 682782 w 2070059"/>
                    <a:gd name="connsiteY41" fmla="*/ 0 h 3498714"/>
                    <a:gd name="connsiteX42" fmla="*/ 966919 w 2070059"/>
                    <a:gd name="connsiteY42" fmla="*/ 284138 h 3498714"/>
                    <a:gd name="connsiteX43" fmla="*/ 682782 w 2070059"/>
                    <a:gd name="connsiteY43" fmla="*/ 568275 h 3498714"/>
                    <a:gd name="connsiteX44" fmla="*/ 398645 w 2070059"/>
                    <a:gd name="connsiteY44" fmla="*/ 284138 h 3498714"/>
                    <a:gd name="connsiteX45" fmla="*/ 682782 w 2070059"/>
                    <a:gd name="connsiteY45" fmla="*/ 0 h 3498714"/>
                    <a:gd name="connsiteX46" fmla="*/ 682782 w 2070059"/>
                    <a:gd name="connsiteY46" fmla="*/ 0 h 3498714"/>
                    <a:gd name="connsiteX0" fmla="*/ 358791 w 2070059"/>
                    <a:gd name="connsiteY0" fmla="*/ 644545 h 3498714"/>
                    <a:gd name="connsiteX1" fmla="*/ 1006774 w 2070059"/>
                    <a:gd name="connsiteY1" fmla="*/ 644545 h 3498714"/>
                    <a:gd name="connsiteX2" fmla="*/ 1542636 w 2070059"/>
                    <a:gd name="connsiteY2" fmla="*/ 1193969 h 3498714"/>
                    <a:gd name="connsiteX3" fmla="*/ 1929878 w 2070059"/>
                    <a:gd name="connsiteY3" fmla="*/ 1193970 h 3498714"/>
                    <a:gd name="connsiteX4" fmla="*/ 2070059 w 2070059"/>
                    <a:gd name="connsiteY4" fmla="*/ 1334152 h 3498714"/>
                    <a:gd name="connsiteX5" fmla="*/ 1929878 w 2070059"/>
                    <a:gd name="connsiteY5" fmla="*/ 1474333 h 3498714"/>
                    <a:gd name="connsiteX6" fmla="*/ 1520943 w 2070059"/>
                    <a:gd name="connsiteY6" fmla="*/ 1470388 h 3498714"/>
                    <a:gd name="connsiteX7" fmla="*/ 1332825 w 2070059"/>
                    <a:gd name="connsiteY7" fmla="*/ 1367201 h 3498714"/>
                    <a:gd name="connsiteX8" fmla="*/ 1106501 w 2070059"/>
                    <a:gd name="connsiteY8" fmla="*/ 1098289 h 3498714"/>
                    <a:gd name="connsiteX9" fmla="*/ 1101049 w 2070059"/>
                    <a:gd name="connsiteY9" fmla="*/ 1092836 h 3498714"/>
                    <a:gd name="connsiteX10" fmla="*/ 1046523 w 2070059"/>
                    <a:gd name="connsiteY10" fmla="*/ 1092836 h 3498714"/>
                    <a:gd name="connsiteX11" fmla="*/ 1041071 w 2070059"/>
                    <a:gd name="connsiteY11" fmla="*/ 1098289 h 3498714"/>
                    <a:gd name="connsiteX12" fmla="*/ 1042136 w 2070059"/>
                    <a:gd name="connsiteY12" fmla="*/ 1419754 h 3498714"/>
                    <a:gd name="connsiteX13" fmla="*/ 1042136 w 2070059"/>
                    <a:gd name="connsiteY13" fmla="*/ 3337652 h 3498714"/>
                    <a:gd name="connsiteX14" fmla="*/ 881075 w 2070059"/>
                    <a:gd name="connsiteY14" fmla="*/ 3498714 h 3498714"/>
                    <a:gd name="connsiteX15" fmla="*/ 720012 w 2070059"/>
                    <a:gd name="connsiteY15" fmla="*/ 3337652 h 3498714"/>
                    <a:gd name="connsiteX16" fmla="*/ 720012 w 2070059"/>
                    <a:gd name="connsiteY16" fmla="*/ 2125717 h 3498714"/>
                    <a:gd name="connsiteX17" fmla="*/ 718947 w 2070059"/>
                    <a:gd name="connsiteY17" fmla="*/ 2033194 h 3498714"/>
                    <a:gd name="connsiteX18" fmla="*/ 714162 w 2070059"/>
                    <a:gd name="connsiteY18" fmla="*/ 2028410 h 3498714"/>
                    <a:gd name="connsiteX19" fmla="*/ 654759 w 2070059"/>
                    <a:gd name="connsiteY19" fmla="*/ 2028410 h 3498714"/>
                    <a:gd name="connsiteX20" fmla="*/ 649974 w 2070059"/>
                    <a:gd name="connsiteY20" fmla="*/ 2033194 h 3498714"/>
                    <a:gd name="connsiteX21" fmla="*/ 649974 w 2070059"/>
                    <a:gd name="connsiteY21" fmla="*/ 2125717 h 3498714"/>
                    <a:gd name="connsiteX22" fmla="*/ 649574 w 2070059"/>
                    <a:gd name="connsiteY22" fmla="*/ 3337652 h 3498714"/>
                    <a:gd name="connsiteX23" fmla="*/ 488511 w 2070059"/>
                    <a:gd name="connsiteY23" fmla="*/ 3498714 h 3498714"/>
                    <a:gd name="connsiteX24" fmla="*/ 327450 w 2070059"/>
                    <a:gd name="connsiteY24" fmla="*/ 3337652 h 3498714"/>
                    <a:gd name="connsiteX25" fmla="*/ 327450 w 2070059"/>
                    <a:gd name="connsiteY25" fmla="*/ 1458216 h 3498714"/>
                    <a:gd name="connsiteX26" fmla="*/ 322427 w 2070059"/>
                    <a:gd name="connsiteY26" fmla="*/ 1098205 h 3498714"/>
                    <a:gd name="connsiteX27" fmla="*/ 317058 w 2070059"/>
                    <a:gd name="connsiteY27" fmla="*/ 1092836 h 3498714"/>
                    <a:gd name="connsiteX28" fmla="*/ 263371 w 2070059"/>
                    <a:gd name="connsiteY28" fmla="*/ 1092836 h 3498714"/>
                    <a:gd name="connsiteX29" fmla="*/ 258001 w 2070059"/>
                    <a:gd name="connsiteY29" fmla="*/ 1098205 h 3498714"/>
                    <a:gd name="connsiteX30" fmla="*/ 258001 w 2070059"/>
                    <a:gd name="connsiteY30" fmla="*/ 1444446 h 3498714"/>
                    <a:gd name="connsiteX31" fmla="*/ 257700 w 2070059"/>
                    <a:gd name="connsiteY31" fmla="*/ 1444370 h 3498714"/>
                    <a:gd name="connsiteX32" fmla="*/ 257700 w 2070059"/>
                    <a:gd name="connsiteY32" fmla="*/ 1912573 h 3498714"/>
                    <a:gd name="connsiteX33" fmla="*/ 128850 w 2070059"/>
                    <a:gd name="connsiteY33" fmla="*/ 2041423 h 3498714"/>
                    <a:gd name="connsiteX34" fmla="*/ 0 w 2070059"/>
                    <a:gd name="connsiteY34" fmla="*/ 1912573 h 3498714"/>
                    <a:gd name="connsiteX35" fmla="*/ 0 w 2070059"/>
                    <a:gd name="connsiteY35" fmla="*/ 1101802 h 3498714"/>
                    <a:gd name="connsiteX36" fmla="*/ 0 w 2070059"/>
                    <a:gd name="connsiteY36" fmla="*/ 1003338 h 3498714"/>
                    <a:gd name="connsiteX37" fmla="*/ 0 w 2070059"/>
                    <a:gd name="connsiteY37" fmla="*/ 982486 h 3498714"/>
                    <a:gd name="connsiteX38" fmla="*/ 12733 w 2070059"/>
                    <a:gd name="connsiteY38" fmla="*/ 894663 h 3498714"/>
                    <a:gd name="connsiteX39" fmla="*/ 20539 w 2070059"/>
                    <a:gd name="connsiteY39" fmla="*/ 868773 h 3498714"/>
                    <a:gd name="connsiteX40" fmla="*/ 358791 w 2070059"/>
                    <a:gd name="connsiteY40" fmla="*/ 644545 h 3498714"/>
                    <a:gd name="connsiteX41" fmla="*/ 682782 w 2070059"/>
                    <a:gd name="connsiteY41" fmla="*/ 0 h 3498714"/>
                    <a:gd name="connsiteX42" fmla="*/ 966919 w 2070059"/>
                    <a:gd name="connsiteY42" fmla="*/ 284138 h 3498714"/>
                    <a:gd name="connsiteX43" fmla="*/ 682782 w 2070059"/>
                    <a:gd name="connsiteY43" fmla="*/ 568275 h 3498714"/>
                    <a:gd name="connsiteX44" fmla="*/ 398645 w 2070059"/>
                    <a:gd name="connsiteY44" fmla="*/ 284138 h 3498714"/>
                    <a:gd name="connsiteX45" fmla="*/ 682782 w 2070059"/>
                    <a:gd name="connsiteY45" fmla="*/ 0 h 3498714"/>
                    <a:gd name="connsiteX46" fmla="*/ 682782 w 2070059"/>
                    <a:gd name="connsiteY46" fmla="*/ 0 h 349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070059" h="3498714">
                      <a:close/>
                      <a:moveTo>
                        <a:pt x="358791" y="644545"/>
                      </a:moveTo>
                      <a:lnTo>
                        <a:pt x="1006774" y="644545"/>
                      </a:lnTo>
                      <a:cubicBezTo>
                        <a:pt x="1218838" y="701686"/>
                        <a:pt x="1428136" y="1033850"/>
                        <a:pt x="1542636" y="1193969"/>
                      </a:cubicBezTo>
                      <a:lnTo>
                        <a:pt x="1929878" y="1193970"/>
                      </a:lnTo>
                      <a:cubicBezTo>
                        <a:pt x="2007298" y="1193970"/>
                        <a:pt x="2070059" y="1256732"/>
                        <a:pt x="2070059" y="1334152"/>
                      </a:cubicBezTo>
                      <a:cubicBezTo>
                        <a:pt x="2070059" y="1411572"/>
                        <a:pt x="2021397" y="1451628"/>
                        <a:pt x="1929878" y="1474333"/>
                      </a:cubicBezTo>
                      <a:lnTo>
                        <a:pt x="1520943" y="1470388"/>
                      </a:lnTo>
                      <a:cubicBezTo>
                        <a:pt x="1397118" y="1474356"/>
                        <a:pt x="1368544" y="1410856"/>
                        <a:pt x="1332825" y="1367201"/>
                      </a:cubicBezTo>
                      <a:lnTo>
                        <a:pt x="1106501" y="1098289"/>
                      </a:lnTo>
                      <a:cubicBezTo>
                        <a:pt x="1106501" y="1095278"/>
                        <a:pt x="1104059" y="1092836"/>
                        <a:pt x="1101049" y="1092836"/>
                      </a:cubicBezTo>
                      <a:lnTo>
                        <a:pt x="1046523" y="1092836"/>
                      </a:lnTo>
                      <a:cubicBezTo>
                        <a:pt x="1043511" y="1092836"/>
                        <a:pt x="1041071" y="1095278"/>
                        <a:pt x="1041071" y="1098289"/>
                      </a:cubicBezTo>
                      <a:lnTo>
                        <a:pt x="1042136" y="1419754"/>
                      </a:lnTo>
                      <a:lnTo>
                        <a:pt x="1042136" y="3337652"/>
                      </a:lnTo>
                      <a:cubicBezTo>
                        <a:pt x="1042136" y="3426604"/>
                        <a:pt x="970027" y="3498714"/>
                        <a:pt x="881075" y="3498714"/>
                      </a:cubicBezTo>
                      <a:cubicBezTo>
                        <a:pt x="792123" y="3498714"/>
                        <a:pt x="720012" y="3426604"/>
                        <a:pt x="720012" y="3337652"/>
                      </a:cubicBezTo>
                      <a:lnTo>
                        <a:pt x="720012" y="2125717"/>
                      </a:lnTo>
                      <a:lnTo>
                        <a:pt x="718947" y="2033194"/>
                      </a:lnTo>
                      <a:cubicBezTo>
                        <a:pt x="718947" y="2030552"/>
                        <a:pt x="716805" y="2028410"/>
                        <a:pt x="714162" y="2028410"/>
                      </a:cubicBezTo>
                      <a:lnTo>
                        <a:pt x="654759" y="2028410"/>
                      </a:lnTo>
                      <a:cubicBezTo>
                        <a:pt x="652116" y="2028410"/>
                        <a:pt x="649974" y="2030552"/>
                        <a:pt x="649974" y="2033194"/>
                      </a:cubicBezTo>
                      <a:lnTo>
                        <a:pt x="649974" y="2125717"/>
                      </a:lnTo>
                      <a:cubicBezTo>
                        <a:pt x="649841" y="2529695"/>
                        <a:pt x="649707" y="2933674"/>
                        <a:pt x="649574" y="3337652"/>
                      </a:cubicBezTo>
                      <a:cubicBezTo>
                        <a:pt x="649574" y="3426604"/>
                        <a:pt x="577464" y="3498714"/>
                        <a:pt x="488511" y="3498714"/>
                      </a:cubicBezTo>
                      <a:cubicBezTo>
                        <a:pt x="399560" y="3498714"/>
                        <a:pt x="327450" y="3426604"/>
                        <a:pt x="327450" y="3337652"/>
                      </a:cubicBezTo>
                      <a:lnTo>
                        <a:pt x="327450" y="1458216"/>
                      </a:lnTo>
                      <a:cubicBezTo>
                        <a:pt x="325775" y="1338213"/>
                        <a:pt x="324101" y="1218209"/>
                        <a:pt x="322427" y="1098205"/>
                      </a:cubicBezTo>
                      <a:cubicBezTo>
                        <a:pt x="322427" y="1095240"/>
                        <a:pt x="320022" y="1092836"/>
                        <a:pt x="317058" y="1092836"/>
                      </a:cubicBezTo>
                      <a:lnTo>
                        <a:pt x="263371" y="1092836"/>
                      </a:lnTo>
                      <a:cubicBezTo>
                        <a:pt x="260405" y="1092836"/>
                        <a:pt x="258001" y="1095240"/>
                        <a:pt x="258001" y="1098205"/>
                      </a:cubicBezTo>
                      <a:lnTo>
                        <a:pt x="258001" y="1444446"/>
                      </a:lnTo>
                      <a:cubicBezTo>
                        <a:pt x="257895" y="1444438"/>
                        <a:pt x="257798" y="1444405"/>
                        <a:pt x="257700" y="1444370"/>
                      </a:cubicBezTo>
                      <a:lnTo>
                        <a:pt x="257700" y="1912573"/>
                      </a:lnTo>
                      <a:cubicBezTo>
                        <a:pt x="257700" y="1983734"/>
                        <a:pt x="200011" y="2041423"/>
                        <a:pt x="128850" y="2041423"/>
                      </a:cubicBezTo>
                      <a:cubicBezTo>
                        <a:pt x="57687" y="2041423"/>
                        <a:pt x="0" y="1983734"/>
                        <a:pt x="0" y="1912573"/>
                      </a:cubicBezTo>
                      <a:lnTo>
                        <a:pt x="0" y="1101802"/>
                      </a:lnTo>
                      <a:lnTo>
                        <a:pt x="0" y="1003338"/>
                      </a:lnTo>
                      <a:lnTo>
                        <a:pt x="0" y="982486"/>
                      </a:lnTo>
                      <a:cubicBezTo>
                        <a:pt x="0" y="952006"/>
                        <a:pt x="3965" y="922453"/>
                        <a:pt x="12733" y="894663"/>
                      </a:cubicBezTo>
                      <a:cubicBezTo>
                        <a:pt x="15126" y="886107"/>
                        <a:pt x="14856" y="875418"/>
                        <a:pt x="20539" y="868773"/>
                      </a:cubicBezTo>
                      <a:cubicBezTo>
                        <a:pt x="72281" y="735385"/>
                        <a:pt x="207053" y="644545"/>
                        <a:pt x="358791" y="644545"/>
                      </a:cubicBezTo>
                      <a:close/>
                      <a:moveTo>
                        <a:pt x="682782" y="0"/>
                      </a:moveTo>
                      <a:cubicBezTo>
                        <a:pt x="730138" y="47356"/>
                        <a:pt x="917322" y="-43301"/>
                        <a:pt x="966919" y="284138"/>
                      </a:cubicBezTo>
                      <a:cubicBezTo>
                        <a:pt x="1016516" y="611577"/>
                        <a:pt x="839708" y="568275"/>
                        <a:pt x="682782" y="568275"/>
                      </a:cubicBezTo>
                      <a:cubicBezTo>
                        <a:pt x="525858" y="568275"/>
                        <a:pt x="398645" y="441063"/>
                        <a:pt x="398645" y="284138"/>
                      </a:cubicBezTo>
                      <a:cubicBezTo>
                        <a:pt x="398645" y="127213"/>
                        <a:pt x="525858" y="0"/>
                        <a:pt x="682782" y="0"/>
                      </a:cubicBezTo>
                      <a:lnTo>
                        <a:pt x="682782" y="0"/>
                      </a:lnTo>
                      <a:close/>
                    </a:path>
                  </a:pathLst>
                </a:custGeom>
                <a:solidFill>
                  <a:schemeClr val="bg1">
                    <a:lumMod val="50000"/>
                  </a:schemeClr>
                </a:solidFill>
                <a:ln w="19050">
                  <a:noFill/>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16" tIns="91416" rIns="91416" bIns="91416"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a:endParaRPr lang="en-US" sz="1200" dirty="0" err="1">
                    <a:solidFill>
                      <a:prstClr val="white"/>
                    </a:solidFill>
                  </a:endParaRPr>
                </a:p>
              </p:txBody>
            </p:sp>
          </p:grpSp>
          <p:pic>
            <p:nvPicPr>
              <p:cNvPr id="197" name="Picture 33" descr="C:\Users\sakuu\Documents\Ballmer WPC\AI\Home.png"/>
              <p:cNvPicPr>
                <a:picLocks noChangeAspect="1" noChangeArrowheads="1"/>
              </p:cNvPicPr>
              <p:nvPr/>
            </p:nvPicPr>
            <p:blipFill>
              <a:blip r:embed="rId17" cstate="print">
                <a:duotone>
                  <a:schemeClr val="accent5">
                    <a:shade val="45000"/>
                    <a:satMod val="135000"/>
                  </a:schemeClr>
                  <a:prstClr val="white"/>
                </a:duotone>
                <a:extLst>
                  <a:ext uri="{BEBA8EAE-BF5A-486C-A8C5-ECC9F3942E4B}">
                    <a14:imgProps xmlns:a14="http://schemas.microsoft.com/office/drawing/2010/main">
                      <a14:imgLayer r:embed="rId18">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black">
              <a:xfrm>
                <a:off x="6665784" y="2034523"/>
                <a:ext cx="344298" cy="294263"/>
              </a:xfrm>
              <a:prstGeom prst="rect">
                <a:avLst/>
              </a:prstGeom>
              <a:noFill/>
              <a:extLst/>
            </p:spPr>
          </p:pic>
          <p:sp>
            <p:nvSpPr>
              <p:cNvPr id="198" name="Freeform 5"/>
              <p:cNvSpPr>
                <a:spLocks noChangeAspect="1"/>
              </p:cNvSpPr>
              <p:nvPr/>
            </p:nvSpPr>
            <p:spPr bwMode="auto">
              <a:xfrm flipH="1">
                <a:off x="5052739" y="2474755"/>
                <a:ext cx="411480" cy="267727"/>
              </a:xfrm>
              <a:custGeom>
                <a:avLst/>
                <a:gdLst/>
                <a:ahLst/>
                <a:cxnLst/>
                <a:rect l="l" t="t" r="r" b="b"/>
                <a:pathLst>
                  <a:path w="6776429" h="4409039">
                    <a:moveTo>
                      <a:pt x="5567597" y="4312767"/>
                    </a:moveTo>
                    <a:lnTo>
                      <a:pt x="3745936" y="4312767"/>
                    </a:lnTo>
                    <a:lnTo>
                      <a:pt x="3745936" y="4409039"/>
                    </a:lnTo>
                    <a:lnTo>
                      <a:pt x="5567597" y="4409039"/>
                    </a:lnTo>
                    <a:close/>
                    <a:moveTo>
                      <a:pt x="2248864" y="4188766"/>
                    </a:moveTo>
                    <a:lnTo>
                      <a:pt x="7064" y="4250296"/>
                    </a:lnTo>
                    <a:lnTo>
                      <a:pt x="7064" y="4323099"/>
                    </a:lnTo>
                    <a:lnTo>
                      <a:pt x="7064" y="4409039"/>
                    </a:lnTo>
                    <a:lnTo>
                      <a:pt x="2248864" y="4409039"/>
                    </a:lnTo>
                    <a:close/>
                    <a:moveTo>
                      <a:pt x="5567597" y="4005612"/>
                    </a:moveTo>
                    <a:lnTo>
                      <a:pt x="3745936" y="4005612"/>
                    </a:lnTo>
                    <a:lnTo>
                      <a:pt x="3745936" y="4234831"/>
                    </a:lnTo>
                    <a:lnTo>
                      <a:pt x="5567597" y="4234831"/>
                    </a:lnTo>
                    <a:close/>
                    <a:moveTo>
                      <a:pt x="5567597" y="3826820"/>
                    </a:moveTo>
                    <a:lnTo>
                      <a:pt x="3745936" y="3826820"/>
                    </a:lnTo>
                    <a:lnTo>
                      <a:pt x="3745936" y="3927677"/>
                    </a:lnTo>
                    <a:lnTo>
                      <a:pt x="5567597" y="3927677"/>
                    </a:lnTo>
                    <a:close/>
                    <a:moveTo>
                      <a:pt x="2248864" y="3467092"/>
                    </a:moveTo>
                    <a:lnTo>
                      <a:pt x="7064" y="3496562"/>
                    </a:lnTo>
                    <a:lnTo>
                      <a:pt x="7064" y="3648517"/>
                    </a:lnTo>
                    <a:lnTo>
                      <a:pt x="7064" y="4072338"/>
                    </a:lnTo>
                    <a:lnTo>
                      <a:pt x="7064" y="4171229"/>
                    </a:lnTo>
                    <a:lnTo>
                      <a:pt x="7064" y="4198354"/>
                    </a:lnTo>
                    <a:lnTo>
                      <a:pt x="7064" y="4204261"/>
                    </a:lnTo>
                    <a:lnTo>
                      <a:pt x="2248864" y="4175922"/>
                    </a:lnTo>
                    <a:lnTo>
                      <a:pt x="2248864" y="4005612"/>
                    </a:lnTo>
                    <a:lnTo>
                      <a:pt x="1363292" y="4005612"/>
                    </a:lnTo>
                    <a:lnTo>
                      <a:pt x="1363292" y="3927677"/>
                    </a:lnTo>
                    <a:lnTo>
                      <a:pt x="2248864" y="3927677"/>
                    </a:lnTo>
                    <a:lnTo>
                      <a:pt x="2248864" y="3826820"/>
                    </a:lnTo>
                    <a:lnTo>
                      <a:pt x="395566" y="3826820"/>
                    </a:lnTo>
                    <a:lnTo>
                      <a:pt x="395566" y="3746593"/>
                    </a:lnTo>
                    <a:lnTo>
                      <a:pt x="2248864" y="3746593"/>
                    </a:lnTo>
                    <a:close/>
                    <a:moveTo>
                      <a:pt x="2248864" y="3327119"/>
                    </a:moveTo>
                    <a:lnTo>
                      <a:pt x="7064" y="3327119"/>
                    </a:lnTo>
                    <a:lnTo>
                      <a:pt x="7064" y="3397756"/>
                    </a:lnTo>
                    <a:lnTo>
                      <a:pt x="7064" y="3455443"/>
                    </a:lnTo>
                    <a:lnTo>
                      <a:pt x="7064" y="3464505"/>
                    </a:lnTo>
                    <a:lnTo>
                      <a:pt x="2248864" y="3450933"/>
                    </a:lnTo>
                    <a:close/>
                    <a:moveTo>
                      <a:pt x="3678126" y="3327119"/>
                    </a:moveTo>
                    <a:lnTo>
                      <a:pt x="3676646" y="3327119"/>
                    </a:lnTo>
                    <a:lnTo>
                      <a:pt x="2316674" y="3327119"/>
                    </a:lnTo>
                    <a:lnTo>
                      <a:pt x="2316674" y="3450522"/>
                    </a:lnTo>
                    <a:lnTo>
                      <a:pt x="2316674" y="3466201"/>
                    </a:lnTo>
                    <a:lnTo>
                      <a:pt x="2316674" y="3746593"/>
                    </a:lnTo>
                    <a:lnTo>
                      <a:pt x="2316674" y="3826820"/>
                    </a:lnTo>
                    <a:lnTo>
                      <a:pt x="2316674" y="3927677"/>
                    </a:lnTo>
                    <a:lnTo>
                      <a:pt x="2316674" y="4005612"/>
                    </a:lnTo>
                    <a:lnTo>
                      <a:pt x="2316674" y="4175065"/>
                    </a:lnTo>
                    <a:lnTo>
                      <a:pt x="2316674" y="4186905"/>
                    </a:lnTo>
                    <a:lnTo>
                      <a:pt x="2316674" y="4409039"/>
                    </a:lnTo>
                    <a:lnTo>
                      <a:pt x="3676646" y="4409039"/>
                    </a:lnTo>
                    <a:lnTo>
                      <a:pt x="3678126" y="4409039"/>
                    </a:lnTo>
                    <a:lnTo>
                      <a:pt x="3678126" y="4312767"/>
                    </a:lnTo>
                    <a:lnTo>
                      <a:pt x="3676646" y="4312767"/>
                    </a:lnTo>
                    <a:lnTo>
                      <a:pt x="3676646" y="4234831"/>
                    </a:lnTo>
                    <a:lnTo>
                      <a:pt x="3678126" y="4234831"/>
                    </a:lnTo>
                    <a:lnTo>
                      <a:pt x="3678126" y="4005612"/>
                    </a:lnTo>
                    <a:lnTo>
                      <a:pt x="3676646" y="4005612"/>
                    </a:lnTo>
                    <a:lnTo>
                      <a:pt x="3676646" y="3927677"/>
                    </a:lnTo>
                    <a:lnTo>
                      <a:pt x="3678126" y="3927677"/>
                    </a:lnTo>
                    <a:lnTo>
                      <a:pt x="3678126" y="3826820"/>
                    </a:lnTo>
                    <a:lnTo>
                      <a:pt x="3676646" y="3826820"/>
                    </a:lnTo>
                    <a:lnTo>
                      <a:pt x="3676646" y="3746593"/>
                    </a:lnTo>
                    <a:lnTo>
                      <a:pt x="3678126" y="3746593"/>
                    </a:lnTo>
                    <a:lnTo>
                      <a:pt x="3678126" y="3448305"/>
                    </a:lnTo>
                    <a:lnTo>
                      <a:pt x="3676646" y="3448324"/>
                    </a:lnTo>
                    <a:lnTo>
                      <a:pt x="3676646" y="3442289"/>
                    </a:lnTo>
                    <a:lnTo>
                      <a:pt x="3678126" y="3442280"/>
                    </a:lnTo>
                    <a:close/>
                    <a:moveTo>
                      <a:pt x="5567597" y="3327119"/>
                    </a:moveTo>
                    <a:lnTo>
                      <a:pt x="3745936" y="3327119"/>
                    </a:lnTo>
                    <a:lnTo>
                      <a:pt x="3745936" y="3441869"/>
                    </a:lnTo>
                    <a:lnTo>
                      <a:pt x="4527642" y="3437136"/>
                    </a:lnTo>
                    <a:lnTo>
                      <a:pt x="4567848" y="3436607"/>
                    </a:lnTo>
                    <a:lnTo>
                      <a:pt x="4614939" y="3436607"/>
                    </a:lnTo>
                    <a:lnTo>
                      <a:pt x="4527642" y="3437136"/>
                    </a:lnTo>
                    <a:lnTo>
                      <a:pt x="3745936" y="3447413"/>
                    </a:lnTo>
                    <a:lnTo>
                      <a:pt x="3745936" y="3746593"/>
                    </a:lnTo>
                    <a:lnTo>
                      <a:pt x="5567597" y="3746593"/>
                    </a:lnTo>
                    <a:close/>
                    <a:moveTo>
                      <a:pt x="233976" y="3083410"/>
                    </a:moveTo>
                    <a:lnTo>
                      <a:pt x="0" y="3296552"/>
                    </a:lnTo>
                    <a:lnTo>
                      <a:pt x="1040822" y="3288261"/>
                    </a:lnTo>
                    <a:cubicBezTo>
                      <a:pt x="651034" y="3226258"/>
                      <a:pt x="628344" y="3243118"/>
                      <a:pt x="233976" y="3083410"/>
                    </a:cubicBezTo>
                    <a:close/>
                    <a:moveTo>
                      <a:pt x="6776429" y="2826778"/>
                    </a:moveTo>
                    <a:lnTo>
                      <a:pt x="5635408" y="3963226"/>
                    </a:lnTo>
                    <a:lnTo>
                      <a:pt x="5635408" y="4196285"/>
                    </a:lnTo>
                    <a:lnTo>
                      <a:pt x="6482110" y="3349488"/>
                    </a:lnTo>
                    <a:lnTo>
                      <a:pt x="6482110" y="3434149"/>
                    </a:lnTo>
                    <a:lnTo>
                      <a:pt x="5635408" y="4276423"/>
                    </a:lnTo>
                    <a:lnTo>
                      <a:pt x="5635408" y="4373588"/>
                    </a:lnTo>
                    <a:lnTo>
                      <a:pt x="6776429" y="3234056"/>
                    </a:lnTo>
                    <a:close/>
                    <a:moveTo>
                      <a:pt x="1738028" y="2499490"/>
                    </a:moveTo>
                    <a:lnTo>
                      <a:pt x="1755660" y="2501846"/>
                    </a:lnTo>
                    <a:lnTo>
                      <a:pt x="1770940" y="2501846"/>
                    </a:lnTo>
                    <a:lnTo>
                      <a:pt x="1789746" y="2501846"/>
                    </a:lnTo>
                    <a:lnTo>
                      <a:pt x="1805028" y="2504200"/>
                    </a:lnTo>
                    <a:lnTo>
                      <a:pt x="1822658" y="2507731"/>
                    </a:lnTo>
                    <a:lnTo>
                      <a:pt x="1836764" y="2507731"/>
                    </a:lnTo>
                    <a:lnTo>
                      <a:pt x="1849694" y="2510086"/>
                    </a:lnTo>
                    <a:lnTo>
                      <a:pt x="1862622" y="2512440"/>
                    </a:lnTo>
                    <a:lnTo>
                      <a:pt x="1876728" y="2519505"/>
                    </a:lnTo>
                    <a:lnTo>
                      <a:pt x="1896710" y="2526568"/>
                    </a:lnTo>
                    <a:lnTo>
                      <a:pt x="1919042" y="2537163"/>
                    </a:lnTo>
                    <a:lnTo>
                      <a:pt x="1931974" y="2546582"/>
                    </a:lnTo>
                    <a:lnTo>
                      <a:pt x="1946078" y="2559531"/>
                    </a:lnTo>
                    <a:lnTo>
                      <a:pt x="1954306" y="2573659"/>
                    </a:lnTo>
                    <a:lnTo>
                      <a:pt x="1963710" y="2588964"/>
                    </a:lnTo>
                    <a:lnTo>
                      <a:pt x="1966060" y="2601913"/>
                    </a:lnTo>
                    <a:lnTo>
                      <a:pt x="1966060" y="2619574"/>
                    </a:lnTo>
                    <a:lnTo>
                      <a:pt x="1961358" y="2636055"/>
                    </a:lnTo>
                    <a:lnTo>
                      <a:pt x="1954306" y="2653714"/>
                    </a:lnTo>
                    <a:lnTo>
                      <a:pt x="1943728" y="2671374"/>
                    </a:lnTo>
                    <a:lnTo>
                      <a:pt x="1929622" y="2689033"/>
                    </a:lnTo>
                    <a:lnTo>
                      <a:pt x="1921394" y="2698451"/>
                    </a:lnTo>
                    <a:lnTo>
                      <a:pt x="1911990" y="2707869"/>
                    </a:lnTo>
                    <a:lnTo>
                      <a:pt x="1901412" y="2716110"/>
                    </a:lnTo>
                    <a:lnTo>
                      <a:pt x="1892008" y="2727882"/>
                    </a:lnTo>
                    <a:lnTo>
                      <a:pt x="1879078" y="2733769"/>
                    </a:lnTo>
                    <a:lnTo>
                      <a:pt x="1864974" y="2743187"/>
                    </a:lnTo>
                    <a:lnTo>
                      <a:pt x="1852044" y="2752605"/>
                    </a:lnTo>
                    <a:lnTo>
                      <a:pt x="1837940" y="2760846"/>
                    </a:lnTo>
                    <a:lnTo>
                      <a:pt x="1822658" y="2767910"/>
                    </a:lnTo>
                    <a:lnTo>
                      <a:pt x="1807378" y="2776151"/>
                    </a:lnTo>
                    <a:lnTo>
                      <a:pt x="1792096" y="2783215"/>
                    </a:lnTo>
                    <a:lnTo>
                      <a:pt x="1777992" y="2792634"/>
                    </a:lnTo>
                    <a:lnTo>
                      <a:pt x="1760360" y="2797343"/>
                    </a:lnTo>
                    <a:lnTo>
                      <a:pt x="1745080" y="2803228"/>
                    </a:lnTo>
                    <a:lnTo>
                      <a:pt x="1726272" y="2810292"/>
                    </a:lnTo>
                    <a:lnTo>
                      <a:pt x="1710992" y="2817355"/>
                    </a:lnTo>
                    <a:lnTo>
                      <a:pt x="1693360" y="2820888"/>
                    </a:lnTo>
                    <a:lnTo>
                      <a:pt x="1678082" y="2827951"/>
                    </a:lnTo>
                    <a:lnTo>
                      <a:pt x="1659274" y="2832660"/>
                    </a:lnTo>
                    <a:lnTo>
                      <a:pt x="1643992" y="2839725"/>
                    </a:lnTo>
                    <a:lnTo>
                      <a:pt x="1624012" y="2842079"/>
                    </a:lnTo>
                    <a:lnTo>
                      <a:pt x="1606380" y="2845610"/>
                    </a:lnTo>
                    <a:lnTo>
                      <a:pt x="1588748" y="2847965"/>
                    </a:lnTo>
                    <a:lnTo>
                      <a:pt x="1572292" y="2852675"/>
                    </a:lnTo>
                    <a:lnTo>
                      <a:pt x="1552310" y="2855028"/>
                    </a:lnTo>
                    <a:lnTo>
                      <a:pt x="1534678" y="2857384"/>
                    </a:lnTo>
                    <a:lnTo>
                      <a:pt x="1517046" y="2859738"/>
                    </a:lnTo>
                    <a:lnTo>
                      <a:pt x="1500590" y="2864447"/>
                    </a:lnTo>
                    <a:lnTo>
                      <a:pt x="1480608" y="2864447"/>
                    </a:lnTo>
                    <a:lnTo>
                      <a:pt x="1465328" y="2864447"/>
                    </a:lnTo>
                    <a:lnTo>
                      <a:pt x="1447696" y="2864447"/>
                    </a:lnTo>
                    <a:lnTo>
                      <a:pt x="1432416" y="2864447"/>
                    </a:lnTo>
                    <a:lnTo>
                      <a:pt x="1413610" y="2862093"/>
                    </a:lnTo>
                    <a:lnTo>
                      <a:pt x="1398328" y="2862093"/>
                    </a:lnTo>
                    <a:lnTo>
                      <a:pt x="1383048" y="2862093"/>
                    </a:lnTo>
                    <a:lnTo>
                      <a:pt x="1368944" y="2862093"/>
                    </a:lnTo>
                    <a:lnTo>
                      <a:pt x="1351312" y="2857384"/>
                    </a:lnTo>
                    <a:lnTo>
                      <a:pt x="1338382" y="2855028"/>
                    </a:lnTo>
                    <a:lnTo>
                      <a:pt x="1324276" y="2850319"/>
                    </a:lnTo>
                    <a:lnTo>
                      <a:pt x="1311346" y="2847965"/>
                    </a:lnTo>
                    <a:lnTo>
                      <a:pt x="1286664" y="2837370"/>
                    </a:lnTo>
                    <a:lnTo>
                      <a:pt x="1269032" y="2827951"/>
                    </a:lnTo>
                    <a:lnTo>
                      <a:pt x="1251400" y="2815002"/>
                    </a:lnTo>
                    <a:lnTo>
                      <a:pt x="1239646" y="2803228"/>
                    </a:lnTo>
                    <a:lnTo>
                      <a:pt x="1229066" y="2790278"/>
                    </a:lnTo>
                    <a:lnTo>
                      <a:pt x="1224364" y="2776151"/>
                    </a:lnTo>
                    <a:lnTo>
                      <a:pt x="1219664" y="2758492"/>
                    </a:lnTo>
                    <a:lnTo>
                      <a:pt x="1219664" y="2743187"/>
                    </a:lnTo>
                    <a:lnTo>
                      <a:pt x="1222014" y="2727882"/>
                    </a:lnTo>
                    <a:lnTo>
                      <a:pt x="1230242" y="2711401"/>
                    </a:lnTo>
                    <a:lnTo>
                      <a:pt x="1241996" y="2693742"/>
                    </a:lnTo>
                    <a:lnTo>
                      <a:pt x="1257276" y="2676083"/>
                    </a:lnTo>
                    <a:lnTo>
                      <a:pt x="1264330" y="2664310"/>
                    </a:lnTo>
                    <a:lnTo>
                      <a:pt x="1274908" y="2658423"/>
                    </a:lnTo>
                    <a:lnTo>
                      <a:pt x="1284312" y="2646651"/>
                    </a:lnTo>
                    <a:lnTo>
                      <a:pt x="1297242" y="2640764"/>
                    </a:lnTo>
                    <a:lnTo>
                      <a:pt x="1308996" y="2628992"/>
                    </a:lnTo>
                    <a:lnTo>
                      <a:pt x="1319576" y="2619574"/>
                    </a:lnTo>
                    <a:lnTo>
                      <a:pt x="1333680" y="2611332"/>
                    </a:lnTo>
                    <a:lnTo>
                      <a:pt x="1348960" y="2604269"/>
                    </a:lnTo>
                    <a:lnTo>
                      <a:pt x="1363066" y="2596028"/>
                    </a:lnTo>
                    <a:lnTo>
                      <a:pt x="1375996" y="2586610"/>
                    </a:lnTo>
                    <a:lnTo>
                      <a:pt x="1391276" y="2579546"/>
                    </a:lnTo>
                    <a:lnTo>
                      <a:pt x="1407732" y="2573659"/>
                    </a:lnTo>
                    <a:lnTo>
                      <a:pt x="1420662" y="2566596"/>
                    </a:lnTo>
                    <a:lnTo>
                      <a:pt x="1438292" y="2559531"/>
                    </a:lnTo>
                    <a:lnTo>
                      <a:pt x="1454748" y="2552468"/>
                    </a:lnTo>
                    <a:lnTo>
                      <a:pt x="1472380" y="2546582"/>
                    </a:lnTo>
                    <a:lnTo>
                      <a:pt x="1487660" y="2539519"/>
                    </a:lnTo>
                    <a:lnTo>
                      <a:pt x="1507644" y="2534810"/>
                    </a:lnTo>
                    <a:lnTo>
                      <a:pt x="1522924" y="2530101"/>
                    </a:lnTo>
                    <a:lnTo>
                      <a:pt x="1544080" y="2528923"/>
                    </a:lnTo>
                    <a:lnTo>
                      <a:pt x="1559362" y="2521858"/>
                    </a:lnTo>
                    <a:lnTo>
                      <a:pt x="1576992" y="2517149"/>
                    </a:lnTo>
                    <a:lnTo>
                      <a:pt x="1594624" y="2512440"/>
                    </a:lnTo>
                    <a:lnTo>
                      <a:pt x="1614608" y="2510086"/>
                    </a:lnTo>
                    <a:lnTo>
                      <a:pt x="1631064" y="2506555"/>
                    </a:lnTo>
                    <a:lnTo>
                      <a:pt x="1648694" y="2504200"/>
                    </a:lnTo>
                    <a:lnTo>
                      <a:pt x="1666326" y="2504200"/>
                    </a:lnTo>
                    <a:lnTo>
                      <a:pt x="1686308" y="2504200"/>
                    </a:lnTo>
                    <a:lnTo>
                      <a:pt x="1702764" y="2501846"/>
                    </a:lnTo>
                    <a:lnTo>
                      <a:pt x="1720396" y="2499490"/>
                    </a:lnTo>
                    <a:close/>
                    <a:moveTo>
                      <a:pt x="5716446" y="2435917"/>
                    </a:moveTo>
                    <a:lnTo>
                      <a:pt x="4527382" y="2435917"/>
                    </a:lnTo>
                    <a:lnTo>
                      <a:pt x="3977045" y="3057829"/>
                    </a:lnTo>
                    <a:lnTo>
                      <a:pt x="3979018" y="3056988"/>
                    </a:lnTo>
                    <a:lnTo>
                      <a:pt x="3996666" y="3049964"/>
                    </a:lnTo>
                    <a:lnTo>
                      <a:pt x="4011962" y="3041768"/>
                    </a:lnTo>
                    <a:lnTo>
                      <a:pt x="4030787" y="3034743"/>
                    </a:lnTo>
                    <a:lnTo>
                      <a:pt x="4046083" y="3027719"/>
                    </a:lnTo>
                    <a:lnTo>
                      <a:pt x="4063732" y="3021865"/>
                    </a:lnTo>
                    <a:lnTo>
                      <a:pt x="4079028" y="3012498"/>
                    </a:lnTo>
                    <a:lnTo>
                      <a:pt x="4095500" y="3005474"/>
                    </a:lnTo>
                    <a:lnTo>
                      <a:pt x="4110796" y="2997279"/>
                    </a:lnTo>
                    <a:lnTo>
                      <a:pt x="4128445" y="2990254"/>
                    </a:lnTo>
                    <a:lnTo>
                      <a:pt x="4142565" y="2980887"/>
                    </a:lnTo>
                    <a:lnTo>
                      <a:pt x="4160213" y="2975035"/>
                    </a:lnTo>
                    <a:lnTo>
                      <a:pt x="4173156" y="2968009"/>
                    </a:lnTo>
                    <a:lnTo>
                      <a:pt x="4190806" y="2960984"/>
                    </a:lnTo>
                    <a:lnTo>
                      <a:pt x="5628712" y="2960984"/>
                    </a:lnTo>
                    <a:lnTo>
                      <a:pt x="6084380" y="2508115"/>
                    </a:lnTo>
                    <a:lnTo>
                      <a:pt x="6071820" y="2508858"/>
                    </a:lnTo>
                    <a:lnTo>
                      <a:pt x="6056540" y="2511221"/>
                    </a:lnTo>
                    <a:lnTo>
                      <a:pt x="6036559" y="2513584"/>
                    </a:lnTo>
                    <a:lnTo>
                      <a:pt x="6020104" y="2518309"/>
                    </a:lnTo>
                    <a:lnTo>
                      <a:pt x="6002474" y="2518309"/>
                    </a:lnTo>
                    <a:lnTo>
                      <a:pt x="5987194" y="2520672"/>
                    </a:lnTo>
                    <a:lnTo>
                      <a:pt x="5969565" y="2520672"/>
                    </a:lnTo>
                    <a:lnTo>
                      <a:pt x="5953109" y="2523035"/>
                    </a:lnTo>
                    <a:lnTo>
                      <a:pt x="5933129" y="2520672"/>
                    </a:lnTo>
                    <a:lnTo>
                      <a:pt x="5917850" y="2520672"/>
                    </a:lnTo>
                    <a:lnTo>
                      <a:pt x="5900218" y="2518309"/>
                    </a:lnTo>
                    <a:lnTo>
                      <a:pt x="5886115" y="2518309"/>
                    </a:lnTo>
                    <a:lnTo>
                      <a:pt x="5870835" y="2513584"/>
                    </a:lnTo>
                    <a:lnTo>
                      <a:pt x="5855556" y="2511221"/>
                    </a:lnTo>
                    <a:lnTo>
                      <a:pt x="5841452" y="2508858"/>
                    </a:lnTo>
                    <a:lnTo>
                      <a:pt x="5830874" y="2507676"/>
                    </a:lnTo>
                    <a:lnTo>
                      <a:pt x="5816770" y="2502951"/>
                    </a:lnTo>
                    <a:lnTo>
                      <a:pt x="5803841" y="2498225"/>
                    </a:lnTo>
                    <a:lnTo>
                      <a:pt x="5793263" y="2493500"/>
                    </a:lnTo>
                    <a:lnTo>
                      <a:pt x="5781508" y="2491137"/>
                    </a:lnTo>
                    <a:lnTo>
                      <a:pt x="5761528" y="2482867"/>
                    </a:lnTo>
                    <a:lnTo>
                      <a:pt x="5748600" y="2473416"/>
                    </a:lnTo>
                    <a:lnTo>
                      <a:pt x="5732144" y="2460420"/>
                    </a:lnTo>
                    <a:lnTo>
                      <a:pt x="5723916" y="2446244"/>
                    </a:lnTo>
                    <a:close/>
                    <a:moveTo>
                      <a:pt x="3044326" y="2428965"/>
                    </a:moveTo>
                    <a:lnTo>
                      <a:pt x="3043462" y="2429229"/>
                    </a:lnTo>
                    <a:lnTo>
                      <a:pt x="3020896" y="2435645"/>
                    </a:lnTo>
                    <a:lnTo>
                      <a:pt x="3000368" y="2442784"/>
                    </a:lnTo>
                    <a:lnTo>
                      <a:pt x="2979892" y="2450765"/>
                    </a:lnTo>
                    <a:lnTo>
                      <a:pt x="2961352" y="2457785"/>
                    </a:lnTo>
                    <a:lnTo>
                      <a:pt x="2939780" y="2464142"/>
                    </a:lnTo>
                    <a:lnTo>
                      <a:pt x="2919302" y="2472121"/>
                    </a:lnTo>
                    <a:lnTo>
                      <a:pt x="2898774" y="2479261"/>
                    </a:lnTo>
                    <a:lnTo>
                      <a:pt x="2880286" y="2487122"/>
                    </a:lnTo>
                    <a:lnTo>
                      <a:pt x="2859758" y="2494261"/>
                    </a:lnTo>
                    <a:lnTo>
                      <a:pt x="2841372" y="2503805"/>
                    </a:lnTo>
                    <a:lnTo>
                      <a:pt x="2820892" y="2511786"/>
                    </a:lnTo>
                    <a:lnTo>
                      <a:pt x="2804544" y="2522053"/>
                    </a:lnTo>
                    <a:lnTo>
                      <a:pt x="2784066" y="2530034"/>
                    </a:lnTo>
                    <a:lnTo>
                      <a:pt x="2765628" y="2538737"/>
                    </a:lnTo>
                    <a:lnTo>
                      <a:pt x="2745150" y="2546717"/>
                    </a:lnTo>
                    <a:lnTo>
                      <a:pt x="2728700" y="2555301"/>
                    </a:lnTo>
                    <a:lnTo>
                      <a:pt x="2710314" y="2564846"/>
                    </a:lnTo>
                    <a:lnTo>
                      <a:pt x="2695852" y="2573310"/>
                    </a:lnTo>
                    <a:lnTo>
                      <a:pt x="2679452" y="2582736"/>
                    </a:lnTo>
                    <a:lnTo>
                      <a:pt x="2662108" y="2593062"/>
                    </a:lnTo>
                    <a:lnTo>
                      <a:pt x="2645708" y="2602487"/>
                    </a:lnTo>
                    <a:lnTo>
                      <a:pt x="2629360" y="2612756"/>
                    </a:lnTo>
                    <a:lnTo>
                      <a:pt x="2612960" y="2622180"/>
                    </a:lnTo>
                    <a:lnTo>
                      <a:pt x="2598600" y="2632328"/>
                    </a:lnTo>
                    <a:lnTo>
                      <a:pt x="2582250" y="2642596"/>
                    </a:lnTo>
                    <a:lnTo>
                      <a:pt x="2569928" y="2653466"/>
                    </a:lnTo>
                    <a:lnTo>
                      <a:pt x="2554572" y="2663673"/>
                    </a:lnTo>
                    <a:lnTo>
                      <a:pt x="2542252" y="2674544"/>
                    </a:lnTo>
                    <a:lnTo>
                      <a:pt x="2525802" y="2683128"/>
                    </a:lnTo>
                    <a:lnTo>
                      <a:pt x="2513428" y="2693158"/>
                    </a:lnTo>
                    <a:lnTo>
                      <a:pt x="2500112" y="2704087"/>
                    </a:lnTo>
                    <a:lnTo>
                      <a:pt x="2489730" y="2713998"/>
                    </a:lnTo>
                    <a:lnTo>
                      <a:pt x="2477308" y="2723185"/>
                    </a:lnTo>
                    <a:lnTo>
                      <a:pt x="2465930" y="2733155"/>
                    </a:lnTo>
                    <a:lnTo>
                      <a:pt x="2457586" y="2743788"/>
                    </a:lnTo>
                    <a:lnTo>
                      <a:pt x="2448196" y="2753638"/>
                    </a:lnTo>
                    <a:lnTo>
                      <a:pt x="2437710" y="2761865"/>
                    </a:lnTo>
                    <a:lnTo>
                      <a:pt x="2428372" y="2772557"/>
                    </a:lnTo>
                    <a:lnTo>
                      <a:pt x="2419978" y="2782349"/>
                    </a:lnTo>
                    <a:lnTo>
                      <a:pt x="2414616" y="2792803"/>
                    </a:lnTo>
                    <a:lnTo>
                      <a:pt x="2407216" y="2802535"/>
                    </a:lnTo>
                    <a:lnTo>
                      <a:pt x="2400810" y="2812207"/>
                    </a:lnTo>
                    <a:lnTo>
                      <a:pt x="2395448" y="2822661"/>
                    </a:lnTo>
                    <a:lnTo>
                      <a:pt x="2392022" y="2832155"/>
                    </a:lnTo>
                    <a:lnTo>
                      <a:pt x="2387556" y="2840867"/>
                    </a:lnTo>
                    <a:lnTo>
                      <a:pt x="2382042" y="2848798"/>
                    </a:lnTo>
                    <a:lnTo>
                      <a:pt x="2376580" y="2857569"/>
                    </a:lnTo>
                    <a:lnTo>
                      <a:pt x="2375146" y="2866944"/>
                    </a:lnTo>
                    <a:lnTo>
                      <a:pt x="2370676" y="2875655"/>
                    </a:lnTo>
                    <a:lnTo>
                      <a:pt x="2369240" y="2885030"/>
                    </a:lnTo>
                    <a:lnTo>
                      <a:pt x="2367756" y="2893565"/>
                    </a:lnTo>
                    <a:lnTo>
                      <a:pt x="2368310" y="2902820"/>
                    </a:lnTo>
                    <a:lnTo>
                      <a:pt x="2367278" y="2918927"/>
                    </a:lnTo>
                    <a:lnTo>
                      <a:pt x="2368234" y="2934914"/>
                    </a:lnTo>
                    <a:lnTo>
                      <a:pt x="2373168" y="2950664"/>
                    </a:lnTo>
                    <a:lnTo>
                      <a:pt x="2379194" y="2968038"/>
                    </a:lnTo>
                    <a:lnTo>
                      <a:pt x="2386016" y="2981986"/>
                    </a:lnTo>
                    <a:lnTo>
                      <a:pt x="2396816" y="2995695"/>
                    </a:lnTo>
                    <a:lnTo>
                      <a:pt x="2406618" y="3009465"/>
                    </a:lnTo>
                    <a:lnTo>
                      <a:pt x="2420400" y="3022998"/>
                    </a:lnTo>
                    <a:lnTo>
                      <a:pt x="2426668" y="3027689"/>
                    </a:lnTo>
                    <a:lnTo>
                      <a:pt x="2435024" y="3033945"/>
                    </a:lnTo>
                    <a:lnTo>
                      <a:pt x="2442336" y="3039420"/>
                    </a:lnTo>
                    <a:lnTo>
                      <a:pt x="2454672" y="3045437"/>
                    </a:lnTo>
                    <a:lnTo>
                      <a:pt x="2461984" y="3050912"/>
                    </a:lnTo>
                    <a:lnTo>
                      <a:pt x="2474318" y="3056930"/>
                    </a:lnTo>
                    <a:lnTo>
                      <a:pt x="2478452" y="3059145"/>
                    </a:lnTo>
                    <a:close/>
                    <a:moveTo>
                      <a:pt x="2962718" y="2121625"/>
                    </a:moveTo>
                    <a:lnTo>
                      <a:pt x="1158398" y="2122762"/>
                    </a:lnTo>
                    <a:cubicBezTo>
                      <a:pt x="1153030" y="2127110"/>
                      <a:pt x="1147662" y="2131338"/>
                      <a:pt x="1142292" y="2135685"/>
                    </a:cubicBezTo>
                    <a:cubicBezTo>
                      <a:pt x="1137596" y="2140033"/>
                      <a:pt x="1133568" y="2144380"/>
                      <a:pt x="1128872" y="2148727"/>
                    </a:cubicBezTo>
                    <a:lnTo>
                      <a:pt x="1114780" y="2162826"/>
                    </a:lnTo>
                    <a:cubicBezTo>
                      <a:pt x="1110752" y="2167173"/>
                      <a:pt x="1106056" y="2171403"/>
                      <a:pt x="1102030" y="2175751"/>
                    </a:cubicBezTo>
                    <a:cubicBezTo>
                      <a:pt x="1098004" y="2180451"/>
                      <a:pt x="1093306" y="2185268"/>
                      <a:pt x="1089280" y="2189967"/>
                    </a:cubicBezTo>
                    <a:cubicBezTo>
                      <a:pt x="1084582" y="2194314"/>
                      <a:pt x="1079884" y="2198544"/>
                      <a:pt x="1075188" y="2202892"/>
                    </a:cubicBezTo>
                    <a:cubicBezTo>
                      <a:pt x="1070490" y="2207239"/>
                      <a:pt x="1066464" y="2211469"/>
                      <a:pt x="1061768" y="2215816"/>
                    </a:cubicBezTo>
                    <a:cubicBezTo>
                      <a:pt x="1057068" y="2220515"/>
                      <a:pt x="1052372" y="2225332"/>
                      <a:pt x="1047674" y="2230032"/>
                    </a:cubicBezTo>
                    <a:cubicBezTo>
                      <a:pt x="1042976" y="2234380"/>
                      <a:pt x="1037610" y="2238610"/>
                      <a:pt x="1032912" y="2242957"/>
                    </a:cubicBezTo>
                    <a:cubicBezTo>
                      <a:pt x="1028214" y="2247656"/>
                      <a:pt x="1024188" y="2252356"/>
                      <a:pt x="1019490" y="2257056"/>
                    </a:cubicBezTo>
                    <a:lnTo>
                      <a:pt x="1005398" y="2270098"/>
                    </a:lnTo>
                    <a:cubicBezTo>
                      <a:pt x="1001372" y="2274445"/>
                      <a:pt x="996674" y="2278674"/>
                      <a:pt x="992648" y="2283021"/>
                    </a:cubicBezTo>
                    <a:cubicBezTo>
                      <a:pt x="988622" y="2287721"/>
                      <a:pt x="983926" y="2292421"/>
                      <a:pt x="979898" y="2297120"/>
                    </a:cubicBezTo>
                    <a:lnTo>
                      <a:pt x="965806" y="2310162"/>
                    </a:lnTo>
                    <a:cubicBezTo>
                      <a:pt x="961110" y="2314862"/>
                      <a:pt x="957082" y="2319562"/>
                      <a:pt x="952386" y="2324261"/>
                    </a:cubicBezTo>
                    <a:cubicBezTo>
                      <a:pt x="947688" y="2328608"/>
                      <a:pt x="942990" y="2332838"/>
                      <a:pt x="938294" y="2337185"/>
                    </a:cubicBezTo>
                    <a:cubicBezTo>
                      <a:pt x="932926" y="2341179"/>
                      <a:pt x="928228" y="2345058"/>
                      <a:pt x="922860" y="2349052"/>
                    </a:cubicBezTo>
                    <a:cubicBezTo>
                      <a:pt x="918832" y="2353399"/>
                      <a:pt x="914136" y="2357630"/>
                      <a:pt x="910110" y="2361977"/>
                    </a:cubicBezTo>
                    <a:lnTo>
                      <a:pt x="894004" y="2372550"/>
                    </a:lnTo>
                    <a:cubicBezTo>
                      <a:pt x="889306" y="2377251"/>
                      <a:pt x="885280" y="2382068"/>
                      <a:pt x="880582" y="2386767"/>
                    </a:cubicBezTo>
                    <a:cubicBezTo>
                      <a:pt x="875214" y="2390292"/>
                      <a:pt x="870518" y="2393816"/>
                      <a:pt x="865148" y="2397342"/>
                    </a:cubicBezTo>
                    <a:lnTo>
                      <a:pt x="851056" y="2411441"/>
                    </a:lnTo>
                    <a:cubicBezTo>
                      <a:pt x="847032" y="2415788"/>
                      <a:pt x="842332" y="2420135"/>
                      <a:pt x="838308" y="2424483"/>
                    </a:cubicBezTo>
                    <a:lnTo>
                      <a:pt x="824216" y="2438582"/>
                    </a:lnTo>
                    <a:cubicBezTo>
                      <a:pt x="818846" y="2442106"/>
                      <a:pt x="814150" y="2445631"/>
                      <a:pt x="808782" y="2449156"/>
                    </a:cubicBezTo>
                    <a:cubicBezTo>
                      <a:pt x="803412" y="2453503"/>
                      <a:pt x="798716" y="2457850"/>
                      <a:pt x="793348" y="2462197"/>
                    </a:cubicBezTo>
                    <a:lnTo>
                      <a:pt x="777242" y="2476296"/>
                    </a:lnTo>
                    <a:cubicBezTo>
                      <a:pt x="773214" y="2480644"/>
                      <a:pt x="768518" y="2484874"/>
                      <a:pt x="764492" y="2489221"/>
                    </a:cubicBezTo>
                    <a:cubicBezTo>
                      <a:pt x="759122" y="2493215"/>
                      <a:pt x="754426" y="2497092"/>
                      <a:pt x="749058" y="2501088"/>
                    </a:cubicBezTo>
                    <a:cubicBezTo>
                      <a:pt x="743688" y="2505435"/>
                      <a:pt x="737650" y="2509664"/>
                      <a:pt x="732282" y="2514011"/>
                    </a:cubicBezTo>
                    <a:cubicBezTo>
                      <a:pt x="726912" y="2518711"/>
                      <a:pt x="722216" y="2523411"/>
                      <a:pt x="716848" y="2528110"/>
                    </a:cubicBezTo>
                    <a:cubicBezTo>
                      <a:pt x="712820" y="2532457"/>
                      <a:pt x="708124" y="2536805"/>
                      <a:pt x="704096" y="2541152"/>
                    </a:cubicBezTo>
                    <a:cubicBezTo>
                      <a:pt x="698056" y="2545030"/>
                      <a:pt x="691348" y="2549025"/>
                      <a:pt x="685308" y="2552902"/>
                    </a:cubicBezTo>
                    <a:cubicBezTo>
                      <a:pt x="679940" y="2556427"/>
                      <a:pt x="675242" y="2559951"/>
                      <a:pt x="669874" y="2563475"/>
                    </a:cubicBezTo>
                    <a:cubicBezTo>
                      <a:pt x="663834" y="2567471"/>
                      <a:pt x="658466" y="2571348"/>
                      <a:pt x="652426" y="2575342"/>
                    </a:cubicBezTo>
                    <a:cubicBezTo>
                      <a:pt x="647058" y="2579689"/>
                      <a:pt x="642360" y="2583919"/>
                      <a:pt x="636992" y="2588267"/>
                    </a:cubicBezTo>
                    <a:cubicBezTo>
                      <a:pt x="630954" y="2591792"/>
                      <a:pt x="624242" y="2595316"/>
                      <a:pt x="618202" y="2598842"/>
                    </a:cubicBezTo>
                    <a:cubicBezTo>
                      <a:pt x="612834" y="2603541"/>
                      <a:pt x="608138" y="2608358"/>
                      <a:pt x="602768" y="2613058"/>
                    </a:cubicBezTo>
                    <a:cubicBezTo>
                      <a:pt x="596728" y="2616582"/>
                      <a:pt x="591360" y="2620108"/>
                      <a:pt x="585322" y="2623632"/>
                    </a:cubicBezTo>
                    <a:cubicBezTo>
                      <a:pt x="579952" y="2628332"/>
                      <a:pt x="575254" y="2633031"/>
                      <a:pt x="569888" y="2637731"/>
                    </a:cubicBezTo>
                    <a:lnTo>
                      <a:pt x="549756" y="2648306"/>
                    </a:lnTo>
                    <a:cubicBezTo>
                      <a:pt x="543716" y="2652300"/>
                      <a:pt x="537004" y="2656177"/>
                      <a:pt x="530966" y="2660172"/>
                    </a:cubicBezTo>
                    <a:cubicBezTo>
                      <a:pt x="524928" y="2664519"/>
                      <a:pt x="519558" y="2668749"/>
                      <a:pt x="513518" y="2673096"/>
                    </a:cubicBezTo>
                    <a:lnTo>
                      <a:pt x="495400" y="2687195"/>
                    </a:lnTo>
                    <a:cubicBezTo>
                      <a:pt x="488690" y="2690721"/>
                      <a:pt x="482650" y="2694362"/>
                      <a:pt x="475940" y="2697888"/>
                    </a:cubicBezTo>
                    <a:cubicBezTo>
                      <a:pt x="470572" y="2701765"/>
                      <a:pt x="464532" y="2705759"/>
                      <a:pt x="459164" y="2709636"/>
                    </a:cubicBezTo>
                    <a:cubicBezTo>
                      <a:pt x="453124" y="2713983"/>
                      <a:pt x="447756" y="2718213"/>
                      <a:pt x="441716" y="2722560"/>
                    </a:cubicBezTo>
                    <a:lnTo>
                      <a:pt x="421584" y="2735602"/>
                    </a:lnTo>
                    <a:cubicBezTo>
                      <a:pt x="414202" y="2739479"/>
                      <a:pt x="406822" y="2743475"/>
                      <a:pt x="399440" y="2747352"/>
                    </a:cubicBezTo>
                    <a:lnTo>
                      <a:pt x="381322" y="2757926"/>
                    </a:lnTo>
                    <a:cubicBezTo>
                      <a:pt x="374612" y="2761921"/>
                      <a:pt x="367900" y="2765798"/>
                      <a:pt x="361190" y="2769793"/>
                    </a:cubicBezTo>
                    <a:cubicBezTo>
                      <a:pt x="354480" y="2774140"/>
                      <a:pt x="348440" y="2778370"/>
                      <a:pt x="341730" y="2782717"/>
                    </a:cubicBezTo>
                    <a:cubicBezTo>
                      <a:pt x="334348" y="2786594"/>
                      <a:pt x="326296" y="2790588"/>
                      <a:pt x="318914" y="2794465"/>
                    </a:cubicBezTo>
                    <a:lnTo>
                      <a:pt x="296770" y="2805041"/>
                    </a:lnTo>
                    <a:cubicBezTo>
                      <a:pt x="289388" y="2809035"/>
                      <a:pt x="282006" y="2812912"/>
                      <a:pt x="274624" y="2816907"/>
                    </a:cubicBezTo>
                    <a:cubicBezTo>
                      <a:pt x="267914" y="2821255"/>
                      <a:pt x="261204" y="2825485"/>
                      <a:pt x="254494" y="2829831"/>
                    </a:cubicBezTo>
                    <a:cubicBezTo>
                      <a:pt x="246440" y="2833709"/>
                      <a:pt x="237716" y="2837703"/>
                      <a:pt x="229664" y="2841580"/>
                    </a:cubicBezTo>
                    <a:cubicBezTo>
                      <a:pt x="222282" y="2845106"/>
                      <a:pt x="214900" y="2848747"/>
                      <a:pt x="207520" y="2852273"/>
                    </a:cubicBezTo>
                    <a:cubicBezTo>
                      <a:pt x="200138" y="2856150"/>
                      <a:pt x="192086" y="2860144"/>
                      <a:pt x="184704" y="2864021"/>
                    </a:cubicBezTo>
                    <a:cubicBezTo>
                      <a:pt x="177322" y="2868368"/>
                      <a:pt x="169942" y="2872598"/>
                      <a:pt x="162560" y="2876945"/>
                    </a:cubicBezTo>
                    <a:cubicBezTo>
                      <a:pt x="154506" y="2880941"/>
                      <a:pt x="145782" y="2884818"/>
                      <a:pt x="137730" y="2888812"/>
                    </a:cubicBezTo>
                    <a:cubicBezTo>
                      <a:pt x="129678" y="2893160"/>
                      <a:pt x="120954" y="2897390"/>
                      <a:pt x="112902" y="2901737"/>
                    </a:cubicBezTo>
                    <a:cubicBezTo>
                      <a:pt x="104850" y="2905614"/>
                      <a:pt x="96126" y="2909608"/>
                      <a:pt x="88074" y="2913485"/>
                    </a:cubicBezTo>
                    <a:lnTo>
                      <a:pt x="65928" y="2926527"/>
                    </a:lnTo>
                    <a:cubicBezTo>
                      <a:pt x="68612" y="2928878"/>
                      <a:pt x="70626" y="2931227"/>
                      <a:pt x="73310" y="2933577"/>
                    </a:cubicBezTo>
                    <a:lnTo>
                      <a:pt x="83376" y="2944152"/>
                    </a:lnTo>
                    <a:lnTo>
                      <a:pt x="95456" y="2951201"/>
                    </a:lnTo>
                    <a:cubicBezTo>
                      <a:pt x="99480" y="2954725"/>
                      <a:pt x="104178" y="2958251"/>
                      <a:pt x="108204" y="2961775"/>
                    </a:cubicBezTo>
                    <a:lnTo>
                      <a:pt x="120284" y="2971293"/>
                    </a:lnTo>
                    <a:cubicBezTo>
                      <a:pt x="124310" y="2974465"/>
                      <a:pt x="129006" y="2977519"/>
                      <a:pt x="133034" y="2980691"/>
                    </a:cubicBezTo>
                    <a:cubicBezTo>
                      <a:pt x="138402" y="2983394"/>
                      <a:pt x="143100" y="2986213"/>
                      <a:pt x="148468" y="2988916"/>
                    </a:cubicBezTo>
                    <a:cubicBezTo>
                      <a:pt x="153836" y="2992793"/>
                      <a:pt x="159204" y="2996789"/>
                      <a:pt x="164574" y="3000666"/>
                    </a:cubicBezTo>
                    <a:cubicBezTo>
                      <a:pt x="169270" y="3002662"/>
                      <a:pt x="173296" y="3004660"/>
                      <a:pt x="177994" y="3006658"/>
                    </a:cubicBezTo>
                    <a:cubicBezTo>
                      <a:pt x="184032" y="3010535"/>
                      <a:pt x="189402" y="3014529"/>
                      <a:pt x="195442" y="3018406"/>
                    </a:cubicBezTo>
                    <a:cubicBezTo>
                      <a:pt x="200810" y="3020757"/>
                      <a:pt x="205506" y="3023106"/>
                      <a:pt x="210876" y="3025456"/>
                    </a:cubicBezTo>
                    <a:cubicBezTo>
                      <a:pt x="217586" y="3028981"/>
                      <a:pt x="224968" y="3032505"/>
                      <a:pt x="231678" y="3036031"/>
                    </a:cubicBezTo>
                    <a:cubicBezTo>
                      <a:pt x="237716" y="3038380"/>
                      <a:pt x="243756" y="3040848"/>
                      <a:pt x="249796" y="3043197"/>
                    </a:cubicBezTo>
                    <a:lnTo>
                      <a:pt x="269928" y="3053771"/>
                    </a:lnTo>
                    <a:cubicBezTo>
                      <a:pt x="276638" y="3056122"/>
                      <a:pt x="282678" y="3058471"/>
                      <a:pt x="289388" y="3060821"/>
                    </a:cubicBezTo>
                    <a:lnTo>
                      <a:pt x="309520" y="3071396"/>
                    </a:lnTo>
                    <a:lnTo>
                      <a:pt x="329650" y="3078445"/>
                    </a:lnTo>
                    <a:lnTo>
                      <a:pt x="349782" y="3087962"/>
                    </a:lnTo>
                    <a:cubicBezTo>
                      <a:pt x="356494" y="3089960"/>
                      <a:pt x="363204" y="3091839"/>
                      <a:pt x="369914" y="3093837"/>
                    </a:cubicBezTo>
                    <a:cubicBezTo>
                      <a:pt x="377296" y="3097009"/>
                      <a:pt x="384678" y="3100065"/>
                      <a:pt x="392058" y="3103236"/>
                    </a:cubicBezTo>
                    <a:cubicBezTo>
                      <a:pt x="398098" y="3105587"/>
                      <a:pt x="404808" y="3107936"/>
                      <a:pt x="410848" y="3110285"/>
                    </a:cubicBezTo>
                    <a:cubicBezTo>
                      <a:pt x="419572" y="3112988"/>
                      <a:pt x="428296" y="3115809"/>
                      <a:pt x="437018" y="3118511"/>
                    </a:cubicBezTo>
                    <a:cubicBezTo>
                      <a:pt x="444400" y="3120861"/>
                      <a:pt x="451782" y="3123327"/>
                      <a:pt x="459164" y="3125678"/>
                    </a:cubicBezTo>
                    <a:cubicBezTo>
                      <a:pt x="467216" y="3128850"/>
                      <a:pt x="474598" y="3131904"/>
                      <a:pt x="482650" y="3135077"/>
                    </a:cubicBezTo>
                    <a:cubicBezTo>
                      <a:pt x="490032" y="3137075"/>
                      <a:pt x="498084" y="3138954"/>
                      <a:pt x="505466" y="3140952"/>
                    </a:cubicBezTo>
                    <a:cubicBezTo>
                      <a:pt x="513518" y="3143301"/>
                      <a:pt x="520900" y="3145651"/>
                      <a:pt x="528952" y="3148001"/>
                    </a:cubicBezTo>
                    <a:lnTo>
                      <a:pt x="551098" y="3155051"/>
                    </a:lnTo>
                    <a:cubicBezTo>
                      <a:pt x="559150" y="3157047"/>
                      <a:pt x="567874" y="3159045"/>
                      <a:pt x="575926" y="3161043"/>
                    </a:cubicBezTo>
                    <a:cubicBezTo>
                      <a:pt x="583980" y="3163392"/>
                      <a:pt x="592704" y="3165742"/>
                      <a:pt x="600756" y="3168093"/>
                    </a:cubicBezTo>
                    <a:lnTo>
                      <a:pt x="624914" y="3175142"/>
                    </a:lnTo>
                    <a:cubicBezTo>
                      <a:pt x="632966" y="3177492"/>
                      <a:pt x="641690" y="3179841"/>
                      <a:pt x="649742" y="3182192"/>
                    </a:cubicBezTo>
                    <a:cubicBezTo>
                      <a:pt x="659136" y="3184894"/>
                      <a:pt x="667860" y="3187714"/>
                      <a:pt x="677256" y="3190416"/>
                    </a:cubicBezTo>
                    <a:cubicBezTo>
                      <a:pt x="684638" y="3191944"/>
                      <a:pt x="692018" y="3193589"/>
                      <a:pt x="699400" y="3195115"/>
                    </a:cubicBezTo>
                    <a:cubicBezTo>
                      <a:pt x="707452" y="3197466"/>
                      <a:pt x="716176" y="3199932"/>
                      <a:pt x="724228" y="3202283"/>
                    </a:cubicBezTo>
                    <a:cubicBezTo>
                      <a:pt x="732282" y="3203458"/>
                      <a:pt x="741004" y="3204632"/>
                      <a:pt x="749058" y="3205807"/>
                    </a:cubicBezTo>
                    <a:cubicBezTo>
                      <a:pt x="757780" y="3208156"/>
                      <a:pt x="767176" y="3210507"/>
                      <a:pt x="775900" y="3212857"/>
                    </a:cubicBezTo>
                    <a:cubicBezTo>
                      <a:pt x="783952" y="3214384"/>
                      <a:pt x="791334" y="3216029"/>
                      <a:pt x="799386" y="3217557"/>
                    </a:cubicBezTo>
                    <a:cubicBezTo>
                      <a:pt x="807440" y="3219906"/>
                      <a:pt x="816162" y="3222256"/>
                      <a:pt x="824216" y="3224607"/>
                    </a:cubicBezTo>
                    <a:cubicBezTo>
                      <a:pt x="832268" y="3225781"/>
                      <a:pt x="840992" y="3226956"/>
                      <a:pt x="849044" y="3228131"/>
                    </a:cubicBezTo>
                    <a:cubicBezTo>
                      <a:pt x="857768" y="3230481"/>
                      <a:pt x="867162" y="3232831"/>
                      <a:pt x="875886" y="3235180"/>
                    </a:cubicBezTo>
                    <a:cubicBezTo>
                      <a:pt x="883268" y="3236003"/>
                      <a:pt x="891320" y="3236708"/>
                      <a:pt x="898702" y="3237531"/>
                    </a:cubicBezTo>
                    <a:cubicBezTo>
                      <a:pt x="906754" y="3239880"/>
                      <a:pt x="914808" y="3242347"/>
                      <a:pt x="922860" y="3244698"/>
                    </a:cubicBezTo>
                    <a:cubicBezTo>
                      <a:pt x="930912" y="3245519"/>
                      <a:pt x="939636" y="3246225"/>
                      <a:pt x="947688" y="3247047"/>
                    </a:cubicBezTo>
                    <a:cubicBezTo>
                      <a:pt x="955740" y="3249045"/>
                      <a:pt x="964464" y="3250924"/>
                      <a:pt x="972516" y="3252922"/>
                    </a:cubicBezTo>
                    <a:cubicBezTo>
                      <a:pt x="980570" y="3253744"/>
                      <a:pt x="989292" y="3254450"/>
                      <a:pt x="997346" y="3255271"/>
                    </a:cubicBezTo>
                    <a:lnTo>
                      <a:pt x="1022176" y="3259972"/>
                    </a:lnTo>
                    <a:lnTo>
                      <a:pt x="1047004" y="3264670"/>
                    </a:lnTo>
                    <a:cubicBezTo>
                      <a:pt x="1055056" y="3266198"/>
                      <a:pt x="1062438" y="3267843"/>
                      <a:pt x="1070490" y="3269371"/>
                    </a:cubicBezTo>
                    <a:cubicBezTo>
                      <a:pt x="1077872" y="3270194"/>
                      <a:pt x="1085254" y="3270898"/>
                      <a:pt x="1092636" y="3271720"/>
                    </a:cubicBezTo>
                    <a:cubicBezTo>
                      <a:pt x="1100016" y="3272543"/>
                      <a:pt x="1107398" y="3273248"/>
                      <a:pt x="1114780" y="3274071"/>
                    </a:cubicBezTo>
                    <a:cubicBezTo>
                      <a:pt x="1122162" y="3274422"/>
                      <a:pt x="1130214" y="3274893"/>
                      <a:pt x="1137596" y="3275246"/>
                    </a:cubicBezTo>
                    <a:cubicBezTo>
                      <a:pt x="1145648" y="3276890"/>
                      <a:pt x="1154372" y="3278418"/>
                      <a:pt x="1162424" y="3280063"/>
                    </a:cubicBezTo>
                    <a:lnTo>
                      <a:pt x="1183228" y="3280063"/>
                    </a:lnTo>
                    <a:lnTo>
                      <a:pt x="1206044" y="3284762"/>
                    </a:lnTo>
                    <a:lnTo>
                      <a:pt x="1228188" y="3284762"/>
                    </a:lnTo>
                    <a:cubicBezTo>
                      <a:pt x="1235568" y="3286289"/>
                      <a:pt x="1242950" y="3287934"/>
                      <a:pt x="1250332" y="3289462"/>
                    </a:cubicBezTo>
                    <a:lnTo>
                      <a:pt x="1268450" y="3289462"/>
                    </a:lnTo>
                    <a:cubicBezTo>
                      <a:pt x="1275162" y="3290285"/>
                      <a:pt x="1281200" y="3290990"/>
                      <a:pt x="1287910" y="3291811"/>
                    </a:cubicBezTo>
                    <a:lnTo>
                      <a:pt x="1308042" y="3291811"/>
                    </a:lnTo>
                    <a:cubicBezTo>
                      <a:pt x="1314752" y="3292634"/>
                      <a:pt x="1321464" y="3293339"/>
                      <a:pt x="1328174" y="3294162"/>
                    </a:cubicBezTo>
                    <a:lnTo>
                      <a:pt x="1345622" y="3294162"/>
                    </a:lnTo>
                    <a:cubicBezTo>
                      <a:pt x="1351660" y="3294984"/>
                      <a:pt x="1357700" y="3295690"/>
                      <a:pt x="1363738" y="3296511"/>
                    </a:cubicBezTo>
                    <a:lnTo>
                      <a:pt x="1382530" y="3296511"/>
                    </a:lnTo>
                    <a:cubicBezTo>
                      <a:pt x="1388568" y="3296864"/>
                      <a:pt x="1393936" y="3297335"/>
                      <a:pt x="1399976" y="3297686"/>
                    </a:cubicBezTo>
                    <a:lnTo>
                      <a:pt x="2268844" y="3292571"/>
                    </a:lnTo>
                    <a:lnTo>
                      <a:pt x="2382300" y="3166222"/>
                    </a:lnTo>
                    <a:lnTo>
                      <a:pt x="2373598" y="3162206"/>
                    </a:lnTo>
                    <a:lnTo>
                      <a:pt x="2358278" y="3156313"/>
                    </a:lnTo>
                    <a:lnTo>
                      <a:pt x="2344136" y="3149241"/>
                    </a:lnTo>
                    <a:lnTo>
                      <a:pt x="2333528" y="3142170"/>
                    </a:lnTo>
                    <a:lnTo>
                      <a:pt x="2319384" y="3133920"/>
                    </a:lnTo>
                    <a:lnTo>
                      <a:pt x="2306420" y="3124491"/>
                    </a:lnTo>
                    <a:lnTo>
                      <a:pt x="2292278" y="3115063"/>
                    </a:lnTo>
                    <a:lnTo>
                      <a:pt x="2284028" y="3106812"/>
                    </a:lnTo>
                    <a:lnTo>
                      <a:pt x="2269886" y="3097383"/>
                    </a:lnTo>
                    <a:lnTo>
                      <a:pt x="2261636" y="3089134"/>
                    </a:lnTo>
                    <a:lnTo>
                      <a:pt x="2252208" y="3079703"/>
                    </a:lnTo>
                    <a:lnTo>
                      <a:pt x="2245136" y="3072633"/>
                    </a:lnTo>
                    <a:lnTo>
                      <a:pt x="2229814" y="3052596"/>
                    </a:lnTo>
                    <a:lnTo>
                      <a:pt x="2219208" y="3032560"/>
                    </a:lnTo>
                    <a:lnTo>
                      <a:pt x="2207422" y="3012524"/>
                    </a:lnTo>
                    <a:lnTo>
                      <a:pt x="2200350" y="2992487"/>
                    </a:lnTo>
                    <a:lnTo>
                      <a:pt x="2194458" y="2967737"/>
                    </a:lnTo>
                    <a:lnTo>
                      <a:pt x="2189742" y="2945344"/>
                    </a:lnTo>
                    <a:lnTo>
                      <a:pt x="2189742" y="2922951"/>
                    </a:lnTo>
                    <a:lnTo>
                      <a:pt x="2192100" y="2900558"/>
                    </a:lnTo>
                    <a:lnTo>
                      <a:pt x="2192100" y="2887593"/>
                    </a:lnTo>
                    <a:lnTo>
                      <a:pt x="2194458" y="2875806"/>
                    </a:lnTo>
                    <a:lnTo>
                      <a:pt x="2196814" y="2862842"/>
                    </a:lnTo>
                    <a:lnTo>
                      <a:pt x="2202708" y="2851056"/>
                    </a:lnTo>
                    <a:lnTo>
                      <a:pt x="2205064" y="2838092"/>
                    </a:lnTo>
                    <a:lnTo>
                      <a:pt x="2212136" y="2826306"/>
                    </a:lnTo>
                    <a:lnTo>
                      <a:pt x="2219208" y="2815699"/>
                    </a:lnTo>
                    <a:lnTo>
                      <a:pt x="2225100" y="2803912"/>
                    </a:lnTo>
                    <a:lnTo>
                      <a:pt x="2229814" y="2790947"/>
                    </a:lnTo>
                    <a:lnTo>
                      <a:pt x="2236886" y="2776805"/>
                    </a:lnTo>
                    <a:lnTo>
                      <a:pt x="2245136" y="2763841"/>
                    </a:lnTo>
                    <a:lnTo>
                      <a:pt x="2254564" y="2750876"/>
                    </a:lnTo>
                    <a:lnTo>
                      <a:pt x="2261636" y="2736732"/>
                    </a:lnTo>
                    <a:lnTo>
                      <a:pt x="2272242" y="2723768"/>
                    </a:lnTo>
                    <a:lnTo>
                      <a:pt x="2284028" y="2709624"/>
                    </a:lnTo>
                    <a:lnTo>
                      <a:pt x="2296992" y="2699018"/>
                    </a:lnTo>
                    <a:lnTo>
                      <a:pt x="2308778" y="2686053"/>
                    </a:lnTo>
                    <a:lnTo>
                      <a:pt x="2319384" y="2671910"/>
                    </a:lnTo>
                    <a:lnTo>
                      <a:pt x="2333528" y="2658945"/>
                    </a:lnTo>
                    <a:lnTo>
                      <a:pt x="2348850" y="2647160"/>
                    </a:lnTo>
                    <a:lnTo>
                      <a:pt x="2361814" y="2634195"/>
                    </a:lnTo>
                    <a:lnTo>
                      <a:pt x="2378314" y="2620051"/>
                    </a:lnTo>
                    <a:lnTo>
                      <a:pt x="2393636" y="2607087"/>
                    </a:lnTo>
                    <a:lnTo>
                      <a:pt x="2413670" y="2596479"/>
                    </a:lnTo>
                    <a:lnTo>
                      <a:pt x="2428992" y="2582337"/>
                    </a:lnTo>
                    <a:lnTo>
                      <a:pt x="2447848" y="2569372"/>
                    </a:lnTo>
                    <a:lnTo>
                      <a:pt x="2463170" y="2555229"/>
                    </a:lnTo>
                    <a:lnTo>
                      <a:pt x="2483206" y="2542264"/>
                    </a:lnTo>
                    <a:lnTo>
                      <a:pt x="2500884" y="2529300"/>
                    </a:lnTo>
                    <a:lnTo>
                      <a:pt x="2520920" y="2517514"/>
                    </a:lnTo>
                    <a:lnTo>
                      <a:pt x="2540956" y="2504550"/>
                    </a:lnTo>
                    <a:lnTo>
                      <a:pt x="2560992" y="2492763"/>
                    </a:lnTo>
                    <a:lnTo>
                      <a:pt x="2582206" y="2479798"/>
                    </a:lnTo>
                    <a:lnTo>
                      <a:pt x="2602240" y="2468013"/>
                    </a:lnTo>
                    <a:lnTo>
                      <a:pt x="2619920" y="2457405"/>
                    </a:lnTo>
                    <a:lnTo>
                      <a:pt x="2642312" y="2445620"/>
                    </a:lnTo>
                    <a:lnTo>
                      <a:pt x="2662348" y="2435012"/>
                    </a:lnTo>
                    <a:lnTo>
                      <a:pt x="2687098" y="2425583"/>
                    </a:lnTo>
                    <a:lnTo>
                      <a:pt x="2709490" y="2414975"/>
                    </a:lnTo>
                    <a:lnTo>
                      <a:pt x="2734240" y="2405547"/>
                    </a:lnTo>
                    <a:lnTo>
                      <a:pt x="2754276" y="2392582"/>
                    </a:lnTo>
                    <a:lnTo>
                      <a:pt x="2779026" y="2383154"/>
                    </a:lnTo>
                    <a:lnTo>
                      <a:pt x="2801418" y="2371368"/>
                    </a:lnTo>
                    <a:lnTo>
                      <a:pt x="2826168" y="2363117"/>
                    </a:lnTo>
                    <a:lnTo>
                      <a:pt x="2848562" y="2353689"/>
                    </a:lnTo>
                    <a:lnTo>
                      <a:pt x="2873312" y="2345439"/>
                    </a:lnTo>
                    <a:lnTo>
                      <a:pt x="2898062" y="2336009"/>
                    </a:lnTo>
                    <a:lnTo>
                      <a:pt x="2923990" y="2328939"/>
                    </a:lnTo>
                    <a:lnTo>
                      <a:pt x="2946382" y="2320688"/>
                    </a:lnTo>
                    <a:lnTo>
                      <a:pt x="2971132" y="2311259"/>
                    </a:lnTo>
                    <a:lnTo>
                      <a:pt x="2995882" y="2303010"/>
                    </a:lnTo>
                    <a:lnTo>
                      <a:pt x="3022988" y="2295938"/>
                    </a:lnTo>
                    <a:lnTo>
                      <a:pt x="3047738" y="2288866"/>
                    </a:lnTo>
                    <a:lnTo>
                      <a:pt x="3074846" y="2281794"/>
                    </a:lnTo>
                    <a:lnTo>
                      <a:pt x="3087902" y="2278956"/>
                    </a:lnTo>
                    <a:lnTo>
                      <a:pt x="3047092" y="2227665"/>
                    </a:lnTo>
                    <a:lnTo>
                      <a:pt x="3043272" y="2228678"/>
                    </a:lnTo>
                    <a:lnTo>
                      <a:pt x="3025612" y="2233361"/>
                    </a:lnTo>
                    <a:lnTo>
                      <a:pt x="3007954" y="2239215"/>
                    </a:lnTo>
                    <a:lnTo>
                      <a:pt x="2987940" y="2243899"/>
                    </a:lnTo>
                    <a:lnTo>
                      <a:pt x="2969104" y="2248583"/>
                    </a:lnTo>
                    <a:lnTo>
                      <a:pt x="2951444" y="2255607"/>
                    </a:lnTo>
                    <a:lnTo>
                      <a:pt x="2933786" y="2261461"/>
                    </a:lnTo>
                    <a:lnTo>
                      <a:pt x="2913772" y="2266145"/>
                    </a:lnTo>
                    <a:lnTo>
                      <a:pt x="2898466" y="2273169"/>
                    </a:lnTo>
                    <a:lnTo>
                      <a:pt x="2878452" y="2280195"/>
                    </a:lnTo>
                    <a:lnTo>
                      <a:pt x="2861972" y="2286049"/>
                    </a:lnTo>
                    <a:lnTo>
                      <a:pt x="2844312" y="2293074"/>
                    </a:lnTo>
                    <a:lnTo>
                      <a:pt x="2829008" y="2300100"/>
                    </a:lnTo>
                    <a:lnTo>
                      <a:pt x="2810170" y="2305954"/>
                    </a:lnTo>
                    <a:lnTo>
                      <a:pt x="2794866" y="2312978"/>
                    </a:lnTo>
                    <a:lnTo>
                      <a:pt x="2774852" y="2320004"/>
                    </a:lnTo>
                    <a:lnTo>
                      <a:pt x="2759548" y="2327028"/>
                    </a:lnTo>
                    <a:lnTo>
                      <a:pt x="2741888" y="2332883"/>
                    </a:lnTo>
                    <a:lnTo>
                      <a:pt x="2725406" y="2339908"/>
                    </a:lnTo>
                    <a:lnTo>
                      <a:pt x="2707748" y="2346933"/>
                    </a:lnTo>
                    <a:lnTo>
                      <a:pt x="2692442" y="2352787"/>
                    </a:lnTo>
                    <a:lnTo>
                      <a:pt x="2674784" y="2362153"/>
                    </a:lnTo>
                    <a:lnTo>
                      <a:pt x="2660656" y="2371521"/>
                    </a:lnTo>
                    <a:lnTo>
                      <a:pt x="2642996" y="2377375"/>
                    </a:lnTo>
                    <a:lnTo>
                      <a:pt x="2627692" y="2384400"/>
                    </a:lnTo>
                    <a:lnTo>
                      <a:pt x="2613564" y="2393766"/>
                    </a:lnTo>
                    <a:lnTo>
                      <a:pt x="2595904" y="2401962"/>
                    </a:lnTo>
                    <a:lnTo>
                      <a:pt x="2582956" y="2408988"/>
                    </a:lnTo>
                    <a:lnTo>
                      <a:pt x="2564118" y="2417184"/>
                    </a:lnTo>
                    <a:lnTo>
                      <a:pt x="2553522" y="2426550"/>
                    </a:lnTo>
                    <a:lnTo>
                      <a:pt x="2539396" y="2435917"/>
                    </a:lnTo>
                    <a:lnTo>
                      <a:pt x="1235476" y="2435917"/>
                    </a:lnTo>
                    <a:lnTo>
                      <a:pt x="1230972" y="2439450"/>
                    </a:lnTo>
                    <a:lnTo>
                      <a:pt x="1217996" y="2453577"/>
                    </a:lnTo>
                    <a:lnTo>
                      <a:pt x="1202662" y="2464173"/>
                    </a:lnTo>
                    <a:lnTo>
                      <a:pt x="1186146" y="2478300"/>
                    </a:lnTo>
                    <a:lnTo>
                      <a:pt x="1170810" y="2488895"/>
                    </a:lnTo>
                    <a:lnTo>
                      <a:pt x="1157834" y="2503022"/>
                    </a:lnTo>
                    <a:lnTo>
                      <a:pt x="1141318" y="2513618"/>
                    </a:lnTo>
                    <a:lnTo>
                      <a:pt x="1125982" y="2527745"/>
                    </a:lnTo>
                    <a:lnTo>
                      <a:pt x="1110648" y="2540695"/>
                    </a:lnTo>
                    <a:lnTo>
                      <a:pt x="1096490" y="2553646"/>
                    </a:lnTo>
                    <a:lnTo>
                      <a:pt x="1078796" y="2565418"/>
                    </a:lnTo>
                    <a:lnTo>
                      <a:pt x="1063460" y="2578368"/>
                    </a:lnTo>
                    <a:lnTo>
                      <a:pt x="1048124" y="2590141"/>
                    </a:lnTo>
                    <a:lnTo>
                      <a:pt x="1033968" y="2603091"/>
                    </a:lnTo>
                    <a:lnTo>
                      <a:pt x="1016274" y="2614863"/>
                    </a:lnTo>
                    <a:lnTo>
                      <a:pt x="1000938" y="2627814"/>
                    </a:lnTo>
                    <a:lnTo>
                      <a:pt x="984422" y="2641942"/>
                    </a:lnTo>
                    <a:lnTo>
                      <a:pt x="971446" y="2654891"/>
                    </a:lnTo>
                    <a:lnTo>
                      <a:pt x="953752" y="2665487"/>
                    </a:lnTo>
                    <a:lnTo>
                      <a:pt x="934876" y="2677259"/>
                    </a:lnTo>
                    <a:lnTo>
                      <a:pt x="917182" y="2687855"/>
                    </a:lnTo>
                    <a:lnTo>
                      <a:pt x="901846" y="2701983"/>
                    </a:lnTo>
                    <a:lnTo>
                      <a:pt x="884152" y="2712579"/>
                    </a:lnTo>
                    <a:lnTo>
                      <a:pt x="867634" y="2726706"/>
                    </a:lnTo>
                    <a:lnTo>
                      <a:pt x="849940" y="2737300"/>
                    </a:lnTo>
                    <a:lnTo>
                      <a:pt x="834604" y="2751428"/>
                    </a:lnTo>
                    <a:lnTo>
                      <a:pt x="816910" y="2762024"/>
                    </a:lnTo>
                    <a:lnTo>
                      <a:pt x="799214" y="2773797"/>
                    </a:lnTo>
                    <a:lnTo>
                      <a:pt x="780340" y="2784392"/>
                    </a:lnTo>
                    <a:lnTo>
                      <a:pt x="765004" y="2798519"/>
                    </a:lnTo>
                    <a:lnTo>
                      <a:pt x="744950" y="2809115"/>
                    </a:lnTo>
                    <a:lnTo>
                      <a:pt x="729614" y="2820888"/>
                    </a:lnTo>
                    <a:lnTo>
                      <a:pt x="709560" y="2831483"/>
                    </a:lnTo>
                    <a:lnTo>
                      <a:pt x="693044" y="2844434"/>
                    </a:lnTo>
                    <a:lnTo>
                      <a:pt x="672990" y="2853852"/>
                    </a:lnTo>
                    <a:lnTo>
                      <a:pt x="655296" y="2867980"/>
                    </a:lnTo>
                    <a:lnTo>
                      <a:pt x="635240" y="2876220"/>
                    </a:lnTo>
                    <a:lnTo>
                      <a:pt x="617546" y="2890348"/>
                    </a:lnTo>
                    <a:lnTo>
                      <a:pt x="596312" y="2898588"/>
                    </a:lnTo>
                    <a:lnTo>
                      <a:pt x="576258" y="2912715"/>
                    </a:lnTo>
                    <a:lnTo>
                      <a:pt x="556202" y="2920956"/>
                    </a:lnTo>
                    <a:lnTo>
                      <a:pt x="538508" y="2935083"/>
                    </a:lnTo>
                    <a:lnTo>
                      <a:pt x="516094" y="2943326"/>
                    </a:lnTo>
                    <a:lnTo>
                      <a:pt x="496040" y="2955098"/>
                    </a:lnTo>
                    <a:lnTo>
                      <a:pt x="484898" y="2960984"/>
                    </a:lnTo>
                    <a:lnTo>
                      <a:pt x="2069548" y="2960984"/>
                    </a:lnTo>
                    <a:lnTo>
                      <a:pt x="2069548" y="2975035"/>
                    </a:lnTo>
                    <a:lnTo>
                      <a:pt x="2074260" y="2990254"/>
                    </a:lnTo>
                    <a:lnTo>
                      <a:pt x="2078972" y="3005474"/>
                    </a:lnTo>
                    <a:lnTo>
                      <a:pt x="2086040" y="3021865"/>
                    </a:lnTo>
                    <a:lnTo>
                      <a:pt x="2091930" y="3034743"/>
                    </a:lnTo>
                    <a:lnTo>
                      <a:pt x="2101354" y="3047622"/>
                    </a:lnTo>
                    <a:lnTo>
                      <a:pt x="2109600" y="3061672"/>
                    </a:lnTo>
                    <a:lnTo>
                      <a:pt x="2123734" y="3076891"/>
                    </a:lnTo>
                    <a:lnTo>
                      <a:pt x="2134336" y="3088600"/>
                    </a:lnTo>
                    <a:lnTo>
                      <a:pt x="2148472" y="3101478"/>
                    </a:lnTo>
                    <a:lnTo>
                      <a:pt x="2161432" y="3114357"/>
                    </a:lnTo>
                    <a:lnTo>
                      <a:pt x="2179100" y="3128406"/>
                    </a:lnTo>
                    <a:lnTo>
                      <a:pt x="2195592" y="3138944"/>
                    </a:lnTo>
                    <a:lnTo>
                      <a:pt x="2215618" y="3150650"/>
                    </a:lnTo>
                    <a:lnTo>
                      <a:pt x="2235644" y="3161188"/>
                    </a:lnTo>
                    <a:lnTo>
                      <a:pt x="2258026" y="3172895"/>
                    </a:lnTo>
                    <a:lnTo>
                      <a:pt x="893914" y="3172895"/>
                    </a:lnTo>
                    <a:lnTo>
                      <a:pt x="878602" y="3170555"/>
                    </a:lnTo>
                    <a:lnTo>
                      <a:pt x="863288" y="3168213"/>
                    </a:lnTo>
                    <a:lnTo>
                      <a:pt x="844440" y="3165871"/>
                    </a:lnTo>
                    <a:lnTo>
                      <a:pt x="829126" y="3165871"/>
                    </a:lnTo>
                    <a:lnTo>
                      <a:pt x="811456" y="3163529"/>
                    </a:lnTo>
                    <a:lnTo>
                      <a:pt x="793786" y="3161188"/>
                    </a:lnTo>
                    <a:lnTo>
                      <a:pt x="776118" y="3158846"/>
                    </a:lnTo>
                    <a:lnTo>
                      <a:pt x="757268" y="3157675"/>
                    </a:lnTo>
                    <a:lnTo>
                      <a:pt x="737242" y="3152992"/>
                    </a:lnTo>
                    <a:lnTo>
                      <a:pt x="717216" y="3148310"/>
                    </a:lnTo>
                    <a:lnTo>
                      <a:pt x="697190" y="3143626"/>
                    </a:lnTo>
                    <a:lnTo>
                      <a:pt x="677166" y="3141284"/>
                    </a:lnTo>
                    <a:lnTo>
                      <a:pt x="654784" y="3135431"/>
                    </a:lnTo>
                    <a:lnTo>
                      <a:pt x="634758" y="3133089"/>
                    </a:lnTo>
                    <a:lnTo>
                      <a:pt x="614732" y="3126065"/>
                    </a:lnTo>
                    <a:lnTo>
                      <a:pt x="594706" y="3123723"/>
                    </a:lnTo>
                    <a:lnTo>
                      <a:pt x="572324" y="3116699"/>
                    </a:lnTo>
                    <a:lnTo>
                      <a:pt x="549942" y="3110845"/>
                    </a:lnTo>
                    <a:lnTo>
                      <a:pt x="527562" y="3103820"/>
                    </a:lnTo>
                    <a:lnTo>
                      <a:pt x="506358" y="3096796"/>
                    </a:lnTo>
                    <a:lnTo>
                      <a:pt x="486332" y="3090942"/>
                    </a:lnTo>
                    <a:lnTo>
                      <a:pt x="466306" y="3083917"/>
                    </a:lnTo>
                    <a:lnTo>
                      <a:pt x="448636" y="3076891"/>
                    </a:lnTo>
                    <a:lnTo>
                      <a:pt x="430966" y="3069867"/>
                    </a:lnTo>
                    <a:lnTo>
                      <a:pt x="410940" y="3061672"/>
                    </a:lnTo>
                    <a:lnTo>
                      <a:pt x="390914" y="3052306"/>
                    </a:lnTo>
                    <a:lnTo>
                      <a:pt x="372066" y="3044110"/>
                    </a:lnTo>
                    <a:lnTo>
                      <a:pt x="356754" y="3034743"/>
                    </a:lnTo>
                    <a:lnTo>
                      <a:pt x="339082" y="3025377"/>
                    </a:lnTo>
                    <a:lnTo>
                      <a:pt x="323768" y="3017182"/>
                    </a:lnTo>
                    <a:lnTo>
                      <a:pt x="309634" y="3007816"/>
                    </a:lnTo>
                    <a:lnTo>
                      <a:pt x="297256" y="2999988"/>
                    </a:lnTo>
                    <a:lnTo>
                      <a:pt x="296676" y="2999833"/>
                    </a:lnTo>
                    <a:lnTo>
                      <a:pt x="296848" y="2999728"/>
                    </a:lnTo>
                    <a:lnTo>
                      <a:pt x="296676" y="2999620"/>
                    </a:lnTo>
                    <a:lnTo>
                      <a:pt x="297238" y="2999489"/>
                    </a:lnTo>
                    <a:lnTo>
                      <a:pt x="312012" y="2990415"/>
                    </a:lnTo>
                    <a:lnTo>
                      <a:pt x="329706" y="2980997"/>
                    </a:lnTo>
                    <a:lnTo>
                      <a:pt x="346220" y="2972756"/>
                    </a:lnTo>
                    <a:lnTo>
                      <a:pt x="363916" y="2965693"/>
                    </a:lnTo>
                    <a:lnTo>
                      <a:pt x="379252" y="2957453"/>
                    </a:lnTo>
                    <a:lnTo>
                      <a:pt x="399308" y="2950388"/>
                    </a:lnTo>
                    <a:lnTo>
                      <a:pt x="414642" y="2940970"/>
                    </a:lnTo>
                    <a:lnTo>
                      <a:pt x="433516" y="2935083"/>
                    </a:lnTo>
                    <a:lnTo>
                      <a:pt x="451212" y="2923311"/>
                    </a:lnTo>
                    <a:lnTo>
                      <a:pt x="466548" y="2913893"/>
                    </a:lnTo>
                    <a:lnTo>
                      <a:pt x="483062" y="2903297"/>
                    </a:lnTo>
                    <a:lnTo>
                      <a:pt x="503118" y="2893879"/>
                    </a:lnTo>
                    <a:lnTo>
                      <a:pt x="516094" y="2883283"/>
                    </a:lnTo>
                    <a:lnTo>
                      <a:pt x="536148" y="2873865"/>
                    </a:lnTo>
                    <a:lnTo>
                      <a:pt x="551484" y="2865624"/>
                    </a:lnTo>
                    <a:lnTo>
                      <a:pt x="572718" y="2856206"/>
                    </a:lnTo>
                    <a:lnTo>
                      <a:pt x="588054" y="2844434"/>
                    </a:lnTo>
                    <a:lnTo>
                      <a:pt x="605750" y="2833838"/>
                    </a:lnTo>
                    <a:lnTo>
                      <a:pt x="623444" y="2822065"/>
                    </a:lnTo>
                    <a:lnTo>
                      <a:pt x="641138" y="2813824"/>
                    </a:lnTo>
                    <a:lnTo>
                      <a:pt x="657654" y="2799697"/>
                    </a:lnTo>
                    <a:lnTo>
                      <a:pt x="675350" y="2791456"/>
                    </a:lnTo>
                    <a:lnTo>
                      <a:pt x="693044" y="2777329"/>
                    </a:lnTo>
                    <a:lnTo>
                      <a:pt x="710740" y="2769088"/>
                    </a:lnTo>
                    <a:lnTo>
                      <a:pt x="727256" y="2754961"/>
                    </a:lnTo>
                    <a:lnTo>
                      <a:pt x="744950" y="2744365"/>
                    </a:lnTo>
                    <a:lnTo>
                      <a:pt x="762644" y="2732591"/>
                    </a:lnTo>
                    <a:lnTo>
                      <a:pt x="780340" y="2721997"/>
                    </a:lnTo>
                    <a:lnTo>
                      <a:pt x="796856" y="2709046"/>
                    </a:lnTo>
                    <a:lnTo>
                      <a:pt x="816910" y="2697274"/>
                    </a:lnTo>
                    <a:lnTo>
                      <a:pt x="832246" y="2686678"/>
                    </a:lnTo>
                    <a:lnTo>
                      <a:pt x="852300" y="2674906"/>
                    </a:lnTo>
                    <a:lnTo>
                      <a:pt x="867634" y="2661954"/>
                    </a:lnTo>
                    <a:lnTo>
                      <a:pt x="884152" y="2647827"/>
                    </a:lnTo>
                    <a:lnTo>
                      <a:pt x="899486" y="2634877"/>
                    </a:lnTo>
                    <a:lnTo>
                      <a:pt x="917182" y="2623105"/>
                    </a:lnTo>
                    <a:lnTo>
                      <a:pt x="933698" y="2610156"/>
                    </a:lnTo>
                    <a:lnTo>
                      <a:pt x="951392" y="2598382"/>
                    </a:lnTo>
                    <a:lnTo>
                      <a:pt x="966728" y="2585432"/>
                    </a:lnTo>
                    <a:lnTo>
                      <a:pt x="984422" y="2574836"/>
                    </a:lnTo>
                    <a:lnTo>
                      <a:pt x="1000938" y="2560709"/>
                    </a:lnTo>
                    <a:lnTo>
                      <a:pt x="1016274" y="2547759"/>
                    </a:lnTo>
                    <a:lnTo>
                      <a:pt x="1031610" y="2533632"/>
                    </a:lnTo>
                    <a:lnTo>
                      <a:pt x="1049304" y="2523036"/>
                    </a:lnTo>
                    <a:lnTo>
                      <a:pt x="1065820" y="2508909"/>
                    </a:lnTo>
                    <a:lnTo>
                      <a:pt x="1083514" y="2495959"/>
                    </a:lnTo>
                    <a:lnTo>
                      <a:pt x="1098850" y="2483009"/>
                    </a:lnTo>
                    <a:lnTo>
                      <a:pt x="1116544" y="2471236"/>
                    </a:lnTo>
                    <a:lnTo>
                      <a:pt x="1130702" y="2458286"/>
                    </a:lnTo>
                    <a:lnTo>
                      <a:pt x="1148396" y="2444159"/>
                    </a:lnTo>
                    <a:lnTo>
                      <a:pt x="1161372" y="2431209"/>
                    </a:lnTo>
                    <a:lnTo>
                      <a:pt x="1180248" y="2417082"/>
                    </a:lnTo>
                    <a:lnTo>
                      <a:pt x="1195584" y="2404130"/>
                    </a:lnTo>
                    <a:lnTo>
                      <a:pt x="1210918" y="2391181"/>
                    </a:lnTo>
                    <a:lnTo>
                      <a:pt x="1227434" y="2377053"/>
                    </a:lnTo>
                    <a:lnTo>
                      <a:pt x="1245130" y="2366457"/>
                    </a:lnTo>
                    <a:lnTo>
                      <a:pt x="1258106" y="2352330"/>
                    </a:lnTo>
                    <a:lnTo>
                      <a:pt x="1275800" y="2339380"/>
                    </a:lnTo>
                    <a:lnTo>
                      <a:pt x="1289956" y="2326431"/>
                    </a:lnTo>
                    <a:lnTo>
                      <a:pt x="1296212" y="2322267"/>
                    </a:lnTo>
                    <a:lnTo>
                      <a:pt x="1405674" y="2221652"/>
                    </a:lnTo>
                    <a:lnTo>
                      <a:pt x="3042306" y="2221652"/>
                    </a:lnTo>
                    <a:close/>
                    <a:moveTo>
                      <a:pt x="4742645" y="2120503"/>
                    </a:moveTo>
                    <a:lnTo>
                      <a:pt x="4511920" y="2120649"/>
                    </a:lnTo>
                    <a:cubicBezTo>
                      <a:pt x="4304727" y="2331630"/>
                      <a:pt x="4106824" y="2548586"/>
                      <a:pt x="3904354" y="2783741"/>
                    </a:cubicBezTo>
                    <a:cubicBezTo>
                      <a:pt x="3791201" y="2956610"/>
                      <a:pt x="3615816" y="3016738"/>
                      <a:pt x="3463059" y="2795016"/>
                    </a:cubicBezTo>
                    <a:cubicBezTo>
                      <a:pt x="3362750" y="2649534"/>
                      <a:pt x="3261400" y="2507423"/>
                      <a:pt x="3155651" y="2368626"/>
                    </a:cubicBezTo>
                    <a:cubicBezTo>
                      <a:pt x="2891338" y="2672175"/>
                      <a:pt x="2579518" y="3025677"/>
                      <a:pt x="2347038" y="3292111"/>
                    </a:cubicBezTo>
                    <a:lnTo>
                      <a:pt x="3709764" y="3284087"/>
                    </a:lnTo>
                    <a:close/>
                    <a:moveTo>
                      <a:pt x="6776429" y="2120407"/>
                    </a:moveTo>
                    <a:lnTo>
                      <a:pt x="5635408" y="3272708"/>
                    </a:lnTo>
                    <a:lnTo>
                      <a:pt x="5635408" y="3693807"/>
                    </a:lnTo>
                    <a:lnTo>
                      <a:pt x="5980589" y="3351844"/>
                    </a:lnTo>
                    <a:lnTo>
                      <a:pt x="5980589" y="3436608"/>
                    </a:lnTo>
                    <a:lnTo>
                      <a:pt x="5635408" y="3777499"/>
                    </a:lnTo>
                    <a:lnTo>
                      <a:pt x="5635408" y="3880680"/>
                    </a:lnTo>
                    <a:lnTo>
                      <a:pt x="6776429" y="2739659"/>
                    </a:lnTo>
                    <a:lnTo>
                      <a:pt x="6776429" y="2352374"/>
                    </a:lnTo>
                    <a:lnTo>
                      <a:pt x="5933493" y="3178782"/>
                    </a:lnTo>
                    <a:lnTo>
                      <a:pt x="6776429" y="2322828"/>
                    </a:lnTo>
                    <a:close/>
                    <a:moveTo>
                      <a:pt x="6751600" y="2119237"/>
                    </a:moveTo>
                    <a:lnTo>
                      <a:pt x="4806532" y="2120463"/>
                    </a:lnTo>
                    <a:lnTo>
                      <a:pt x="4716988" y="2221652"/>
                    </a:lnTo>
                    <a:lnTo>
                      <a:pt x="5942928" y="2221652"/>
                    </a:lnTo>
                    <a:lnTo>
                      <a:pt x="5957811" y="2217050"/>
                    </a:lnTo>
                    <a:lnTo>
                      <a:pt x="5975442" y="2213505"/>
                    </a:lnTo>
                    <a:lnTo>
                      <a:pt x="5991896" y="2206417"/>
                    </a:lnTo>
                    <a:lnTo>
                      <a:pt x="6009526" y="2204054"/>
                    </a:lnTo>
                    <a:lnTo>
                      <a:pt x="6024806" y="2199329"/>
                    </a:lnTo>
                    <a:lnTo>
                      <a:pt x="6044786" y="2196966"/>
                    </a:lnTo>
                    <a:lnTo>
                      <a:pt x="6061242" y="2192241"/>
                    </a:lnTo>
                    <a:lnTo>
                      <a:pt x="6078872" y="2191059"/>
                    </a:lnTo>
                    <a:lnTo>
                      <a:pt x="6094152" y="2188696"/>
                    </a:lnTo>
                    <a:lnTo>
                      <a:pt x="6114133" y="2188696"/>
                    </a:lnTo>
                    <a:lnTo>
                      <a:pt x="6130588" y="2186333"/>
                    </a:lnTo>
                    <a:lnTo>
                      <a:pt x="6148218" y="2186333"/>
                    </a:lnTo>
                    <a:lnTo>
                      <a:pt x="6165848" y="2186333"/>
                    </a:lnTo>
                    <a:lnTo>
                      <a:pt x="6185829" y="2186333"/>
                    </a:lnTo>
                    <a:lnTo>
                      <a:pt x="6201108" y="2186333"/>
                    </a:lnTo>
                    <a:lnTo>
                      <a:pt x="6217563" y="2186333"/>
                    </a:lnTo>
                    <a:lnTo>
                      <a:pt x="6232843" y="2186333"/>
                    </a:lnTo>
                    <a:lnTo>
                      <a:pt x="6250472" y="2188696"/>
                    </a:lnTo>
                    <a:lnTo>
                      <a:pt x="6264577" y="2188696"/>
                    </a:lnTo>
                    <a:lnTo>
                      <a:pt x="6277506" y="2191059"/>
                    </a:lnTo>
                    <a:lnTo>
                      <a:pt x="6290435" y="2192241"/>
                    </a:lnTo>
                    <a:lnTo>
                      <a:pt x="6306890" y="2196966"/>
                    </a:lnTo>
                    <a:lnTo>
                      <a:pt x="6317468" y="2199329"/>
                    </a:lnTo>
                    <a:lnTo>
                      <a:pt x="6331572" y="2204054"/>
                    </a:lnTo>
                    <a:lnTo>
                      <a:pt x="6342150" y="2206417"/>
                    </a:lnTo>
                    <a:lnTo>
                      <a:pt x="6353904" y="2213505"/>
                    </a:lnTo>
                    <a:lnTo>
                      <a:pt x="6371533" y="2221775"/>
                    </a:lnTo>
                    <a:lnTo>
                      <a:pt x="6389164" y="2235953"/>
                    </a:lnTo>
                    <a:lnTo>
                      <a:pt x="6400918" y="2244222"/>
                    </a:lnTo>
                    <a:lnTo>
                      <a:pt x="6411496" y="2258400"/>
                    </a:lnTo>
                    <a:lnTo>
                      <a:pt x="6418547" y="2271395"/>
                    </a:lnTo>
                    <a:lnTo>
                      <a:pt x="6425600" y="2286752"/>
                    </a:lnTo>
                    <a:lnTo>
                      <a:pt x="6423248" y="2300930"/>
                    </a:lnTo>
                    <a:lnTo>
                      <a:pt x="6423248" y="2318651"/>
                    </a:lnTo>
                    <a:lnTo>
                      <a:pt x="6413847" y="2334010"/>
                    </a:lnTo>
                    <a:lnTo>
                      <a:pt x="6406794" y="2354094"/>
                    </a:lnTo>
                    <a:lnTo>
                      <a:pt x="6391514" y="2370633"/>
                    </a:lnTo>
                    <a:lnTo>
                      <a:pt x="6373884" y="2385991"/>
                    </a:lnTo>
                    <a:lnTo>
                      <a:pt x="6362131" y="2393081"/>
                    </a:lnTo>
                    <a:lnTo>
                      <a:pt x="6353904" y="2401349"/>
                    </a:lnTo>
                    <a:lnTo>
                      <a:pt x="6342150" y="2410802"/>
                    </a:lnTo>
                    <a:lnTo>
                      <a:pt x="6333922" y="2419071"/>
                    </a:lnTo>
                    <a:lnTo>
                      <a:pt x="6319818" y="2426160"/>
                    </a:lnTo>
                    <a:lnTo>
                      <a:pt x="6306890" y="2433248"/>
                    </a:lnTo>
                    <a:lnTo>
                      <a:pt x="6292786" y="2439154"/>
                    </a:lnTo>
                    <a:lnTo>
                      <a:pt x="6282208" y="2446244"/>
                    </a:lnTo>
                    <a:lnTo>
                      <a:pt x="6266928" y="2453332"/>
                    </a:lnTo>
                    <a:lnTo>
                      <a:pt x="6252823" y="2460420"/>
                    </a:lnTo>
                    <a:lnTo>
                      <a:pt x="6237544" y="2466328"/>
                    </a:lnTo>
                    <a:lnTo>
                      <a:pt x="6223440" y="2473416"/>
                    </a:lnTo>
                    <a:lnTo>
                      <a:pt x="6205810" y="2478141"/>
                    </a:lnTo>
                    <a:lnTo>
                      <a:pt x="6196356" y="2481065"/>
                    </a:lnTo>
                    <a:lnTo>
                      <a:pt x="5499197" y="3172895"/>
                    </a:lnTo>
                    <a:lnTo>
                      <a:pt x="5439174" y="3172895"/>
                    </a:lnTo>
                    <a:lnTo>
                      <a:pt x="5415492" y="3172895"/>
                    </a:lnTo>
                    <a:lnTo>
                      <a:pt x="3875223" y="3172895"/>
                    </a:lnTo>
                    <a:lnTo>
                      <a:pt x="3777180" y="3283691"/>
                    </a:lnTo>
                    <a:lnTo>
                      <a:pt x="5590683" y="3273013"/>
                    </a:lnTo>
                    <a:close/>
                    <a:moveTo>
                      <a:pt x="2112844" y="510"/>
                    </a:moveTo>
                    <a:cubicBezTo>
                      <a:pt x="2064192" y="4407"/>
                      <a:pt x="2011858" y="31095"/>
                      <a:pt x="1953160" y="96624"/>
                    </a:cubicBezTo>
                    <a:lnTo>
                      <a:pt x="1726854" y="412297"/>
                    </a:lnTo>
                    <a:cubicBezTo>
                      <a:pt x="1694796" y="468666"/>
                      <a:pt x="1526950" y="558861"/>
                      <a:pt x="1732512" y="767430"/>
                    </a:cubicBezTo>
                    <a:cubicBezTo>
                      <a:pt x="2511380" y="1361195"/>
                      <a:pt x="3001710" y="1966236"/>
                      <a:pt x="3469409" y="2644557"/>
                    </a:cubicBezTo>
                    <a:cubicBezTo>
                      <a:pt x="3622166" y="2866279"/>
                      <a:pt x="3797551" y="2806151"/>
                      <a:pt x="3910704" y="2633282"/>
                    </a:cubicBezTo>
                    <a:cubicBezTo>
                      <a:pt x="4229418" y="2263118"/>
                      <a:pt x="4536816" y="1938049"/>
                      <a:pt x="4883818" y="1607344"/>
                    </a:cubicBezTo>
                    <a:cubicBezTo>
                      <a:pt x="4964913" y="1475813"/>
                      <a:pt x="4978111" y="1423203"/>
                      <a:pt x="4804613" y="1212754"/>
                    </a:cubicBezTo>
                    <a:lnTo>
                      <a:pt x="4600937" y="1009822"/>
                    </a:lnTo>
                    <a:cubicBezTo>
                      <a:pt x="4500985" y="925266"/>
                      <a:pt x="4321827" y="902718"/>
                      <a:pt x="4216218" y="1077466"/>
                    </a:cubicBezTo>
                    <a:lnTo>
                      <a:pt x="3752290" y="1539700"/>
                    </a:lnTo>
                    <a:cubicBezTo>
                      <a:pt x="3410947" y="1143228"/>
                      <a:pt x="3092232" y="583288"/>
                      <a:pt x="2337880" y="96624"/>
                    </a:cubicBezTo>
                    <a:cubicBezTo>
                      <a:pt x="2264802" y="50824"/>
                      <a:pt x="2193934" y="-5986"/>
                      <a:pt x="2112844" y="510"/>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noAutofit/>
              </a:bodyPr>
              <a:lstStyle/>
              <a:p>
                <a:endParaRPr lang="en-US">
                  <a:solidFill>
                    <a:srgbClr val="505050"/>
                  </a:solidFill>
                </a:endParaRPr>
              </a:p>
            </p:txBody>
          </p:sp>
          <p:pic>
            <p:nvPicPr>
              <p:cNvPr id="199" name="Picture 2" descr="\\MAGNUM\Projects\Microsoft\Cloud Power FY12\Design\ICONS_PNG\Pie.png"/>
              <p:cNvPicPr>
                <a:picLocks noChangeAspect="1" noChangeArrowheads="1"/>
              </p:cNvPicPr>
              <p:nvPr/>
            </p:nvPicPr>
            <p:blipFill>
              <a:blip r:embed="rId19" cstate="print">
                <a:duotone>
                  <a:schemeClr val="accent5">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5171816" y="1973963"/>
                <a:ext cx="457200" cy="457200"/>
              </a:xfrm>
              <a:prstGeom prst="rect">
                <a:avLst/>
              </a:prstGeom>
              <a:noFill/>
            </p:spPr>
          </p:pic>
          <p:pic>
            <p:nvPicPr>
              <p:cNvPr id="200" name="Picture 2" descr="\\MAGNUM\Projects\Microsoft\Cloud Power FY12\Design\ICONS_PNG\Devices.png"/>
              <p:cNvPicPr>
                <a:picLocks noChangeAspect="1" noChangeArrowheads="1"/>
              </p:cNvPicPr>
              <p:nvPr/>
            </p:nvPicPr>
            <p:blipFill>
              <a:blip r:embed="rId21" cstate="print">
                <a:duotone>
                  <a:schemeClr val="accent5">
                    <a:shade val="45000"/>
                    <a:satMod val="135000"/>
                  </a:schemeClr>
                  <a:prstClr val="white"/>
                </a:duotone>
                <a:extLst>
                  <a:ext uri="{BEBA8EAE-BF5A-486C-A8C5-ECC9F3942E4B}">
                    <a14:imgProps xmlns:a14="http://schemas.microsoft.com/office/drawing/2010/main">
                      <a14:imgLayer r:embed="rId22">
                        <a14:imgEffect>
                          <a14:sharpenSoften amount="50000"/>
                        </a14:imgEffect>
                        <a14:imgEffect>
                          <a14:brightnessContrast bright="-40000" contrast="40000"/>
                        </a14:imgEffect>
                      </a14:imgLayer>
                    </a14:imgProps>
                  </a:ext>
                  <a:ext uri="{28A0092B-C50C-407E-A947-70E740481C1C}">
                    <a14:useLocalDpi xmlns:a14="http://schemas.microsoft.com/office/drawing/2010/main"/>
                  </a:ext>
                </a:extLst>
              </a:blip>
              <a:stretch>
                <a:fillRect/>
              </a:stretch>
            </p:blipFill>
            <p:spPr bwMode="auto">
              <a:xfrm>
                <a:off x="6435193" y="2918951"/>
                <a:ext cx="411480" cy="411480"/>
              </a:xfrm>
              <a:prstGeom prst="rect">
                <a:avLst/>
              </a:prstGeom>
              <a:noFill/>
              <a:ln>
                <a:noFill/>
              </a:ln>
            </p:spPr>
          </p:pic>
          <p:sp>
            <p:nvSpPr>
              <p:cNvPr id="201" name="Freeform 18"/>
              <p:cNvSpPr>
                <a:spLocks noChangeAspect="1" noEditPoints="1"/>
              </p:cNvSpPr>
              <p:nvPr/>
            </p:nvSpPr>
            <p:spPr bwMode="black">
              <a:xfrm>
                <a:off x="5231995" y="2894405"/>
                <a:ext cx="299805" cy="365760"/>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bg1">
                  <a:lumMod val="50000"/>
                </a:schemeClr>
              </a:solidFill>
              <a:ln>
                <a:noFill/>
              </a:ln>
            </p:spPr>
            <p:txBody>
              <a:bodyPr vert="horz" wrap="square" lIns="82305" tIns="41153" rIns="82305" bIns="41153" numCol="1" anchor="t" anchorCtr="0" compatLnSpc="1">
                <a:prstTxWarp prst="textNoShape">
                  <a:avLst/>
                </a:prstTxWarp>
                <a:noAutofit/>
              </a:bodyPr>
              <a:lstStyle/>
              <a:p>
                <a:endParaRPr lang="en-US" sz="1600">
                  <a:solidFill>
                    <a:srgbClr val="505050"/>
                  </a:solidFill>
                </a:endParaRPr>
              </a:p>
            </p:txBody>
          </p:sp>
          <p:pic>
            <p:nvPicPr>
              <p:cNvPr id="202" name="Picture 3" descr="\\MAGNUM\Projects\Microsoft\Cloud Power FY12\Design\Icons\PNGs\Scalable_Elastic_4.png"/>
              <p:cNvPicPr>
                <a:picLocks noChangeAspect="1" noChangeArrowheads="1"/>
              </p:cNvPicPr>
              <p:nvPr/>
            </p:nvPicPr>
            <p:blipFill>
              <a:blip r:embed="rId23" cstate="print">
                <a:duotone>
                  <a:schemeClr val="accent5">
                    <a:shade val="45000"/>
                    <a:satMod val="135000"/>
                  </a:schemeClr>
                  <a:prstClr val="white"/>
                </a:duotone>
                <a:extLst>
                  <a:ext uri="{BEBA8EAE-BF5A-486C-A8C5-ECC9F3942E4B}">
                    <a14:imgProps xmlns:a14="http://schemas.microsoft.com/office/drawing/2010/main">
                      <a14:imgLayer r:embed="rId24">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6740362" y="2390723"/>
                <a:ext cx="452389" cy="452389"/>
              </a:xfrm>
              <a:prstGeom prst="rect">
                <a:avLst/>
              </a:prstGeom>
              <a:noFill/>
            </p:spPr>
          </p:pic>
        </p:grpSp>
      </p:grpSp>
      <p:sp>
        <p:nvSpPr>
          <p:cNvPr id="205" name="Rectangle 204"/>
          <p:cNvSpPr/>
          <p:nvPr/>
        </p:nvSpPr>
        <p:spPr>
          <a:xfrm>
            <a:off x="10215081" y="5144851"/>
            <a:ext cx="958596" cy="246221"/>
          </a:xfrm>
          <a:prstGeom prst="rect">
            <a:avLst/>
          </a:prstGeom>
          <a:noFill/>
          <a:ln w="6350" cap="flat" cmpd="sng" algn="ctr">
            <a:noFill/>
            <a:prstDash val="solid"/>
          </a:ln>
          <a:effectLst/>
        </p:spPr>
        <p:txBody>
          <a:bodyPr wrap="none" lIns="0" tIns="0" rIns="0" bIns="0" rtlCol="0" anchor="ctr">
            <a:noAutofit/>
          </a:bodyPr>
          <a:lstStyle/>
          <a:p>
            <a:pPr marL="0" lvl="1" algn="ctr" defTabSz="1218106" fontAlgn="base">
              <a:spcBef>
                <a:spcPts val="200"/>
              </a:spcBef>
              <a:buClr>
                <a:srgbClr val="FFFF99"/>
              </a:buClr>
              <a:buSzPct val="90000"/>
              <a:defRPr/>
            </a:pPr>
            <a:r>
              <a:rPr lang="en-US" sz="1600" dirty="0">
                <a:solidFill>
                  <a:srgbClr val="0072C6"/>
                </a:solidFill>
                <a:latin typeface="Segoe UI Semibold" panose="020B0702040204020203" pitchFamily="34" charset="0"/>
                <a:ea typeface="Segoe UI" pitchFamily="34" charset="0"/>
                <a:cs typeface="Segoe UI" pitchFamily="34" charset="0"/>
              </a:rPr>
              <a:t>Marketing</a:t>
            </a:r>
          </a:p>
        </p:txBody>
      </p:sp>
      <p:grpSp>
        <p:nvGrpSpPr>
          <p:cNvPr id="206" name="Group 205"/>
          <p:cNvGrpSpPr/>
          <p:nvPr/>
        </p:nvGrpSpPr>
        <p:grpSpPr>
          <a:xfrm>
            <a:off x="10045025" y="5397678"/>
            <a:ext cx="1188779" cy="813569"/>
            <a:chOff x="8576432" y="2609533"/>
            <a:chExt cx="1188779" cy="813569"/>
          </a:xfrm>
        </p:grpSpPr>
        <p:sp>
          <p:nvSpPr>
            <p:cNvPr id="207" name="Oval 206"/>
            <p:cNvSpPr/>
            <p:nvPr/>
          </p:nvSpPr>
          <p:spPr>
            <a:xfrm>
              <a:off x="8576432" y="2661747"/>
              <a:ext cx="1188779" cy="7613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a:solidFill>
                  <a:prstClr val="white"/>
                </a:solidFill>
              </a:endParaRPr>
            </a:p>
          </p:txBody>
        </p:sp>
        <p:pic>
          <p:nvPicPr>
            <p:cNvPr id="208" name="Picture 207"/>
            <p:cNvPicPr>
              <a:picLocks noChangeAspect="1"/>
            </p:cNvPicPr>
            <p:nvPr/>
          </p:nvPicPr>
          <p:blipFill>
            <a:blip r:embed="rId25" cstate="screen">
              <a:duotone>
                <a:prstClr val="black"/>
                <a:schemeClr val="accent5">
                  <a:tint val="45000"/>
                  <a:satMod val="400000"/>
                </a:schemeClr>
              </a:duotone>
              <a:extLst>
                <a:ext uri="{BEBA8EAE-BF5A-486C-A8C5-ECC9F3942E4B}">
                  <a14:imgProps xmlns:a14="http://schemas.microsoft.com/office/drawing/2010/main">
                    <a14:imgLayer r:embed="rId26">
                      <a14:imgEffect>
                        <a14:brightnessContrast bright="-20000" contrast="-20000"/>
                      </a14:imgEffect>
                    </a14:imgLayer>
                  </a14:imgProps>
                </a:ext>
                <a:ext uri="{28A0092B-C50C-407E-A947-70E740481C1C}">
                  <a14:useLocalDpi xmlns:a14="http://schemas.microsoft.com/office/drawing/2010/main"/>
                </a:ext>
              </a:extLst>
            </a:blip>
            <a:stretch>
              <a:fillRect/>
            </a:stretch>
          </p:blipFill>
          <p:spPr>
            <a:xfrm>
              <a:off x="8818881" y="2609533"/>
              <a:ext cx="797830" cy="797829"/>
            </a:xfrm>
            <a:prstGeom prst="rect">
              <a:avLst/>
            </a:prstGeom>
          </p:spPr>
        </p:pic>
      </p:grpSp>
      <p:cxnSp>
        <p:nvCxnSpPr>
          <p:cNvPr id="211" name="Straight Arrow Connector 210"/>
          <p:cNvCxnSpPr>
            <a:cxnSpLocks/>
          </p:cNvCxnSpPr>
          <p:nvPr/>
        </p:nvCxnSpPr>
        <p:spPr>
          <a:xfrm>
            <a:off x="8606971" y="5723334"/>
            <a:ext cx="1334137" cy="14872"/>
          </a:xfrm>
          <a:prstGeom prst="straightConnector1">
            <a:avLst/>
          </a:prstGeom>
          <a:ln w="19050">
            <a:solidFill>
              <a:schemeClr val="accent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247" name="TextBox 246"/>
          <p:cNvSpPr txBox="1"/>
          <p:nvPr/>
        </p:nvSpPr>
        <p:spPr>
          <a:xfrm>
            <a:off x="9451685" y="6129231"/>
            <a:ext cx="2375457" cy="398373"/>
          </a:xfrm>
          <a:prstGeom prst="rect">
            <a:avLst/>
          </a:prstGeom>
        </p:spPr>
        <p:txBody>
          <a:bodyPr vert="horz" wrap="square" lIns="45720" tIns="45720" rIns="45720" bIns="45720" rtlCol="0" anchor="ctr">
            <a:noAutofit/>
          </a:bodyPr>
          <a:lstStyle>
            <a:defPPr>
              <a:defRPr lang="en-US"/>
            </a:defPPr>
            <a:lvl1pPr algn="ctr" defTabSz="1088105">
              <a:defRPr sz="1200">
                <a:solidFill>
                  <a:srgbClr val="505050"/>
                </a:solidFill>
                <a:latin typeface="Segoe UI Semibold" panose="020B0702040204020203" pitchFamily="34" charset="0"/>
                <a:ea typeface="Segoe UI" pitchFamily="34" charset="0"/>
                <a:cs typeface="Segoe UI Semibold" panose="020B0702040204020203" pitchFamily="34" charset="0"/>
              </a:defRPr>
            </a:lvl1pPr>
          </a:lstStyle>
          <a:p>
            <a:r>
              <a:rPr lang="en-US" sz="1100" dirty="0"/>
              <a:t>Campaigns, Promotions, Offers</a:t>
            </a:r>
          </a:p>
        </p:txBody>
      </p:sp>
      <p:sp>
        <p:nvSpPr>
          <p:cNvPr id="248" name="Rectangle 247"/>
          <p:cNvSpPr/>
          <p:nvPr/>
        </p:nvSpPr>
        <p:spPr>
          <a:xfrm>
            <a:off x="226316" y="5063733"/>
            <a:ext cx="1612621" cy="492443"/>
          </a:xfrm>
          <a:prstGeom prst="rect">
            <a:avLst/>
          </a:prstGeom>
          <a:noFill/>
          <a:ln w="6350" cap="flat" cmpd="sng" algn="ctr">
            <a:noFill/>
            <a:prstDash val="solid"/>
          </a:ln>
          <a:effectLst/>
        </p:spPr>
        <p:txBody>
          <a:bodyPr wrap="none" lIns="0" tIns="0" rIns="0" bIns="0" rtlCol="0" anchor="ctr">
            <a:noAutofit/>
          </a:bodyPr>
          <a:lstStyle/>
          <a:p>
            <a:pPr marL="0" lvl="1" algn="ctr" defTabSz="1218106" fontAlgn="base">
              <a:spcBef>
                <a:spcPts val="200"/>
              </a:spcBef>
              <a:buClr>
                <a:srgbClr val="FFFF99"/>
              </a:buClr>
              <a:buSzPct val="90000"/>
              <a:defRPr/>
            </a:pPr>
            <a:r>
              <a:rPr lang="en-US" sz="1600" dirty="0">
                <a:solidFill>
                  <a:srgbClr val="0072C6"/>
                </a:solidFill>
                <a:latin typeface="Segoe UI Semibold" panose="020B0702040204020203" pitchFamily="34" charset="0"/>
                <a:ea typeface="Segoe UI" pitchFamily="34" charset="0"/>
                <a:cs typeface="Segoe UI" pitchFamily="34" charset="0"/>
              </a:rPr>
              <a:t>Sales and </a:t>
            </a:r>
            <a:br>
              <a:rPr lang="en-US" sz="1600" dirty="0">
                <a:solidFill>
                  <a:srgbClr val="0072C6"/>
                </a:solidFill>
                <a:latin typeface="Segoe UI Semibold" panose="020B0702040204020203" pitchFamily="34" charset="0"/>
                <a:ea typeface="Segoe UI" pitchFamily="34" charset="0"/>
                <a:cs typeface="Segoe UI" pitchFamily="34" charset="0"/>
              </a:rPr>
            </a:br>
            <a:r>
              <a:rPr lang="en-US" sz="1600" dirty="0">
                <a:solidFill>
                  <a:srgbClr val="0072C6"/>
                </a:solidFill>
                <a:latin typeface="Segoe UI Semibold" panose="020B0702040204020203" pitchFamily="34" charset="0"/>
                <a:ea typeface="Segoe UI" pitchFamily="34" charset="0"/>
                <a:cs typeface="Segoe UI" pitchFamily="34" charset="0"/>
              </a:rPr>
              <a:t>Customer Service</a:t>
            </a:r>
          </a:p>
        </p:txBody>
      </p:sp>
      <p:grpSp>
        <p:nvGrpSpPr>
          <p:cNvPr id="252" name="Group 251"/>
          <p:cNvGrpSpPr/>
          <p:nvPr/>
        </p:nvGrpSpPr>
        <p:grpSpPr>
          <a:xfrm>
            <a:off x="464853" y="5527669"/>
            <a:ext cx="1188779" cy="813569"/>
            <a:chOff x="8576432" y="2609533"/>
            <a:chExt cx="1188779" cy="813569"/>
          </a:xfrm>
        </p:grpSpPr>
        <p:sp>
          <p:nvSpPr>
            <p:cNvPr id="253" name="Oval 252"/>
            <p:cNvSpPr/>
            <p:nvPr/>
          </p:nvSpPr>
          <p:spPr>
            <a:xfrm>
              <a:off x="8576432" y="2661747"/>
              <a:ext cx="1188779" cy="7613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a:solidFill>
                  <a:prstClr val="white"/>
                </a:solidFill>
              </a:endParaRPr>
            </a:p>
          </p:txBody>
        </p:sp>
        <p:pic>
          <p:nvPicPr>
            <p:cNvPr id="254" name="Picture 253"/>
            <p:cNvPicPr>
              <a:picLocks noChangeAspect="1"/>
            </p:cNvPicPr>
            <p:nvPr/>
          </p:nvPicPr>
          <p:blipFill>
            <a:blip r:embed="rId25" cstate="screen">
              <a:duotone>
                <a:prstClr val="black"/>
                <a:schemeClr val="accent5">
                  <a:tint val="45000"/>
                  <a:satMod val="400000"/>
                </a:schemeClr>
              </a:duotone>
              <a:extLst>
                <a:ext uri="{BEBA8EAE-BF5A-486C-A8C5-ECC9F3942E4B}">
                  <a14:imgProps xmlns:a14="http://schemas.microsoft.com/office/drawing/2010/main">
                    <a14:imgLayer r:embed="rId26">
                      <a14:imgEffect>
                        <a14:brightnessContrast bright="-20000" contrast="-20000"/>
                      </a14:imgEffect>
                    </a14:imgLayer>
                  </a14:imgProps>
                </a:ext>
                <a:ext uri="{28A0092B-C50C-407E-A947-70E740481C1C}">
                  <a14:useLocalDpi xmlns:a14="http://schemas.microsoft.com/office/drawing/2010/main"/>
                </a:ext>
              </a:extLst>
            </a:blip>
            <a:stretch>
              <a:fillRect/>
            </a:stretch>
          </p:blipFill>
          <p:spPr>
            <a:xfrm>
              <a:off x="8818881" y="2609533"/>
              <a:ext cx="797830" cy="797829"/>
            </a:xfrm>
            <a:prstGeom prst="rect">
              <a:avLst/>
            </a:prstGeom>
          </p:spPr>
        </p:pic>
      </p:grpSp>
      <p:cxnSp>
        <p:nvCxnSpPr>
          <p:cNvPr id="69" name="Straight Arrow Connector 68"/>
          <p:cNvCxnSpPr>
            <a:cxnSpLocks/>
          </p:cNvCxnSpPr>
          <p:nvPr/>
        </p:nvCxnSpPr>
        <p:spPr>
          <a:xfrm flipV="1">
            <a:off x="3711081" y="5718870"/>
            <a:ext cx="949471" cy="4464"/>
          </a:xfrm>
          <a:prstGeom prst="straightConnector1">
            <a:avLst/>
          </a:prstGeom>
          <a:ln w="19050">
            <a:solidFill>
              <a:schemeClr val="accent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a:cxnSpLocks/>
          </p:cNvCxnSpPr>
          <p:nvPr/>
        </p:nvCxnSpPr>
        <p:spPr>
          <a:xfrm>
            <a:off x="1704743" y="5862344"/>
            <a:ext cx="466299" cy="6231"/>
          </a:xfrm>
          <a:prstGeom prst="straightConnector1">
            <a:avLst/>
          </a:prstGeom>
          <a:ln w="19050">
            <a:solidFill>
              <a:schemeClr val="accent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019625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a:xfrm>
            <a:off x="232229" y="841829"/>
            <a:ext cx="11744821" cy="1602923"/>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a:r>
              <a:rPr lang="en-US" sz="2400" dirty="0"/>
              <a:t>Customer Attribute Data Sources</a:t>
            </a:r>
          </a:p>
        </p:txBody>
      </p:sp>
      <p:sp>
        <p:nvSpPr>
          <p:cNvPr id="35" name="Rectangle 34"/>
          <p:cNvSpPr/>
          <p:nvPr/>
        </p:nvSpPr>
        <p:spPr>
          <a:xfrm>
            <a:off x="394554" y="3541320"/>
            <a:ext cx="3500616" cy="3120764"/>
          </a:xfrm>
          <a:prstGeom prst="rect">
            <a:avLst/>
          </a:prstGeom>
          <a:solidFill>
            <a:schemeClr val="bg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ctr"/>
            <a:endParaRPr lang="en-US" sz="1200" dirty="0">
              <a:solidFill>
                <a:schemeClr val="bg2"/>
              </a:solidFill>
            </a:endParaRPr>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5</a:t>
            </a:fld>
            <a:endParaRPr lang="en-US" dirty="0">
              <a:solidFill>
                <a:srgbClr val="505050"/>
              </a:solidFill>
            </a:endParaRPr>
          </a:p>
        </p:txBody>
      </p:sp>
      <p:grpSp>
        <p:nvGrpSpPr>
          <p:cNvPr id="6" name="Group 5"/>
          <p:cNvGrpSpPr/>
          <p:nvPr/>
        </p:nvGrpSpPr>
        <p:grpSpPr>
          <a:xfrm>
            <a:off x="6572595" y="3441891"/>
            <a:ext cx="1540356" cy="991464"/>
            <a:chOff x="8860780" y="4095818"/>
            <a:chExt cx="2154684" cy="1386882"/>
          </a:xfrm>
        </p:grpSpPr>
        <p:sp>
          <p:nvSpPr>
            <p:cNvPr id="7" name="Rectangle 6"/>
            <p:cNvSpPr/>
            <p:nvPr/>
          </p:nvSpPr>
          <p:spPr>
            <a:xfrm>
              <a:off x="8860780" y="4888660"/>
              <a:ext cx="2154684" cy="594040"/>
            </a:xfrm>
            <a:prstGeom prst="rect">
              <a:avLst/>
            </a:prstGeom>
          </p:spPr>
          <p:txBody>
            <a:bodyPr wrap="square">
              <a:spAutoFit/>
            </a:bodyPr>
            <a:lstStyle/>
            <a:p>
              <a:pPr marL="0" marR="0" lvl="0" indent="0" algn="ctr" defTabSz="913652"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a:ln>
                    <a:noFill/>
                  </a:ln>
                  <a:solidFill>
                    <a:prstClr val="white"/>
                  </a:solidFill>
                  <a:effectLst/>
                  <a:uLnTx/>
                  <a:uFillTx/>
                  <a:latin typeface="Segoe UI Light"/>
                  <a:ea typeface="Segoe UI" pitchFamily="34" charset="0"/>
                  <a:cs typeface="Segoe UI" pitchFamily="34" charset="0"/>
                </a:rPr>
                <a:t>Hybrid</a:t>
              </a:r>
            </a:p>
          </p:txBody>
        </p:sp>
        <p:sp>
          <p:nvSpPr>
            <p:cNvPr id="8" name="Freeform 138"/>
            <p:cNvSpPr>
              <a:spLocks noEditPoints="1"/>
            </p:cNvSpPr>
            <p:nvPr/>
          </p:nvSpPr>
          <p:spPr bwMode="black">
            <a:xfrm rot="2731855">
              <a:off x="9641988" y="4022501"/>
              <a:ext cx="597877" cy="744512"/>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bg1"/>
            </a:solidFill>
            <a:ln>
              <a:noFill/>
            </a:ln>
            <a:extLst/>
          </p:spPr>
          <p:txBody>
            <a:bodyPr vert="horz" wrap="square" lIns="91431" tIns="45715" rIns="91431" bIns="45715" numCol="1" anchor="t" anchorCtr="0" compatLnSpc="1">
              <a:prstTxWarp prst="textNoShape">
                <a:avLst/>
              </a:prstTxWarp>
            </a:bodyP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567"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6" name="Rectangle 25"/>
          <p:cNvSpPr/>
          <p:nvPr/>
        </p:nvSpPr>
        <p:spPr>
          <a:xfrm>
            <a:off x="286483" y="2722890"/>
            <a:ext cx="3505629" cy="8367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ctr"/>
            <a:r>
              <a:rPr lang="en-US" sz="1600" dirty="0"/>
              <a:t>Data Ingest</a:t>
            </a:r>
          </a:p>
        </p:txBody>
      </p:sp>
      <p:sp>
        <p:nvSpPr>
          <p:cNvPr id="28" name="Rectangle 27"/>
          <p:cNvSpPr/>
          <p:nvPr/>
        </p:nvSpPr>
        <p:spPr>
          <a:xfrm>
            <a:off x="4058340" y="2697207"/>
            <a:ext cx="5172456" cy="8367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ctr"/>
            <a:r>
              <a:rPr lang="en-US" sz="1600" dirty="0"/>
              <a:t>Data Cleansing and Transformation</a:t>
            </a:r>
          </a:p>
        </p:txBody>
      </p:sp>
      <p:sp>
        <p:nvSpPr>
          <p:cNvPr id="29" name="Rectangle 28"/>
          <p:cNvSpPr/>
          <p:nvPr/>
        </p:nvSpPr>
        <p:spPr>
          <a:xfrm>
            <a:off x="9491472" y="2726622"/>
            <a:ext cx="2485578" cy="8367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ctr"/>
            <a:r>
              <a:rPr lang="en-US" sz="1600" dirty="0"/>
              <a:t>Data Results Publication</a:t>
            </a:r>
          </a:p>
        </p:txBody>
      </p:sp>
      <p:sp>
        <p:nvSpPr>
          <p:cNvPr id="36" name="Rectangle 35"/>
          <p:cNvSpPr/>
          <p:nvPr/>
        </p:nvSpPr>
        <p:spPr>
          <a:xfrm>
            <a:off x="4044696" y="5434004"/>
            <a:ext cx="3543406" cy="1220601"/>
          </a:xfrm>
          <a:prstGeom prst="rect">
            <a:avLst/>
          </a:prstGeom>
          <a:solidFill>
            <a:schemeClr val="bg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ctr"/>
            <a:r>
              <a:rPr lang="en-US" sz="1200" dirty="0">
                <a:solidFill>
                  <a:schemeClr val="bg2"/>
                </a:solidFill>
              </a:rPr>
              <a:t>Machine Learning</a:t>
            </a:r>
          </a:p>
        </p:txBody>
      </p:sp>
      <p:sp>
        <p:nvSpPr>
          <p:cNvPr id="37" name="Rectangle 36"/>
          <p:cNvSpPr/>
          <p:nvPr/>
        </p:nvSpPr>
        <p:spPr>
          <a:xfrm>
            <a:off x="4058340" y="3534372"/>
            <a:ext cx="5172456" cy="1771736"/>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ctr"/>
            <a:endParaRPr lang="en-US" sz="1200" dirty="0">
              <a:solidFill>
                <a:schemeClr val="bg2"/>
              </a:solidFill>
            </a:endParaRPr>
          </a:p>
        </p:txBody>
      </p:sp>
      <p:pic>
        <p:nvPicPr>
          <p:cNvPr id="41" name="Picture 40"/>
          <p:cNvPicPr>
            <a:picLocks noChangeAspect="1"/>
          </p:cNvPicPr>
          <p:nvPr/>
        </p:nvPicPr>
        <p:blipFill>
          <a:blip r:embed="rId3"/>
          <a:stretch>
            <a:fillRect/>
          </a:stretch>
        </p:blipFill>
        <p:spPr>
          <a:xfrm>
            <a:off x="4367852" y="5551858"/>
            <a:ext cx="662097" cy="653923"/>
          </a:xfrm>
          <a:prstGeom prst="rect">
            <a:avLst/>
          </a:prstGeom>
        </p:spPr>
      </p:pic>
      <p:pic>
        <p:nvPicPr>
          <p:cNvPr id="42" name="Picture 41"/>
          <p:cNvPicPr>
            <a:picLocks noChangeAspect="1"/>
          </p:cNvPicPr>
          <p:nvPr/>
        </p:nvPicPr>
        <p:blipFill>
          <a:blip r:embed="rId4"/>
          <a:stretch>
            <a:fillRect/>
          </a:stretch>
        </p:blipFill>
        <p:spPr>
          <a:xfrm>
            <a:off x="6480799" y="5491163"/>
            <a:ext cx="706375" cy="687800"/>
          </a:xfrm>
          <a:prstGeom prst="rect">
            <a:avLst/>
          </a:prstGeom>
        </p:spPr>
      </p:pic>
      <p:sp>
        <p:nvSpPr>
          <p:cNvPr id="43" name="TextBox 42"/>
          <p:cNvSpPr txBox="1"/>
          <p:nvPr/>
        </p:nvSpPr>
        <p:spPr>
          <a:xfrm>
            <a:off x="3438144" y="1901952"/>
            <a:ext cx="914400" cy="914400"/>
          </a:xfrm>
          <a:prstGeom prst="rect">
            <a:avLst/>
          </a:prstGeom>
        </p:spPr>
        <p:txBody>
          <a:bodyPr vert="horz" wrap="none" lIns="91440" tIns="91440" rIns="91440" bIns="91440" rtlCol="0" anchor="t">
            <a:noAutofit/>
          </a:bodyPr>
          <a:lstStyle/>
          <a:p>
            <a:pPr marL="171450" indent="-171450">
              <a:buFont typeface="Wingdings" pitchFamily="2" charset="2"/>
              <a:buChar char="§"/>
            </a:pPr>
            <a:endParaRPr lang="en-US" sz="1600" dirty="0" err="1">
              <a:latin typeface="Segoe UI" pitchFamily="34" charset="0"/>
              <a:ea typeface="Segoe UI" pitchFamily="34" charset="0"/>
              <a:cs typeface="Segoe UI" pitchFamily="34" charset="0"/>
            </a:endParaRPr>
          </a:p>
        </p:txBody>
      </p:sp>
      <p:pic>
        <p:nvPicPr>
          <p:cNvPr id="50" name="Picture 49"/>
          <p:cNvPicPr>
            <a:picLocks noChangeAspect="1"/>
          </p:cNvPicPr>
          <p:nvPr/>
        </p:nvPicPr>
        <p:blipFill>
          <a:blip r:embed="rId5"/>
          <a:stretch>
            <a:fillRect/>
          </a:stretch>
        </p:blipFill>
        <p:spPr>
          <a:xfrm>
            <a:off x="7876789" y="3692339"/>
            <a:ext cx="803621" cy="765353"/>
          </a:xfrm>
          <a:prstGeom prst="rect">
            <a:avLst/>
          </a:prstGeom>
        </p:spPr>
      </p:pic>
      <p:sp>
        <p:nvSpPr>
          <p:cNvPr id="53" name="Rectangle 52"/>
          <p:cNvSpPr/>
          <p:nvPr/>
        </p:nvSpPr>
        <p:spPr>
          <a:xfrm>
            <a:off x="9491472" y="3559630"/>
            <a:ext cx="2485578" cy="3099921"/>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ctr"/>
            <a:endParaRPr lang="en-US" sz="1200" dirty="0">
              <a:solidFill>
                <a:schemeClr val="bg2"/>
              </a:solidFill>
            </a:endParaRPr>
          </a:p>
        </p:txBody>
      </p:sp>
      <p:sp>
        <p:nvSpPr>
          <p:cNvPr id="56" name="TextBox 55"/>
          <p:cNvSpPr txBox="1"/>
          <p:nvPr/>
        </p:nvSpPr>
        <p:spPr>
          <a:xfrm>
            <a:off x="9543143" y="4641925"/>
            <a:ext cx="2306237" cy="397580"/>
          </a:xfrm>
          <a:prstGeom prst="rect">
            <a:avLst/>
          </a:prstGeom>
        </p:spPr>
        <p:txBody>
          <a:bodyPr vert="horz" wrap="none" lIns="91440" tIns="91440" rIns="91440" bIns="91440" rtlCol="0" anchor="t">
            <a:noAutofit/>
          </a:bodyPr>
          <a:lstStyle/>
          <a:p>
            <a:pPr algn="ctr"/>
            <a:r>
              <a:rPr lang="en-US" sz="1400" dirty="0">
                <a:latin typeface="Segoe UI" pitchFamily="34" charset="0"/>
                <a:ea typeface="Segoe UI" pitchFamily="34" charset="0"/>
                <a:cs typeface="Segoe UI" pitchFamily="34" charset="0"/>
              </a:rPr>
              <a:t>Looker / Tableau</a:t>
            </a:r>
          </a:p>
        </p:txBody>
      </p:sp>
      <p:grpSp>
        <p:nvGrpSpPr>
          <p:cNvPr id="59" name="Group 58"/>
          <p:cNvGrpSpPr/>
          <p:nvPr/>
        </p:nvGrpSpPr>
        <p:grpSpPr>
          <a:xfrm>
            <a:off x="9585815" y="5306108"/>
            <a:ext cx="2306237" cy="1083661"/>
            <a:chOff x="9585815" y="5306108"/>
            <a:chExt cx="2306237" cy="1083661"/>
          </a:xfrm>
        </p:grpSpPr>
        <p:pic>
          <p:nvPicPr>
            <p:cNvPr id="54" name="Picture 53"/>
            <p:cNvPicPr>
              <a:picLocks noChangeAspect="1"/>
            </p:cNvPicPr>
            <p:nvPr/>
          </p:nvPicPr>
          <p:blipFill>
            <a:blip r:embed="rId6"/>
            <a:stretch>
              <a:fillRect/>
            </a:stretch>
          </p:blipFill>
          <p:spPr>
            <a:xfrm>
              <a:off x="10357737" y="5306108"/>
              <a:ext cx="762000" cy="733425"/>
            </a:xfrm>
            <a:prstGeom prst="rect">
              <a:avLst/>
            </a:prstGeom>
          </p:spPr>
        </p:pic>
        <p:sp>
          <p:nvSpPr>
            <p:cNvPr id="57" name="TextBox 56"/>
            <p:cNvSpPr txBox="1"/>
            <p:nvPr/>
          </p:nvSpPr>
          <p:spPr>
            <a:xfrm>
              <a:off x="9585815" y="5992189"/>
              <a:ext cx="2306237" cy="397580"/>
            </a:xfrm>
            <a:prstGeom prst="rect">
              <a:avLst/>
            </a:prstGeom>
          </p:spPr>
          <p:txBody>
            <a:bodyPr vert="horz" wrap="none" lIns="91440" tIns="91440" rIns="91440" bIns="91440" rtlCol="0" anchor="t">
              <a:noAutofit/>
            </a:bodyPr>
            <a:lstStyle/>
            <a:p>
              <a:pPr algn="ctr"/>
              <a:r>
                <a:rPr lang="en-US" sz="1400" dirty="0">
                  <a:latin typeface="Segoe UI" pitchFamily="34" charset="0"/>
                  <a:ea typeface="Segoe UI" pitchFamily="34" charset="0"/>
                  <a:cs typeface="Segoe UI" pitchFamily="34" charset="0"/>
                </a:rPr>
                <a:t>MySQL / </a:t>
              </a:r>
              <a:r>
                <a:rPr lang="en-US" sz="1400" dirty="0" err="1">
                  <a:latin typeface="Segoe UI" pitchFamily="34" charset="0"/>
                  <a:ea typeface="Segoe UI" pitchFamily="34" charset="0"/>
                  <a:cs typeface="Segoe UI" pitchFamily="34" charset="0"/>
                </a:rPr>
                <a:t>Postgress</a:t>
              </a:r>
              <a:r>
                <a:rPr lang="en-US" sz="1400" dirty="0">
                  <a:latin typeface="Segoe UI" pitchFamily="34" charset="0"/>
                  <a:ea typeface="Segoe UI" pitchFamily="34" charset="0"/>
                  <a:cs typeface="Segoe UI" pitchFamily="34" charset="0"/>
                </a:rPr>
                <a:t> /</a:t>
              </a:r>
              <a:br>
                <a:rPr lang="en-US" sz="1400" dirty="0">
                  <a:latin typeface="Segoe UI" pitchFamily="34" charset="0"/>
                  <a:ea typeface="Segoe UI" pitchFamily="34" charset="0"/>
                  <a:cs typeface="Segoe UI" pitchFamily="34" charset="0"/>
                </a:rPr>
              </a:br>
              <a:r>
                <a:rPr lang="en-US" sz="1400" dirty="0" err="1">
                  <a:latin typeface="Segoe UI" pitchFamily="34" charset="0"/>
                  <a:ea typeface="Segoe UI" pitchFamily="34" charset="0"/>
                  <a:cs typeface="Segoe UI" pitchFamily="34" charset="0"/>
                </a:rPr>
                <a:t>XtremeData</a:t>
              </a:r>
              <a:endParaRPr lang="en-US" sz="1400" dirty="0">
                <a:latin typeface="Segoe UI" pitchFamily="34" charset="0"/>
                <a:ea typeface="Segoe UI" pitchFamily="34" charset="0"/>
                <a:cs typeface="Segoe UI" pitchFamily="34" charset="0"/>
              </a:endParaRPr>
            </a:p>
          </p:txBody>
        </p:sp>
      </p:grpSp>
      <p:sp>
        <p:nvSpPr>
          <p:cNvPr id="60" name="TextBox 59"/>
          <p:cNvSpPr txBox="1"/>
          <p:nvPr/>
        </p:nvSpPr>
        <p:spPr>
          <a:xfrm>
            <a:off x="4008405" y="6156294"/>
            <a:ext cx="1380992" cy="270521"/>
          </a:xfrm>
          <a:prstGeom prst="rect">
            <a:avLst/>
          </a:prstGeom>
        </p:spPr>
        <p:txBody>
          <a:bodyPr vert="horz" wrap="none" lIns="91440" tIns="91440" rIns="91440" bIns="91440" rtlCol="0" anchor="t">
            <a:noAutofit/>
          </a:bodyPr>
          <a:lstStyle/>
          <a:p>
            <a:pPr algn="ctr"/>
            <a:r>
              <a:rPr lang="en-US" sz="1100" dirty="0">
                <a:latin typeface="Segoe UI" pitchFamily="34" charset="0"/>
                <a:ea typeface="Segoe UI" pitchFamily="34" charset="0"/>
                <a:cs typeface="Segoe UI" pitchFamily="34" charset="0"/>
              </a:rPr>
              <a:t>Hadoop + Spark</a:t>
            </a:r>
          </a:p>
        </p:txBody>
      </p:sp>
      <p:sp>
        <p:nvSpPr>
          <p:cNvPr id="61" name="TextBox 60"/>
          <p:cNvSpPr txBox="1"/>
          <p:nvPr/>
        </p:nvSpPr>
        <p:spPr>
          <a:xfrm>
            <a:off x="6154458" y="6115541"/>
            <a:ext cx="1286228" cy="291247"/>
          </a:xfrm>
          <a:prstGeom prst="rect">
            <a:avLst/>
          </a:prstGeom>
        </p:spPr>
        <p:txBody>
          <a:bodyPr vert="horz" wrap="none" lIns="91440" tIns="91440" rIns="91440" bIns="91440" rtlCol="0" anchor="t">
            <a:noAutofit/>
          </a:bodyPr>
          <a:lstStyle/>
          <a:p>
            <a:pPr algn="ctr"/>
            <a:r>
              <a:rPr lang="en-US" sz="1100" dirty="0">
                <a:latin typeface="Segoe UI" pitchFamily="34" charset="0"/>
                <a:ea typeface="Segoe UI" pitchFamily="34" charset="0"/>
                <a:cs typeface="Segoe UI" pitchFamily="34" charset="0"/>
              </a:rPr>
              <a:t>Azure ML</a:t>
            </a:r>
          </a:p>
        </p:txBody>
      </p:sp>
      <p:sp>
        <p:nvSpPr>
          <p:cNvPr id="62" name="TextBox 61"/>
          <p:cNvSpPr txBox="1"/>
          <p:nvPr/>
        </p:nvSpPr>
        <p:spPr>
          <a:xfrm>
            <a:off x="7588102" y="4500332"/>
            <a:ext cx="1380992" cy="397580"/>
          </a:xfrm>
          <a:prstGeom prst="rect">
            <a:avLst/>
          </a:prstGeom>
        </p:spPr>
        <p:txBody>
          <a:bodyPr vert="horz" wrap="none" lIns="91440" tIns="91440" rIns="91440" bIns="91440" rtlCol="0" anchor="t">
            <a:noAutofit/>
          </a:bodyPr>
          <a:lstStyle/>
          <a:p>
            <a:pPr algn="ctr"/>
            <a:r>
              <a:rPr lang="en-US" sz="1400" dirty="0">
                <a:latin typeface="Segoe UI" pitchFamily="34" charset="0"/>
                <a:ea typeface="Segoe UI" pitchFamily="34" charset="0"/>
                <a:cs typeface="Segoe UI" pitchFamily="34" charset="0"/>
              </a:rPr>
              <a:t>API</a:t>
            </a:r>
          </a:p>
        </p:txBody>
      </p:sp>
      <p:pic>
        <p:nvPicPr>
          <p:cNvPr id="63" name="Picture 62"/>
          <p:cNvPicPr>
            <a:picLocks noChangeAspect="1"/>
          </p:cNvPicPr>
          <p:nvPr/>
        </p:nvPicPr>
        <p:blipFill>
          <a:blip r:embed="rId7"/>
          <a:stretch>
            <a:fillRect/>
          </a:stretch>
        </p:blipFill>
        <p:spPr>
          <a:xfrm>
            <a:off x="7942172" y="5562140"/>
            <a:ext cx="672851" cy="734019"/>
          </a:xfrm>
          <a:prstGeom prst="rect">
            <a:avLst/>
          </a:prstGeom>
        </p:spPr>
      </p:pic>
      <p:sp>
        <p:nvSpPr>
          <p:cNvPr id="64" name="TextBox 63"/>
          <p:cNvSpPr txBox="1"/>
          <p:nvPr/>
        </p:nvSpPr>
        <p:spPr>
          <a:xfrm>
            <a:off x="7638689" y="6216966"/>
            <a:ext cx="1380992" cy="397580"/>
          </a:xfrm>
          <a:prstGeom prst="rect">
            <a:avLst/>
          </a:prstGeom>
        </p:spPr>
        <p:txBody>
          <a:bodyPr vert="horz" wrap="none" lIns="91440" tIns="91440" rIns="91440" bIns="91440" rtlCol="0" anchor="t">
            <a:noAutofit/>
          </a:bodyPr>
          <a:lstStyle/>
          <a:p>
            <a:pPr algn="ctr"/>
            <a:r>
              <a:rPr lang="en-US" sz="1400" dirty="0">
                <a:latin typeface="Segoe UI" pitchFamily="34" charset="0"/>
                <a:ea typeface="Segoe UI" pitchFamily="34" charset="0"/>
                <a:cs typeface="Segoe UI" pitchFamily="34" charset="0"/>
              </a:rPr>
              <a:t>Browser App</a:t>
            </a:r>
          </a:p>
        </p:txBody>
      </p:sp>
      <p:cxnSp>
        <p:nvCxnSpPr>
          <p:cNvPr id="101" name="Straight Arrow Connector 100"/>
          <p:cNvCxnSpPr>
            <a:stCxn id="63" idx="0"/>
            <a:endCxn id="50" idx="2"/>
          </p:cNvCxnSpPr>
          <p:nvPr/>
        </p:nvCxnSpPr>
        <p:spPr>
          <a:xfrm flipV="1">
            <a:off x="8278598" y="4457692"/>
            <a:ext cx="2" cy="1104448"/>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a:cxnSpLocks/>
            <a:stCxn id="54" idx="0"/>
          </p:cNvCxnSpPr>
          <p:nvPr/>
        </p:nvCxnSpPr>
        <p:spPr>
          <a:xfrm flipV="1">
            <a:off x="10738737" y="4631504"/>
            <a:ext cx="9273" cy="674604"/>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10363" y="11706"/>
            <a:ext cx="11653523" cy="763146"/>
          </a:xfrm>
          <a:solidFill>
            <a:schemeClr val="bg1"/>
          </a:solidFill>
        </p:spPr>
        <p:txBody>
          <a:bodyPr>
            <a:normAutofit fontScale="90000"/>
          </a:bodyPr>
          <a:lstStyle/>
          <a:p>
            <a:r>
              <a:rPr lang="en-US" sz="4400" dirty="0"/>
              <a:t>Customer Analytics: Storyboard ISV IaaS Option</a:t>
            </a:r>
          </a:p>
        </p:txBody>
      </p:sp>
      <p:pic>
        <p:nvPicPr>
          <p:cNvPr id="65" name="Picture 64"/>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10748010" y="1312099"/>
            <a:ext cx="304808" cy="304807"/>
          </a:xfrm>
          <a:prstGeom prst="rect">
            <a:avLst/>
          </a:prstGeom>
        </p:spPr>
      </p:pic>
      <p:sp>
        <p:nvSpPr>
          <p:cNvPr id="70" name="TextBox 69"/>
          <p:cNvSpPr txBox="1"/>
          <p:nvPr/>
        </p:nvSpPr>
        <p:spPr>
          <a:xfrm>
            <a:off x="10515942" y="1669014"/>
            <a:ext cx="768944" cy="307777"/>
          </a:xfrm>
          <a:prstGeom prst="rect">
            <a:avLst/>
          </a:prstGeom>
        </p:spPr>
        <p:txBody>
          <a:bodyPr vert="horz" wrap="square" lIns="0" tIns="0" rIns="0" bIns="0" rtlCol="0" anchor="ctr">
            <a:noAutofit/>
          </a:bodyPr>
          <a:lstStyle>
            <a:defPPr>
              <a:defRPr lang="en-US"/>
            </a:defPPr>
            <a:lvl1pPr algn="ctr" defTabSz="1088105">
              <a:defRPr sz="12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r>
              <a:rPr lang="en-US" b="1" dirty="0">
                <a:solidFill>
                  <a:schemeClr val="tx1"/>
                </a:solidFill>
              </a:rPr>
              <a:t>Azure</a:t>
            </a:r>
            <a:br>
              <a:rPr lang="en-US" b="1" dirty="0">
                <a:solidFill>
                  <a:schemeClr val="tx1"/>
                </a:solidFill>
              </a:rPr>
            </a:br>
            <a:r>
              <a:rPr lang="en-US" b="1" dirty="0">
                <a:solidFill>
                  <a:schemeClr val="tx1"/>
                </a:solidFill>
              </a:rPr>
              <a:t>Storage</a:t>
            </a:r>
          </a:p>
        </p:txBody>
      </p:sp>
      <p:grpSp>
        <p:nvGrpSpPr>
          <p:cNvPr id="72" name="Group 71"/>
          <p:cNvGrpSpPr/>
          <p:nvPr/>
        </p:nvGrpSpPr>
        <p:grpSpPr>
          <a:xfrm>
            <a:off x="2401968" y="1092672"/>
            <a:ext cx="694501" cy="892718"/>
            <a:chOff x="547563" y="4867918"/>
            <a:chExt cx="694501" cy="892718"/>
          </a:xfrm>
        </p:grpSpPr>
        <p:sp>
          <p:nvSpPr>
            <p:cNvPr id="73" name="TextBox 72"/>
            <p:cNvSpPr txBox="1"/>
            <p:nvPr/>
          </p:nvSpPr>
          <p:spPr>
            <a:xfrm>
              <a:off x="547563" y="5606748"/>
              <a:ext cx="694501" cy="153888"/>
            </a:xfrm>
            <a:prstGeom prst="rect">
              <a:avLst/>
            </a:prstGeom>
          </p:spPr>
          <p:txBody>
            <a:bodyPr vert="horz" wrap="square" lIns="0" tIns="0" rIns="0" bIns="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r>
                <a:rPr lang="en-US" sz="1200" b="1" dirty="0">
                  <a:solidFill>
                    <a:schemeClr val="tx1"/>
                  </a:solidFill>
                </a:rPr>
                <a:t>CRM Customer Data</a:t>
              </a:r>
            </a:p>
          </p:txBody>
        </p:sp>
        <p:pic>
          <p:nvPicPr>
            <p:cNvPr id="74" name="Picture 73"/>
            <p:cNvPicPr>
              <a:picLocks noChangeAspect="1"/>
            </p:cNvPicPr>
            <p:nvPr/>
          </p:nvPicPr>
          <p:blipFill>
            <a:blip r:embed="rId9"/>
            <a:stretch>
              <a:fillRect/>
            </a:stretch>
          </p:blipFill>
          <p:spPr>
            <a:xfrm>
              <a:off x="731204" y="4867918"/>
              <a:ext cx="327217" cy="387206"/>
            </a:xfrm>
            <a:prstGeom prst="rect">
              <a:avLst/>
            </a:prstGeom>
          </p:spPr>
        </p:pic>
      </p:grpSp>
      <p:grpSp>
        <p:nvGrpSpPr>
          <p:cNvPr id="75" name="Group 74"/>
          <p:cNvGrpSpPr/>
          <p:nvPr/>
        </p:nvGrpSpPr>
        <p:grpSpPr>
          <a:xfrm>
            <a:off x="671159" y="1366590"/>
            <a:ext cx="776564" cy="870215"/>
            <a:chOff x="8693741" y="4214448"/>
            <a:chExt cx="776564" cy="870215"/>
          </a:xfrm>
        </p:grpSpPr>
        <p:grpSp>
          <p:nvGrpSpPr>
            <p:cNvPr id="76" name="Group 75"/>
            <p:cNvGrpSpPr>
              <a:grpSpLocks noChangeAspect="1"/>
            </p:cNvGrpSpPr>
            <p:nvPr/>
          </p:nvGrpSpPr>
          <p:grpSpPr bwMode="black">
            <a:xfrm>
              <a:off x="8725281" y="4214448"/>
              <a:ext cx="621499" cy="469793"/>
              <a:chOff x="5152725" y="4450437"/>
              <a:chExt cx="311284" cy="235362"/>
            </a:xfrm>
            <a:solidFill>
              <a:srgbClr val="5E83BD"/>
            </a:solidFill>
          </p:grpSpPr>
          <p:sp>
            <p:nvSpPr>
              <p:cNvPr id="78" name="Freeform 168"/>
              <p:cNvSpPr>
                <a:spLocks noEditPoints="1"/>
              </p:cNvSpPr>
              <p:nvPr/>
            </p:nvSpPr>
            <p:spPr bwMode="black">
              <a:xfrm>
                <a:off x="5152725" y="4450437"/>
                <a:ext cx="212585" cy="199299"/>
              </a:xfrm>
              <a:custGeom>
                <a:avLst/>
                <a:gdLst/>
                <a:ahLst/>
                <a:cxnLst>
                  <a:cxn ang="0">
                    <a:pos x="215" y="24"/>
                  </a:cxn>
                  <a:cxn ang="0">
                    <a:pos x="127" y="0"/>
                  </a:cxn>
                  <a:cxn ang="0">
                    <a:pos x="39" y="24"/>
                  </a:cxn>
                  <a:cxn ang="0">
                    <a:pos x="0" y="89"/>
                  </a:cxn>
                  <a:cxn ang="0">
                    <a:pos x="42" y="155"/>
                  </a:cxn>
                  <a:cxn ang="0">
                    <a:pos x="34" y="197"/>
                  </a:cxn>
                  <a:cxn ang="0">
                    <a:pos x="27" y="231"/>
                  </a:cxn>
                  <a:cxn ang="0">
                    <a:pos x="25" y="240"/>
                  </a:cxn>
                  <a:cxn ang="0">
                    <a:pos x="31" y="233"/>
                  </a:cxn>
                  <a:cxn ang="0">
                    <a:pos x="55" y="207"/>
                  </a:cxn>
                  <a:cxn ang="0">
                    <a:pos x="87" y="173"/>
                  </a:cxn>
                  <a:cxn ang="0">
                    <a:pos x="127" y="178"/>
                  </a:cxn>
                  <a:cxn ang="0">
                    <a:pos x="215" y="153"/>
                  </a:cxn>
                  <a:cxn ang="0">
                    <a:pos x="255" y="89"/>
                  </a:cxn>
                  <a:cxn ang="0">
                    <a:pos x="215" y="24"/>
                  </a:cxn>
                  <a:cxn ang="0">
                    <a:pos x="59" y="149"/>
                  </a:cxn>
                  <a:cxn ang="0">
                    <a:pos x="59" y="147"/>
                  </a:cxn>
                  <a:cxn ang="0">
                    <a:pos x="57" y="147"/>
                  </a:cxn>
                  <a:cxn ang="0">
                    <a:pos x="15" y="89"/>
                  </a:cxn>
                  <a:cxn ang="0">
                    <a:pos x="127" y="15"/>
                  </a:cxn>
                  <a:cxn ang="0">
                    <a:pos x="240" y="89"/>
                  </a:cxn>
                  <a:cxn ang="0">
                    <a:pos x="127" y="163"/>
                  </a:cxn>
                  <a:cxn ang="0">
                    <a:pos x="83" y="157"/>
                  </a:cxn>
                  <a:cxn ang="0">
                    <a:pos x="82" y="156"/>
                  </a:cxn>
                  <a:cxn ang="0">
                    <a:pos x="81" y="158"/>
                  </a:cxn>
                  <a:cxn ang="0">
                    <a:pos x="50" y="191"/>
                  </a:cxn>
                  <a:cxn ang="0">
                    <a:pos x="59" y="149"/>
                  </a:cxn>
                </a:cxnLst>
                <a:rect l="0" t="0" r="r" b="b"/>
                <a:pathLst>
                  <a:path w="255" h="240">
                    <a:moveTo>
                      <a:pt x="215" y="24"/>
                    </a:moveTo>
                    <a:cubicBezTo>
                      <a:pt x="192" y="8"/>
                      <a:pt x="160" y="0"/>
                      <a:pt x="127" y="0"/>
                    </a:cubicBezTo>
                    <a:cubicBezTo>
                      <a:pt x="94" y="0"/>
                      <a:pt x="63" y="8"/>
                      <a:pt x="39" y="24"/>
                    </a:cubicBezTo>
                    <a:cubicBezTo>
                      <a:pt x="14" y="41"/>
                      <a:pt x="0" y="64"/>
                      <a:pt x="0" y="89"/>
                    </a:cubicBezTo>
                    <a:cubicBezTo>
                      <a:pt x="0" y="114"/>
                      <a:pt x="15" y="138"/>
                      <a:pt x="42" y="155"/>
                    </a:cubicBezTo>
                    <a:cubicBezTo>
                      <a:pt x="34" y="197"/>
                      <a:pt x="34" y="197"/>
                      <a:pt x="34" y="197"/>
                    </a:cubicBezTo>
                    <a:cubicBezTo>
                      <a:pt x="27" y="231"/>
                      <a:pt x="27" y="231"/>
                      <a:pt x="27" y="231"/>
                    </a:cubicBezTo>
                    <a:cubicBezTo>
                      <a:pt x="25" y="240"/>
                      <a:pt x="25" y="240"/>
                      <a:pt x="25" y="240"/>
                    </a:cubicBezTo>
                    <a:cubicBezTo>
                      <a:pt x="31" y="233"/>
                      <a:pt x="31" y="233"/>
                      <a:pt x="31" y="233"/>
                    </a:cubicBezTo>
                    <a:cubicBezTo>
                      <a:pt x="55" y="207"/>
                      <a:pt x="55" y="207"/>
                      <a:pt x="55" y="207"/>
                    </a:cubicBezTo>
                    <a:cubicBezTo>
                      <a:pt x="87" y="173"/>
                      <a:pt x="87" y="173"/>
                      <a:pt x="87" y="173"/>
                    </a:cubicBezTo>
                    <a:cubicBezTo>
                      <a:pt x="100" y="176"/>
                      <a:pt x="113" y="178"/>
                      <a:pt x="127" y="178"/>
                    </a:cubicBezTo>
                    <a:cubicBezTo>
                      <a:pt x="160" y="178"/>
                      <a:pt x="192" y="169"/>
                      <a:pt x="215" y="153"/>
                    </a:cubicBezTo>
                    <a:cubicBezTo>
                      <a:pt x="241" y="136"/>
                      <a:pt x="255" y="113"/>
                      <a:pt x="255" y="89"/>
                    </a:cubicBezTo>
                    <a:cubicBezTo>
                      <a:pt x="255" y="64"/>
                      <a:pt x="241" y="41"/>
                      <a:pt x="215" y="24"/>
                    </a:cubicBezTo>
                    <a:close/>
                    <a:moveTo>
                      <a:pt x="59" y="149"/>
                    </a:moveTo>
                    <a:cubicBezTo>
                      <a:pt x="59" y="147"/>
                      <a:pt x="59" y="147"/>
                      <a:pt x="59" y="147"/>
                    </a:cubicBezTo>
                    <a:cubicBezTo>
                      <a:pt x="57" y="147"/>
                      <a:pt x="57" y="147"/>
                      <a:pt x="57" y="147"/>
                    </a:cubicBezTo>
                    <a:cubicBezTo>
                      <a:pt x="30" y="132"/>
                      <a:pt x="15" y="111"/>
                      <a:pt x="15" y="89"/>
                    </a:cubicBezTo>
                    <a:cubicBezTo>
                      <a:pt x="15" y="48"/>
                      <a:pt x="65" y="15"/>
                      <a:pt x="127" y="15"/>
                    </a:cubicBezTo>
                    <a:cubicBezTo>
                      <a:pt x="189" y="15"/>
                      <a:pt x="240" y="48"/>
                      <a:pt x="240" y="89"/>
                    </a:cubicBezTo>
                    <a:cubicBezTo>
                      <a:pt x="240" y="129"/>
                      <a:pt x="189" y="163"/>
                      <a:pt x="127" y="163"/>
                    </a:cubicBezTo>
                    <a:cubicBezTo>
                      <a:pt x="112" y="163"/>
                      <a:pt x="97" y="161"/>
                      <a:pt x="83" y="157"/>
                    </a:cubicBezTo>
                    <a:cubicBezTo>
                      <a:pt x="82" y="156"/>
                      <a:pt x="82" y="156"/>
                      <a:pt x="82" y="156"/>
                    </a:cubicBezTo>
                    <a:cubicBezTo>
                      <a:pt x="81" y="158"/>
                      <a:pt x="81" y="158"/>
                      <a:pt x="81" y="158"/>
                    </a:cubicBezTo>
                    <a:cubicBezTo>
                      <a:pt x="50" y="191"/>
                      <a:pt x="50" y="191"/>
                      <a:pt x="50" y="191"/>
                    </a:cubicBezTo>
                    <a:lnTo>
                      <a:pt x="59" y="149"/>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z="2800" b="1" spc="-122">
                  <a:solidFill>
                    <a:schemeClr val="tx1"/>
                  </a:solidFill>
                  <a:latin typeface="Segoe Light" pitchFamily="34" charset="0"/>
                </a:endParaRPr>
              </a:p>
            </p:txBody>
          </p:sp>
          <p:sp>
            <p:nvSpPr>
              <p:cNvPr id="79" name="Freeform 169"/>
              <p:cNvSpPr>
                <a:spLocks/>
              </p:cNvSpPr>
              <p:nvPr/>
            </p:nvSpPr>
            <p:spPr bwMode="black">
              <a:xfrm>
                <a:off x="5295080" y="4518768"/>
                <a:ext cx="168929" cy="167031"/>
              </a:xfrm>
              <a:custGeom>
                <a:avLst/>
                <a:gdLst/>
                <a:ahLst/>
                <a:cxnLst>
                  <a:cxn ang="0">
                    <a:pos x="203" y="74"/>
                  </a:cxn>
                  <a:cxn ang="0">
                    <a:pos x="170" y="20"/>
                  </a:cxn>
                  <a:cxn ang="0">
                    <a:pos x="98" y="0"/>
                  </a:cxn>
                  <a:cxn ang="0">
                    <a:pos x="95" y="0"/>
                  </a:cxn>
                  <a:cxn ang="0">
                    <a:pos x="95" y="3"/>
                  </a:cxn>
                  <a:cxn ang="0">
                    <a:pos x="96" y="11"/>
                  </a:cxn>
                  <a:cxn ang="0">
                    <a:pos x="96" y="13"/>
                  </a:cxn>
                  <a:cxn ang="0">
                    <a:pos x="99" y="13"/>
                  </a:cxn>
                  <a:cxn ang="0">
                    <a:pos x="190" y="74"/>
                  </a:cxn>
                  <a:cxn ang="0">
                    <a:pos x="155" y="121"/>
                  </a:cxn>
                  <a:cxn ang="0">
                    <a:pos x="153" y="122"/>
                  </a:cxn>
                  <a:cxn ang="0">
                    <a:pos x="153" y="124"/>
                  </a:cxn>
                  <a:cxn ang="0">
                    <a:pos x="160" y="157"/>
                  </a:cxn>
                  <a:cxn ang="0">
                    <a:pos x="136" y="130"/>
                  </a:cxn>
                  <a:cxn ang="0">
                    <a:pos x="134" y="129"/>
                  </a:cxn>
                  <a:cxn ang="0">
                    <a:pos x="133" y="130"/>
                  </a:cxn>
                  <a:cxn ang="0">
                    <a:pos x="97" y="134"/>
                  </a:cxn>
                  <a:cxn ang="0">
                    <a:pos x="15" y="102"/>
                  </a:cxn>
                  <a:cxn ang="0">
                    <a:pos x="14" y="100"/>
                  </a:cxn>
                  <a:cxn ang="0">
                    <a:pos x="12" y="101"/>
                  </a:cxn>
                  <a:cxn ang="0">
                    <a:pos x="4" y="103"/>
                  </a:cxn>
                  <a:cxn ang="0">
                    <a:pos x="0" y="104"/>
                  </a:cxn>
                  <a:cxn ang="0">
                    <a:pos x="2" y="107"/>
                  </a:cxn>
                  <a:cxn ang="0">
                    <a:pos x="24" y="127"/>
                  </a:cxn>
                  <a:cxn ang="0">
                    <a:pos x="97" y="148"/>
                  </a:cxn>
                  <a:cxn ang="0">
                    <a:pos x="130" y="144"/>
                  </a:cxn>
                  <a:cxn ang="0">
                    <a:pos x="156" y="172"/>
                  </a:cxn>
                  <a:cxn ang="0">
                    <a:pos x="176" y="194"/>
                  </a:cxn>
                  <a:cxn ang="0">
                    <a:pos x="182" y="200"/>
                  </a:cxn>
                  <a:cxn ang="0">
                    <a:pos x="180" y="192"/>
                  </a:cxn>
                  <a:cxn ang="0">
                    <a:pos x="175" y="163"/>
                  </a:cxn>
                  <a:cxn ang="0">
                    <a:pos x="168" y="129"/>
                  </a:cxn>
                  <a:cxn ang="0">
                    <a:pos x="203" y="74"/>
                  </a:cxn>
                </a:cxnLst>
                <a:rect l="0" t="0" r="r" b="b"/>
                <a:pathLst>
                  <a:path w="203" h="200">
                    <a:moveTo>
                      <a:pt x="203" y="74"/>
                    </a:moveTo>
                    <a:cubicBezTo>
                      <a:pt x="203" y="53"/>
                      <a:pt x="191" y="34"/>
                      <a:pt x="170" y="20"/>
                    </a:cubicBezTo>
                    <a:cubicBezTo>
                      <a:pt x="151" y="7"/>
                      <a:pt x="125" y="0"/>
                      <a:pt x="98" y="0"/>
                    </a:cubicBezTo>
                    <a:cubicBezTo>
                      <a:pt x="95" y="0"/>
                      <a:pt x="95" y="0"/>
                      <a:pt x="95" y="0"/>
                    </a:cubicBezTo>
                    <a:cubicBezTo>
                      <a:pt x="95" y="3"/>
                      <a:pt x="95" y="3"/>
                      <a:pt x="95" y="3"/>
                    </a:cubicBezTo>
                    <a:cubicBezTo>
                      <a:pt x="96" y="5"/>
                      <a:pt x="96" y="8"/>
                      <a:pt x="96" y="11"/>
                    </a:cubicBezTo>
                    <a:cubicBezTo>
                      <a:pt x="96" y="13"/>
                      <a:pt x="96" y="13"/>
                      <a:pt x="96" y="13"/>
                    </a:cubicBezTo>
                    <a:cubicBezTo>
                      <a:pt x="99" y="13"/>
                      <a:pt x="99" y="13"/>
                      <a:pt x="99" y="13"/>
                    </a:cubicBezTo>
                    <a:cubicBezTo>
                      <a:pt x="149" y="14"/>
                      <a:pt x="190" y="41"/>
                      <a:pt x="190" y="74"/>
                    </a:cubicBezTo>
                    <a:cubicBezTo>
                      <a:pt x="190" y="92"/>
                      <a:pt x="177" y="110"/>
                      <a:pt x="155" y="121"/>
                    </a:cubicBezTo>
                    <a:cubicBezTo>
                      <a:pt x="153" y="122"/>
                      <a:pt x="153" y="122"/>
                      <a:pt x="153" y="122"/>
                    </a:cubicBezTo>
                    <a:cubicBezTo>
                      <a:pt x="153" y="124"/>
                      <a:pt x="153" y="124"/>
                      <a:pt x="153" y="124"/>
                    </a:cubicBezTo>
                    <a:cubicBezTo>
                      <a:pt x="160" y="157"/>
                      <a:pt x="160" y="157"/>
                      <a:pt x="160" y="157"/>
                    </a:cubicBezTo>
                    <a:cubicBezTo>
                      <a:pt x="136" y="130"/>
                      <a:pt x="136" y="130"/>
                      <a:pt x="136" y="130"/>
                    </a:cubicBezTo>
                    <a:cubicBezTo>
                      <a:pt x="134" y="129"/>
                      <a:pt x="134" y="129"/>
                      <a:pt x="134" y="129"/>
                    </a:cubicBezTo>
                    <a:cubicBezTo>
                      <a:pt x="133" y="130"/>
                      <a:pt x="133" y="130"/>
                      <a:pt x="133" y="130"/>
                    </a:cubicBezTo>
                    <a:cubicBezTo>
                      <a:pt x="122" y="133"/>
                      <a:pt x="109" y="134"/>
                      <a:pt x="97" y="134"/>
                    </a:cubicBezTo>
                    <a:cubicBezTo>
                      <a:pt x="62" y="134"/>
                      <a:pt x="31" y="122"/>
                      <a:pt x="15" y="102"/>
                    </a:cubicBezTo>
                    <a:cubicBezTo>
                      <a:pt x="14" y="100"/>
                      <a:pt x="14" y="100"/>
                      <a:pt x="14" y="100"/>
                    </a:cubicBezTo>
                    <a:cubicBezTo>
                      <a:pt x="12" y="101"/>
                      <a:pt x="12" y="101"/>
                      <a:pt x="12" y="101"/>
                    </a:cubicBezTo>
                    <a:cubicBezTo>
                      <a:pt x="10" y="102"/>
                      <a:pt x="7" y="102"/>
                      <a:pt x="4" y="103"/>
                    </a:cubicBezTo>
                    <a:cubicBezTo>
                      <a:pt x="0" y="104"/>
                      <a:pt x="0" y="104"/>
                      <a:pt x="0" y="104"/>
                    </a:cubicBezTo>
                    <a:cubicBezTo>
                      <a:pt x="2" y="107"/>
                      <a:pt x="2" y="107"/>
                      <a:pt x="2" y="107"/>
                    </a:cubicBezTo>
                    <a:cubicBezTo>
                      <a:pt x="8" y="115"/>
                      <a:pt x="15" y="121"/>
                      <a:pt x="24" y="127"/>
                    </a:cubicBezTo>
                    <a:cubicBezTo>
                      <a:pt x="44" y="141"/>
                      <a:pt x="70" y="148"/>
                      <a:pt x="97" y="148"/>
                    </a:cubicBezTo>
                    <a:cubicBezTo>
                      <a:pt x="108" y="148"/>
                      <a:pt x="119" y="147"/>
                      <a:pt x="130" y="144"/>
                    </a:cubicBezTo>
                    <a:cubicBezTo>
                      <a:pt x="156" y="172"/>
                      <a:pt x="156" y="172"/>
                      <a:pt x="156" y="172"/>
                    </a:cubicBezTo>
                    <a:cubicBezTo>
                      <a:pt x="176" y="194"/>
                      <a:pt x="176" y="194"/>
                      <a:pt x="176" y="194"/>
                    </a:cubicBezTo>
                    <a:cubicBezTo>
                      <a:pt x="182" y="200"/>
                      <a:pt x="182" y="200"/>
                      <a:pt x="182" y="200"/>
                    </a:cubicBezTo>
                    <a:cubicBezTo>
                      <a:pt x="180" y="192"/>
                      <a:pt x="180" y="192"/>
                      <a:pt x="180" y="192"/>
                    </a:cubicBezTo>
                    <a:cubicBezTo>
                      <a:pt x="175" y="163"/>
                      <a:pt x="175" y="163"/>
                      <a:pt x="175" y="163"/>
                    </a:cubicBezTo>
                    <a:cubicBezTo>
                      <a:pt x="168" y="129"/>
                      <a:pt x="168" y="129"/>
                      <a:pt x="168" y="129"/>
                    </a:cubicBezTo>
                    <a:cubicBezTo>
                      <a:pt x="190" y="115"/>
                      <a:pt x="203" y="95"/>
                      <a:pt x="203" y="74"/>
                    </a:cubicBezTo>
                    <a:close/>
                  </a:path>
                </a:pathLst>
              </a:custGeom>
              <a:solidFill>
                <a:schemeClr val="bg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z="2800" b="1" spc="-122">
                  <a:solidFill>
                    <a:schemeClr val="tx1"/>
                  </a:solidFill>
                  <a:latin typeface="Segoe Light" pitchFamily="34" charset="0"/>
                </a:endParaRPr>
              </a:p>
            </p:txBody>
          </p:sp>
        </p:grpSp>
        <p:sp>
          <p:nvSpPr>
            <p:cNvPr id="77" name="TextBox 76"/>
            <p:cNvSpPr txBox="1"/>
            <p:nvPr/>
          </p:nvSpPr>
          <p:spPr>
            <a:xfrm>
              <a:off x="8693741" y="4765819"/>
              <a:ext cx="776564" cy="318844"/>
            </a:xfrm>
            <a:prstGeom prst="rect">
              <a:avLst/>
            </a:prstGeom>
          </p:spPr>
          <p:txBody>
            <a:bodyPr vert="horz" wrap="square" lIns="0" tIns="0" rIns="0" bIns="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r>
                <a:rPr lang="en-US" sz="1200" b="1" dirty="0">
                  <a:solidFill>
                    <a:schemeClr val="tx1"/>
                  </a:solidFill>
                </a:rPr>
                <a:t>Social Media</a:t>
              </a:r>
            </a:p>
          </p:txBody>
        </p:sp>
      </p:grpSp>
      <p:pic>
        <p:nvPicPr>
          <p:cNvPr id="80" name="Picture 6" descr="http://www.menioglobal.com/wp-content/uploads/2015/09/Clover-Station.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901616" y="1246172"/>
            <a:ext cx="528491" cy="528491"/>
          </a:xfrm>
          <a:prstGeom prst="rect">
            <a:avLst/>
          </a:prstGeom>
          <a:noFill/>
          <a:extLst>
            <a:ext uri="{909E8E84-426E-40DD-AFC4-6F175D3DCCD1}">
              <a14:hiddenFill xmlns:a14="http://schemas.microsoft.com/office/drawing/2010/main">
                <a:solidFill>
                  <a:srgbClr val="FFFFFF"/>
                </a:solidFill>
              </a14:hiddenFill>
            </a:ext>
          </a:extLst>
        </p:spPr>
      </p:pic>
      <p:sp>
        <p:nvSpPr>
          <p:cNvPr id="82" name="TextBox 81"/>
          <p:cNvSpPr txBox="1"/>
          <p:nvPr/>
        </p:nvSpPr>
        <p:spPr>
          <a:xfrm>
            <a:off x="8810590" y="1780094"/>
            <a:ext cx="694501" cy="153888"/>
          </a:xfrm>
          <a:prstGeom prst="rect">
            <a:avLst/>
          </a:prstGeom>
        </p:spPr>
        <p:txBody>
          <a:bodyPr vert="horz" wrap="square" lIns="0" tIns="0" rIns="0" bIns="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r>
              <a:rPr lang="en-US" sz="1200" b="1" dirty="0">
                <a:solidFill>
                  <a:schemeClr val="tx1"/>
                </a:solidFill>
              </a:rPr>
              <a:t>POS Data</a:t>
            </a:r>
          </a:p>
        </p:txBody>
      </p:sp>
      <p:sp>
        <p:nvSpPr>
          <p:cNvPr id="11" name="Isosceles Triangle 10"/>
          <p:cNvSpPr/>
          <p:nvPr/>
        </p:nvSpPr>
        <p:spPr>
          <a:xfrm rot="10800000">
            <a:off x="224022" y="2422837"/>
            <a:ext cx="1806234" cy="645530"/>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pic>
        <p:nvPicPr>
          <p:cNvPr id="68610" name="Picture 2" descr="Image result for bi reports"/>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041858" y="3693444"/>
            <a:ext cx="1393598" cy="822602"/>
          </a:xfrm>
          <a:prstGeom prst="rect">
            <a:avLst/>
          </a:prstGeom>
          <a:noFill/>
          <a:extLst>
            <a:ext uri="{909E8E84-426E-40DD-AFC4-6F175D3DCCD1}">
              <a14:hiddenFill xmlns:a14="http://schemas.microsoft.com/office/drawing/2010/main">
                <a:solidFill>
                  <a:srgbClr val="FFFFFF"/>
                </a:solidFill>
              </a14:hiddenFill>
            </a:ext>
          </a:extLst>
        </p:spPr>
      </p:pic>
      <p:sp>
        <p:nvSpPr>
          <p:cNvPr id="91" name="Isosceles Triangle 90"/>
          <p:cNvSpPr/>
          <p:nvPr/>
        </p:nvSpPr>
        <p:spPr>
          <a:xfrm rot="5400000">
            <a:off x="3205383" y="4098186"/>
            <a:ext cx="1806234" cy="645530"/>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92" name="Isosceles Triangle 91"/>
          <p:cNvSpPr/>
          <p:nvPr/>
        </p:nvSpPr>
        <p:spPr>
          <a:xfrm rot="5400000">
            <a:off x="8598476" y="4080226"/>
            <a:ext cx="1806234" cy="645530"/>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pic>
        <p:nvPicPr>
          <p:cNvPr id="68612" name="Picture 4" descr="https://prodpublishingstorage.blob.core.windows.net/ee41297c-4ff8-49bf-bf0d-297cfcec6453/logo-130937145147377018.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548288" y="3604378"/>
            <a:ext cx="1468481" cy="1468481"/>
          </a:xfrm>
          <a:prstGeom prst="rect">
            <a:avLst/>
          </a:prstGeom>
          <a:noFill/>
          <a:extLst>
            <a:ext uri="{909E8E84-426E-40DD-AFC4-6F175D3DCCD1}">
              <a14:hiddenFill xmlns:a14="http://schemas.microsoft.com/office/drawing/2010/main">
                <a:solidFill>
                  <a:srgbClr val="FFFFFF"/>
                </a:solidFill>
              </a14:hiddenFill>
            </a:ext>
          </a:extLst>
        </p:spPr>
      </p:pic>
      <p:pic>
        <p:nvPicPr>
          <p:cNvPr id="68614" name="Picture 6" descr="https://prodpublishingstorage.blob.core.windows.net/f1a49791-1c3c-4623-9e07-877440aa4a89/logo-131066749404260389.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477488" y="3790930"/>
            <a:ext cx="1095375" cy="1095375"/>
          </a:xfrm>
          <a:prstGeom prst="rect">
            <a:avLst/>
          </a:prstGeom>
          <a:noFill/>
          <a:extLst>
            <a:ext uri="{909E8E84-426E-40DD-AFC4-6F175D3DCCD1}">
              <a14:hiddenFill xmlns:a14="http://schemas.microsoft.com/office/drawing/2010/main">
                <a:solidFill>
                  <a:srgbClr val="FFFFFF"/>
                </a:solidFill>
              </a14:hiddenFill>
            </a:ext>
          </a:extLst>
        </p:spPr>
      </p:pic>
      <p:sp>
        <p:nvSpPr>
          <p:cNvPr id="95" name="TextBox 94"/>
          <p:cNvSpPr txBox="1"/>
          <p:nvPr/>
        </p:nvSpPr>
        <p:spPr>
          <a:xfrm>
            <a:off x="1399649" y="4825032"/>
            <a:ext cx="1380992" cy="270521"/>
          </a:xfrm>
          <a:prstGeom prst="rect">
            <a:avLst/>
          </a:prstGeom>
        </p:spPr>
        <p:txBody>
          <a:bodyPr vert="horz" wrap="none" lIns="91440" tIns="91440" rIns="91440" bIns="91440" rtlCol="0" anchor="t">
            <a:noAutofit/>
          </a:bodyPr>
          <a:lstStyle/>
          <a:p>
            <a:pPr algn="ctr"/>
            <a:r>
              <a:rPr lang="en-US" sz="1100" dirty="0" err="1">
                <a:latin typeface="Segoe UI" pitchFamily="34" charset="0"/>
                <a:ea typeface="Segoe UI" pitchFamily="34" charset="0"/>
                <a:cs typeface="Segoe UI" pitchFamily="34" charset="0"/>
              </a:rPr>
              <a:t>Attunity</a:t>
            </a:r>
            <a:endParaRPr lang="en-US" sz="1100" dirty="0">
              <a:latin typeface="Segoe UI" pitchFamily="34" charset="0"/>
              <a:ea typeface="Segoe UI" pitchFamily="34" charset="0"/>
              <a:cs typeface="Segoe UI" pitchFamily="34" charset="0"/>
            </a:endParaRPr>
          </a:p>
        </p:txBody>
      </p:sp>
      <p:pic>
        <p:nvPicPr>
          <p:cNvPr id="68616" name="Picture 8" descr="Image result for ssis"/>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12715" y="5250369"/>
            <a:ext cx="2117602" cy="12568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0700110"/>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Azure Technical BOM</a:t>
            </a:r>
          </a:p>
        </p:txBody>
      </p:sp>
      <p:sp>
        <p:nvSpPr>
          <p:cNvPr id="6" name="Text Placeholder 5"/>
          <p:cNvSpPr>
            <a:spLocks noGrp="1"/>
          </p:cNvSpPr>
          <p:nvPr>
            <p:ph type="body" sz="quarter" idx="13"/>
          </p:nvPr>
        </p:nvSpPr>
        <p:spPr/>
        <p:txBody>
          <a:bodyPr/>
          <a:lstStyle/>
          <a:p>
            <a:r>
              <a:rPr lang="en-US" dirty="0"/>
              <a:t>Customer Analytics Blueprint</a:t>
            </a:r>
          </a:p>
        </p:txBody>
      </p:sp>
      <p:sp>
        <p:nvSpPr>
          <p:cNvPr id="7" name="Text Placeholder 6"/>
          <p:cNvSpPr>
            <a:spLocks noGrp="1"/>
          </p:cNvSpPr>
          <p:nvPr>
            <p:ph type="body" sz="quarter" idx="14"/>
          </p:nvPr>
        </p:nvSpPr>
        <p:spPr>
          <a:xfrm>
            <a:off x="150853" y="1219647"/>
            <a:ext cx="11890296" cy="4957603"/>
          </a:xfrm>
        </p:spPr>
        <p:txBody>
          <a:bodyPr>
            <a:normAutofit lnSpcReduction="10000"/>
          </a:bodyPr>
          <a:lstStyle/>
          <a:p>
            <a:pPr marL="342900" indent="-342900">
              <a:buFont typeface="Arial" panose="020B0604020202020204" pitchFamily="34" charset="0"/>
              <a:buChar char="•"/>
            </a:pPr>
            <a:r>
              <a:rPr lang="en-US" dirty="0"/>
              <a:t>Cortana Intelligence Machine Learning with Azure ML</a:t>
            </a:r>
            <a:endParaRPr lang="en-US" dirty="0">
              <a:hlinkClick r:id="rId3"/>
            </a:endParaRPr>
          </a:p>
          <a:p>
            <a:pPr marL="818970" lvl="1" indent="-342900"/>
            <a:r>
              <a:rPr lang="en-US" sz="1600" dirty="0">
                <a:hlinkClick r:id="rId3"/>
              </a:rPr>
              <a:t>https://gallery.cortanaintelligence.com/Experiment/Customer-Segmentation-And-Classification-2</a:t>
            </a:r>
            <a:endParaRPr lang="en-US" sz="1600" dirty="0"/>
          </a:p>
          <a:p>
            <a:pPr marL="818970" lvl="1" indent="-342900"/>
            <a:r>
              <a:rPr lang="en-US" sz="1600" dirty="0">
                <a:hlinkClick r:id="rId4"/>
              </a:rPr>
              <a:t>https://gallery.cortanaintelligence.com/Experiment/Telco-Customer-Churn-5</a:t>
            </a:r>
            <a:endParaRPr lang="en-US" sz="1600" dirty="0"/>
          </a:p>
          <a:p>
            <a:pPr marL="818970" lvl="1" indent="-342900"/>
            <a:r>
              <a:rPr lang="en-US" sz="1600" u="sng" dirty="0">
                <a:hlinkClick r:id="rId5"/>
              </a:rPr>
              <a:t>https://azure.microsoft.com/en-us/documentation/articles/machine-learning-recommendation-api-documentation/</a:t>
            </a:r>
            <a:r>
              <a:rPr lang="en-US" sz="1600" dirty="0"/>
              <a:t> </a:t>
            </a:r>
          </a:p>
          <a:p>
            <a:pPr marL="342900" indent="-342900">
              <a:buFont typeface="Arial" panose="020B0604020202020204" pitchFamily="34" charset="0"/>
              <a:buChar char="•"/>
            </a:pPr>
            <a:r>
              <a:rPr lang="en-US" dirty="0"/>
              <a:t>Azure SQL Data Warehouse</a:t>
            </a:r>
          </a:p>
          <a:p>
            <a:pPr marL="818970" lvl="1" indent="-342900"/>
            <a:r>
              <a:rPr lang="en-US" sz="1600" dirty="0"/>
              <a:t>Stores aggregated history and data buckets for historical analysis and business intelligence</a:t>
            </a:r>
            <a:r>
              <a:rPr lang="en-US" dirty="0"/>
              <a:t> </a:t>
            </a:r>
          </a:p>
          <a:p>
            <a:pPr marL="342900" indent="-342900">
              <a:buFont typeface="Arial" panose="020B0604020202020204" pitchFamily="34" charset="0"/>
              <a:buChar char="•"/>
            </a:pPr>
            <a:r>
              <a:rPr lang="en-US" dirty="0"/>
              <a:t>Azure Data Factory</a:t>
            </a:r>
          </a:p>
          <a:p>
            <a:pPr marL="818970" lvl="1" indent="-342900"/>
            <a:r>
              <a:rPr lang="en-US" sz="1600" dirty="0"/>
              <a:t>Used for cloud data movement, data orchestration and scheduling background data transformation jobs</a:t>
            </a:r>
          </a:p>
          <a:p>
            <a:pPr marL="342900" indent="-342900">
              <a:buFont typeface="Arial" panose="020B0604020202020204" pitchFamily="34" charset="0"/>
              <a:buChar char="•"/>
            </a:pPr>
            <a:r>
              <a:rPr lang="en-US" dirty="0"/>
              <a:t>Azure Data Lake</a:t>
            </a:r>
          </a:p>
          <a:p>
            <a:pPr marL="818970" lvl="1" indent="-342900"/>
            <a:r>
              <a:rPr lang="en-US" sz="1600" dirty="0"/>
              <a:t>Collection point for all data sources, used for batch analytics</a:t>
            </a:r>
          </a:p>
          <a:p>
            <a:pPr marL="342900" indent="-342900">
              <a:buFont typeface="Arial" panose="020B0604020202020204" pitchFamily="34" charset="0"/>
              <a:buChar char="•"/>
            </a:pPr>
            <a:r>
              <a:rPr lang="en-US" dirty="0"/>
              <a:t>Power BI</a:t>
            </a:r>
          </a:p>
          <a:p>
            <a:pPr marL="818970" lvl="1" indent="-342900"/>
            <a:r>
              <a:rPr lang="en-US" sz="1600" dirty="0"/>
              <a:t>Self-service data exploration tool with dashboards for viewing the results of analytics visually</a:t>
            </a:r>
          </a:p>
          <a:p>
            <a:endParaRPr lang="en-US" dirty="0"/>
          </a:p>
          <a:p>
            <a:endParaRPr lang="en-US" dirty="0"/>
          </a:p>
        </p:txBody>
      </p:sp>
      <p:sp>
        <p:nvSpPr>
          <p:cNvPr id="4" name="Slide Number Placeholder 3"/>
          <p:cNvSpPr>
            <a:spLocks noGrp="1"/>
          </p:cNvSpPr>
          <p:nvPr>
            <p:ph type="sldNum" sz="quarter" idx="15"/>
          </p:nvPr>
        </p:nvSpPr>
        <p:spPr/>
        <p:txBody>
          <a:bodyPr/>
          <a:lstStyle/>
          <a:p>
            <a:pPr defTabSz="1088105"/>
            <a:fld id="{FAADACFB-7C71-4E89-89D2-7BBA40B7BFA9}" type="slidenum">
              <a:rPr lang="en-US" smtClean="0">
                <a:solidFill>
                  <a:srgbClr val="505050"/>
                </a:solidFill>
              </a:rPr>
              <a:pPr defTabSz="1088105"/>
              <a:t>6</a:t>
            </a:fld>
            <a:endParaRPr lang="en-US" dirty="0">
              <a:solidFill>
                <a:srgbClr val="505050"/>
              </a:solidFill>
            </a:endParaRPr>
          </a:p>
        </p:txBody>
      </p:sp>
    </p:spTree>
    <p:extLst>
      <p:ext uri="{BB962C8B-B14F-4D97-AF65-F5344CB8AC3E}">
        <p14:creationId xmlns:p14="http://schemas.microsoft.com/office/powerpoint/2010/main" val="363321955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haredContentType xmlns="Microsoft.SharePoint.Taxonomy.ContentTypeSync" SourceId="e385fb40-52d4-4fae-9c5b-3e8ff8a5878e" ContentTypeId="0x01010079CA57CA2DAD654DAB031774EE674658" PreviousValue="false"/>
</file>

<file path=customXml/item4.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The Marketing Book of Dreams is set of scenarios for driving digital business transformation of marketing, including digital marketing and customer experience, marketing productivity, and marketing insights.</DocumentDescription>
    <_ip_UnifiedCompliancePolicyUIAction xmlns="http://schemas.microsoft.com/sharepoint/v3" xsi:nil="true"/>
    <SMEComments xmlns="2c369b2b-3f94-46ec-90e1-485ed2885eab" xsi:nil="true"/>
    <servicespriorityarea xmlns="230e9df3-be65-4c73-a93b-d1236ebd677e">
      <Value>Enterprise Strategy</Value>
    </servicespriorityarea>
    <g6775e77a6d84637a29014d883a4378a xmlns="230e9df3-be65-4c73-a93b-d1236ebd677e">
      <Terms xmlns="http://schemas.microsoft.com/office/infopath/2007/PartnerControls"/>
    </g6775e77a6d84637a29014d883a4378a>
    <campusactivity xmlns="230e9df3-be65-4c73-a93b-d1236ebd677e">
      <Value>Delivery</Value>
    </campusactivity>
    <MSProductsTaxHTField0 xmlns="230e9df3-be65-4c73-a93b-d1236ebd677e">
      <Terms xmlns="http://schemas.microsoft.com/office/infopath/2007/PartnerControls"/>
    </MSProductsTaxHTField0>
    <m74a2925250f485f9486ed3f97e2a6b3 xmlns="230e9df3-be65-4c73-a93b-d1236ebd677e">
      <Terms xmlns="http://schemas.microsoft.com/office/infopath/2007/PartnerControls">
        <TermInfo xmlns="http://schemas.microsoft.com/office/infopath/2007/PartnerControls">
          <TermName xmlns="http://schemas.microsoft.com/office/infopath/2007/PartnerControls">communications and media sector</TermName>
          <TermId xmlns="http://schemas.microsoft.com/office/infopath/2007/PartnerControls">9945cb60-29d5-4029-a25a-926881104e39</TermId>
        </TermInfo>
        <TermInfo xmlns="http://schemas.microsoft.com/office/infopath/2007/PartnerControls">
          <TermName xmlns="http://schemas.microsoft.com/office/infopath/2007/PartnerControls">financial services sector</TermName>
          <TermId xmlns="http://schemas.microsoft.com/office/infopath/2007/PartnerControls">b538d45a-5f3b-4c47-9c69-37273fafe895</TermId>
        </TermInfo>
        <TermInfo xmlns="http://schemas.microsoft.com/office/infopath/2007/PartnerControls">
          <TermName xmlns="http://schemas.microsoft.com/office/infopath/2007/PartnerControls">manufacturing and resources sector</TermName>
          <TermId xmlns="http://schemas.microsoft.com/office/infopath/2007/PartnerControls">868ab31c-08df-4f88-9150-9f7feacdc972</TermId>
        </TermInfo>
        <TermInfo xmlns="http://schemas.microsoft.com/office/infopath/2007/PartnerControls">
          <TermName xmlns="http://schemas.microsoft.com/office/infopath/2007/PartnerControls">retail, consumer products an</TermName>
          <TermId xmlns="http://schemas.microsoft.com/office/infopath/2007/PartnerControls">9ae6ef23-8d8a-476f-aa52-b499c395f362</TermId>
        </TermInfo>
      </Terms>
    </m74a2925250f485f9486ed3f97e2a6b3>
    <oad7af80ad0f4ba99bb03b3894ab533c xmlns="230e9df3-be65-4c73-a93b-d1236ebd677e">
      <Terms xmlns="http://schemas.microsoft.com/office/infopath/2007/PartnerControls">
        <TermInfo xmlns="http://schemas.microsoft.com/office/infopath/2007/PartnerControls">
          <TermName xmlns="http://schemas.microsoft.com/office/infopath/2007/PartnerControls">scenarios</TermName>
          <TermId xmlns="http://schemas.microsoft.com/office/infopath/2007/PartnerControls">5dc5e6e5-18a4-4ff8-85dc-71a9ecf4b47b</TermId>
        </TermInfo>
      </Terms>
    </oad7af80ad0f4ba99bb03b3894ab533c>
    <SMEReviewIndicator xmlns="2c369b2b-3f94-46ec-90e1-485ed2885eab" xsi:nil="true"/>
    <_ip_UnifiedCompliancePolicyProperties xmlns="http://schemas.microsoft.com/sharepoint/v3" xsi:nil="true"/>
    <Authors xmlns="230e9df3-be65-4c73-a93b-d1236ebd677e">
      <UserInfo>
        <DisplayName>i:0#.f|membership|andyeun@microsoft.com</DisplayName>
        <AccountId>4953</AccountId>
        <AccountType/>
      </UserInfo>
      <UserInfo>
        <DisplayName>i:0#.f|membership|v-damel@microsoft.com</DisplayName>
        <AccountId>23007</AccountId>
        <AccountType/>
      </UserInfo>
      <UserInfo>
        <DisplayName>i:0#.f|membership|jmeier@microsoft.com</DisplayName>
        <AccountId>4130</AccountId>
        <AccountType/>
      </UserInfo>
      <UserInfo>
        <DisplayName>i:0#.f|membership|jmarcoux@microsoft.com</DisplayName>
        <AccountId>7396</AccountId>
        <AccountType/>
      </UserInfo>
    </Authors>
    <FrameworkVersionNumber xmlns="230e9df3-be65-4c73-a93b-d1236ebd677e" xsi:nil="true"/>
    <OfferingID xmlns="8b5b7ad0-f464-46eb-9946-fcee1f1dc400"/>
    <cb7870d3641f4a52807a63577a9c1b08 xmlns="230e9df3-be65-4c73-a93b-d1236ebd677e">
      <Terms xmlns="http://schemas.microsoft.com/office/infopath/2007/PartnerControls"/>
    </cb7870d3641f4a52807a63577a9c1b08>
    <l6f22ad676764b8284b0a38937e29122 xmlns="2c369b2b-3f94-46ec-90e1-485ed2885eab">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cb91f272-ce4d-4a7e-9bbf-78b58e3d188d</TermId>
        </TermInfo>
      </Terms>
    </l6f22ad676764b8284b0a38937e29122>
    <DerivedFromID xmlns="230e9df3-be65-4c73-a93b-d1236ebd677e" xsi:nil="true"/>
    <TaxCatchAll xmlns="230e9df3-be65-4c73-a93b-d1236ebd677e">
      <Value>86</Value>
      <Value>947</Value>
      <Value>673</Value>
      <Value>667</Value>
      <Value>479</Value>
      <Value>3</Value>
      <Value>358</Value>
    </TaxCatchAll>
    <campusov xmlns="230e9df3-be65-4c73-a93b-d1236ebd677e">
      <Value>MCS</Value>
    </campusov>
    <SMEReviewCount xmlns="2c369b2b-3f94-46ec-90e1-485ed2885eab" xsi:nil="true"/>
    <af1f5bfae61e4243aac9966cb19580e1 xmlns="230e9df3-be65-4c73-a93b-d1236ebd677e">
      <Terms xmlns="http://schemas.microsoft.com/office/infopath/2007/PartnerControls">
        <TermInfo xmlns="http://schemas.microsoft.com/office/infopath/2007/PartnerControls">
          <TermName xmlns="http://schemas.microsoft.com/office/infopath/2007/PartnerControls">WW Enterprise Strategy Community</TermName>
          <TermId xmlns="http://schemas.microsoft.com/office/infopath/2007/PartnerControls">abb82a59-d8e1-44bf-b680-43fada6eee29</TermId>
        </TermInfo>
      </Terms>
    </af1f5bfae61e4243aac9966cb19580e1>
    <_dlc_DocId xmlns="230e9df3-be65-4c73-a93b-d1236ebd677e">CAMPUSIP-6-2749</_dlc_DocId>
    <_dlc_DocIdUrl xmlns="230e9df3-be65-4c73-a93b-d1236ebd677e">
      <Url>https://microsoft.sharepoint.com/teams/CampusIPLibraries/ES/_layouts/15/DocIdRedir.aspx?ID=CAMPUSIP-6-2749</Url>
      <Description>CAMPUSIP-6-2749</Description>
    </_dlc_DocIdUrl>
  </documentManagement>
</p:properties>
</file>

<file path=customXml/item5.xml><?xml version="1.0" encoding="utf-8"?>
<ct:contentTypeSchema xmlns:ct="http://schemas.microsoft.com/office/2006/metadata/contentType" xmlns:ma="http://schemas.microsoft.com/office/2006/metadata/properties/metaAttributes" ct:_="" ma:_="" ma:contentTypeName="Campus Managed IP - ES" ma:contentTypeID="0x01010079CA57CA2DAD654DAB031774EE67465800621D8D8E19AE324586B0E2D5814AD32C02003ECED42F18ABEC4F85527B788A517F04" ma:contentTypeVersion="63" ma:contentTypeDescription="This content type is used to define the metadata and behavior of Managed IP managed in the Enterprise Strategy group." ma:contentTypeScope="" ma:versionID="1abf41f1562bfd90736e65fec44135e0">
  <xsd:schema xmlns:xsd="http://www.w3.org/2001/XMLSchema" xmlns:xs="http://www.w3.org/2001/XMLSchema" xmlns:p="http://schemas.microsoft.com/office/2006/metadata/properties" xmlns:ns1="http://schemas.microsoft.com/sharepoint/v3" xmlns:ns2="230e9df3-be65-4c73-a93b-d1236ebd677e" xmlns:ns3="2c369b2b-3f94-46ec-90e1-485ed2885eab" xmlns:ns4="8b5b7ad0-f464-46eb-9946-fcee1f1dc400" targetNamespace="http://schemas.microsoft.com/office/2006/metadata/properties" ma:root="true" ma:fieldsID="48c0c43220e40f1de7a19802bb403415" ns1:_="" ns2:_="" ns3:_="" ns4:_="">
    <xsd:import namespace="http://schemas.microsoft.com/sharepoint/v3"/>
    <xsd:import namespace="230e9df3-be65-4c73-a93b-d1236ebd677e"/>
    <xsd:import namespace="2c369b2b-3f94-46ec-90e1-485ed2885eab"/>
    <xsd:import namespace="8b5b7ad0-f464-46eb-9946-fcee1f1dc400"/>
    <xsd:element name="properties">
      <xsd:complexType>
        <xsd:sequence>
          <xsd:element name="documentManagement">
            <xsd:complexType>
              <xsd:all>
                <xsd:element ref="ns2:DocumentDescription"/>
                <xsd:element ref="ns2:Authors"/>
                <xsd:element ref="ns2:servicespriorityarea" minOccurs="0"/>
                <xsd:element ref="ns2:campusov" minOccurs="0"/>
                <xsd:element ref="ns2:campusactivity" minOccurs="0"/>
                <xsd:element ref="ns3:SMEComments" minOccurs="0"/>
                <xsd:element ref="ns3:SMEReviewCount" minOccurs="0"/>
                <xsd:element ref="ns3:SMEReviewIndicator" minOccurs="0"/>
                <xsd:element ref="ns2:FrameworkVersionNumber" minOccurs="0"/>
                <xsd:element ref="ns4:OfferingID" minOccurs="0"/>
                <xsd:element ref="ns2:DerivedFromID" minOccurs="0"/>
                <xsd:element ref="ns2:_dlc_DocIdUrl" minOccurs="0"/>
                <xsd:element ref="ns2:_dlc_DocIdPersistId" minOccurs="0"/>
                <xsd:element ref="ns2:_dlc_DocId" minOccurs="0"/>
                <xsd:element ref="ns2:cb7870d3641f4a52807a63577a9c1b08" minOccurs="0"/>
                <xsd:element ref="ns2:af1f5bfae61e4243aac9966cb19580e1" minOccurs="0"/>
                <xsd:element ref="ns2:TaxCatchAll" minOccurs="0"/>
                <xsd:element ref="ns2:TaxCatchAllLabel" minOccurs="0"/>
                <xsd:element ref="ns2:MSProductsTaxHTField0" minOccurs="0"/>
                <xsd:element ref="ns3:l6f22ad676764b8284b0a38937e29122" minOccurs="0"/>
                <xsd:element ref="ns4:OfferingID_x003a_Title_x0020__x0028_linked_x0020_to_x0020_item_x0029_" minOccurs="0"/>
                <xsd:element ref="ns2:m74a2925250f485f9486ed3f97e2a6b3" minOccurs="0"/>
                <xsd:element ref="ns4:SharedWithDetails" minOccurs="0"/>
                <xsd:element ref="ns2:g6775e77a6d84637a29014d883a4378a" minOccurs="0"/>
                <xsd:element ref="ns2:oad7af80ad0f4ba99bb03b3894ab533c"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40" nillable="true" ma:displayName="Unified Compliance Policy Properties" ma:hidden="true" ma:internalName="_ip_UnifiedCompliancePolicyProperties">
      <xsd:simpleType>
        <xsd:restriction base="dms:Note"/>
      </xsd:simpleType>
    </xsd:element>
    <xsd:element name="_ip_UnifiedCompliancePolicyUIAction" ma:index="4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ma:displayName="Document Description" ma:description="Alternate description for documents that can be used for display." ma:internalName="DocumentDescription">
      <xsd:simpleType>
        <xsd:restriction base="dms:Note">
          <xsd:maxLength value="255"/>
        </xsd:restriction>
      </xsd:simpleType>
    </xsd:element>
    <xsd:element name="Authors" ma:index="3" ma:displayName="Authors" ma:description="The individuals who contributed to the creation of this content. Includes both primary and secondary authors." ma:list="UserInfo" ma:SharePointGroup="0" ma:internalName="Authors"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servicespriorityarea" ma:index="7" nillable="true" ma:displayName="Services Priority Area" ma:description="Identifies the associated Services business priority area. Used by Campus." ma:internalName="servicespriorityarea" ma:readOnly="false">
      <xsd:complexType>
        <xsd:complexContent>
          <xsd:extension base="dms:MultiChoice">
            <xsd:sequence>
              <xsd:element name="Value" maxOccurs="unbounded" minOccurs="0" nillable="true">
                <xsd:simpleType>
                  <xsd:restriction base="dms:Choice">
                    <xsd:enumeration value="Application Platform"/>
                    <xsd:enumeration value="Cloud Productivity"/>
                    <xsd:enumeration value="Datacenter"/>
                    <xsd:enumeration value="Devices and Mobility"/>
                    <xsd:enumeration value="Dynamics"/>
                    <xsd:enumeration value="Enterprise Communications"/>
                    <xsd:enumeration value="Enterprise Strategy"/>
                    <xsd:enumeration value="Premier Cloud Vantage"/>
                    <xsd:enumeration value="Premier Lync"/>
                    <xsd:enumeration value="Premier Mission Critical"/>
                    <xsd:enumeration value="Premier vNext"/>
                    <xsd:enumeration value="Productivity and Enterprise Social"/>
                    <xsd:enumeration value="PSfD"/>
                    <xsd:enumeration value="PSfP"/>
                    <xsd:enumeration value="Security"/>
                  </xsd:restriction>
                </xsd:simpleType>
              </xsd:element>
            </xsd:sequence>
          </xsd:extension>
        </xsd:complexContent>
      </xsd:complexType>
    </xsd:element>
    <xsd:element name="campusov" ma:index="8" nillable="true" ma:displayName="Org (Campus Only)" ma:description="Used exclusively by the Campus KM solution. The organization, community, or program that is responsible for the life of the IP." ma:internalName="campusov">
      <xsd:complexType>
        <xsd:complexContent>
          <xsd:extension base="dms:MultiChoice">
            <xsd:sequence>
              <xsd:element name="Value" maxOccurs="unbounded" minOccurs="0" nillable="true">
                <xsd:simpleType>
                  <xsd:restriction base="dms:Choice">
                    <xsd:enumeration value="Consumer"/>
                    <xsd:enumeration value="CSS"/>
                    <xsd:enumeration value="Enterprise Services Sales"/>
                    <xsd:enumeration value="GBS - Strategy"/>
                    <xsd:enumeration value="GBSD - Commercial Shared"/>
                    <xsd:enumeration value="GBSD - Dynamics/SMS&amp;P"/>
                    <xsd:enumeration value="GBSD - MOD"/>
                    <xsd:enumeration value="GBSD - PFE"/>
                    <xsd:enumeration value="GBSD - STB"/>
                    <xsd:enumeration value="MCS"/>
                    <xsd:enumeration value="Not Organization Specific"/>
                    <xsd:enumeration value="OCTO"/>
                    <xsd:enumeration value="Premier"/>
                  </xsd:restriction>
                </xsd:simpleType>
              </xsd:element>
            </xsd:sequence>
          </xsd:extension>
        </xsd:complexContent>
      </xsd:complexType>
    </xsd:element>
    <xsd:element name="campusactivity" ma:index="9" nillable="true" ma:displayName="Campus Function" ma:description="Used exclusively by the Campus KM solution for tagging content with the Services function to which the document is applicable." ma:internalName="campusactivity">
      <xsd:complexType>
        <xsd:complexContent>
          <xsd:extension base="dms:MultiChoice">
            <xsd:sequence>
              <xsd:element name="Value" maxOccurs="unbounded" minOccurs="0" nillable="true">
                <xsd:simpleType>
                  <xsd:restriction base="dms:Choice">
                    <xsd:enumeration value="Sales"/>
                    <xsd:enumeration value="Marketing"/>
                    <xsd:enumeration value="Delivery"/>
                    <xsd:enumeration value="Support"/>
                  </xsd:restriction>
                </xsd:simpleType>
              </xsd:element>
            </xsd:sequence>
          </xsd:extension>
        </xsd:complexContent>
      </xsd:complexType>
    </xsd:element>
    <xsd:element name="FrameworkVersionNumber" ma:index="17" nillable="true" ma:displayName="Framework Version Number" ma:description="A field used by Campus KM management solution." ma:internalName="FrameworkVersionNumber" ma:percentage="FALSE">
      <xsd:simpleType>
        <xsd:restriction base="dms:Number"/>
      </xsd:simpleType>
    </xsd:element>
    <xsd:element name="DerivedFromID" ma:index="19" nillable="true" ma:displayName="Derived from ID" ma:default="Original" ma:description="Holds the Document Id if the document is derived from an existing document in Campus." ma:internalName="DerivedFromID">
      <xsd:simpleType>
        <xsd:restriction base="dms:Text">
          <xsd:maxLength value="255"/>
        </xsd:restriction>
      </xsd:simpleType>
    </xsd:element>
    <xsd:element name="_dlc_DocIdUrl" ma:index="2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2" nillable="true" ma:displayName="Persist ID" ma:description="Keep ID on add." ma:hidden="true" ma:internalName="_dlc_DocIdPersistId" ma:readOnly="true">
      <xsd:simpleType>
        <xsd:restriction base="dms:Boolean"/>
      </xsd:simpleType>
    </xsd:element>
    <xsd:element name="_dlc_DocId" ma:index="23" nillable="true" ma:displayName="Document ID Value" ma:description="The value of the document ID assigned to this item." ma:internalName="_dlc_DocId" ma:readOnly="true">
      <xsd:simpleType>
        <xsd:restriction base="dms:Text"/>
      </xsd:simpleType>
    </xsd:element>
    <xsd:element name="cb7870d3641f4a52807a63577a9c1b08" ma:index="25" nillable="true" ma:taxonomy="true" ma:internalName="cb7870d3641f4a52807a63577a9c1b08" ma:taxonomyFieldName="SalesGeography" ma:displayName="MS Sales Geography" ma:default="" ma:fieldId="{cb7870d3-641f-4a52-807a-63577a9c1b08}" ma:taxonomyMulti="true" ma:sspId="e385fb40-52d4-4fae-9c5b-3e8ff8a5878e" ma:termSetId="a5a76945-853a-477c-879c-38ff3cefc704" ma:anchorId="00000000-0000-0000-0000-000000000000" ma:open="false" ma:isKeyword="false">
      <xsd:complexType>
        <xsd:sequence>
          <xsd:element ref="pc:Terms" minOccurs="0" maxOccurs="1"/>
        </xsd:sequence>
      </xsd:complexType>
    </xsd:element>
    <xsd:element name="af1f5bfae61e4243aac9966cb19580e1" ma:index="26" nillable="true" ma:taxonomy="true" ma:internalName="af1f5bfae61e4243aac9966cb19580e1" ma:taxonomyFieldName="ServicesCommunities" ma:displayName="WW Communities" ma:default="" ma:fieldId="{af1f5bfa-e61e-4243-aac9-966cb19580e1}" ma:taxonomyMulti="true" ma:sspId="e385fb40-52d4-4fae-9c5b-3e8ff8a5878e" ma:termSetId="e914471b-f3a2-4e29-8ef9-272939996e4a" ma:anchorId="00000000-0000-0000-0000-000000000000" ma:open="false" ma:isKeyword="false">
      <xsd:complexType>
        <xsd:sequence>
          <xsd:element ref="pc:Terms" minOccurs="0" maxOccurs="1"/>
        </xsd:sequence>
      </xsd:complexType>
    </xsd:element>
    <xsd:element name="TaxCatchAll" ma:index="27" nillable="true" ma:displayName="Taxonomy Catch All Column" ma:hidden="true" ma:list="{b5574508-8eb6-42b3-91d6-479e30ab603a}" ma:internalName="TaxCatchAll" ma:showField="CatchAllData" ma:web="2c369b2b-3f94-46ec-90e1-485ed2885eab">
      <xsd:complexType>
        <xsd:complexContent>
          <xsd:extension base="dms:MultiChoiceLookup">
            <xsd:sequence>
              <xsd:element name="Value" type="dms:Lookup" maxOccurs="unbounded" minOccurs="0" nillable="true"/>
            </xsd:sequence>
          </xsd:extension>
        </xsd:complexContent>
      </xsd:complexType>
    </xsd:element>
    <xsd:element name="TaxCatchAllLabel" ma:index="28" nillable="true" ma:displayName="Taxonomy Catch All Column1" ma:hidden="true" ma:list="{b5574508-8eb6-42b3-91d6-479e30ab603a}" ma:internalName="TaxCatchAllLabel" ma:readOnly="true" ma:showField="CatchAllDataLabel" ma:web="2c369b2b-3f94-46ec-90e1-485ed2885eab">
      <xsd:complexType>
        <xsd:complexContent>
          <xsd:extension base="dms:MultiChoiceLookup">
            <xsd:sequence>
              <xsd:element name="Value" type="dms:Lookup" maxOccurs="unbounded" minOccurs="0" nillable="true"/>
            </xsd:sequence>
          </xsd:extension>
        </xsd:complexContent>
      </xsd:complexType>
    </xsd:element>
    <xsd:element name="MSProductsTaxHTField0" ma:index="30" nillable="true" ma:taxonomy="true" ma:internalName="MSProductsTaxHTField0" ma:taxonomyFieldName="MSProducts" ma:displayName="MS Products" ma:readOnly="false" ma:default="" ma:fieldId="{ee77c2ea-e1b9-4a90-85df-76a95e6ae936}"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m74a2925250f485f9486ed3f97e2a6b3" ma:index="36" nillable="true" ma:taxonomy="true" ma:internalName="m74a2925250f485f9486ed3f97e2a6b3" ma:taxonomyFieldName="VerticalIndustries" ma:displayName="Vertical Industries" ma:readOnly="false" ma:default="" ma:fieldId="{674a2925-250f-485f-9486-ed3f97e2a6b3}" ma:taxonomyMulti="true" ma:sspId="e385fb40-52d4-4fae-9c5b-3e8ff8a5878e" ma:termSetId="91b0d1e0-9f22-4aab-a1ef-fa1358a21588" ma:anchorId="00000000-0000-0000-0000-000000000000" ma:open="false" ma:isKeyword="false">
      <xsd:complexType>
        <xsd:sequence>
          <xsd:element ref="pc:Terms" minOccurs="0" maxOccurs="1"/>
        </xsd:sequence>
      </xsd:complexType>
    </xsd:element>
    <xsd:element name="g6775e77a6d84637a29014d883a4378a" ma:index="38" nillable="true" ma:taxonomy="true" ma:internalName="g6775e77a6d84637a29014d883a4378a" ma:taxonomyFieldName="ServicesDomain" ma:displayName="Services Domain" ma:default="" ma:fieldId="{06775e77-a6d8-4637-a290-14d883a4378a}" ma:taxonomyMulti="true" ma:sspId="e385fb40-52d4-4fae-9c5b-3e8ff8a5878e" ma:termSetId="c1ac51a9-d111-4ee5-a69f-6022ed76fff0" ma:anchorId="00000000-0000-0000-0000-000000000000" ma:open="false" ma:isKeyword="false">
      <xsd:complexType>
        <xsd:sequence>
          <xsd:element ref="pc:Terms" minOccurs="0" maxOccurs="1"/>
        </xsd:sequence>
      </xsd:complexType>
    </xsd:element>
    <xsd:element name="oad7af80ad0f4ba99bb03b3894ab533c" ma:index="39" nillable="true" ma:taxonomy="true" ma:internalName="oad7af80ad0f4ba99bb03b3894ab533c" ma:taxonomyFieldName="ServicesIPTypes" ma:displayName="Services IP Type" ma:readOnly="false" ma:default="" ma:fieldId="{8ad7af80-ad0f-4ba9-9bb0-3b3894ab533c}" ma:taxonomyMulti="true" ma:sspId="e385fb40-52d4-4fae-9c5b-3e8ff8a5878e" ma:termSetId="030f38bb-a2c5-4da9-8933-47d85a151cf1"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c369b2b-3f94-46ec-90e1-485ed2885eab" elementFormDefault="qualified">
    <xsd:import namespace="http://schemas.microsoft.com/office/2006/documentManagement/types"/>
    <xsd:import namespace="http://schemas.microsoft.com/office/infopath/2007/PartnerControls"/>
    <xsd:element name="SMEComments" ma:index="14" nillable="true" ma:displayName="SME Comments" ma:internalName="SMEComments" ma:readOnly="false">
      <xsd:simpleType>
        <xsd:restriction base="dms:Note">
          <xsd:maxLength value="255"/>
        </xsd:restriction>
      </xsd:simpleType>
    </xsd:element>
    <xsd:element name="SMEReviewCount" ma:index="15" nillable="true" ma:displayName="SME Review Count" ma:internalName="SMEReviewCount" ma:readOnly="false">
      <xsd:simpleType>
        <xsd:restriction base="dms:Number"/>
      </xsd:simpleType>
    </xsd:element>
    <xsd:element name="SMEReviewIndicator" ma:index="16" nillable="true" ma:displayName="SME Review Indicator" ma:internalName="SMEReviewIndicator" ma:readOnly="false">
      <xsd:simpleType>
        <xsd:restriction base="dms:Number"/>
      </xsd:simpleType>
    </xsd:element>
    <xsd:element name="l6f22ad676764b8284b0a38937e29122" ma:index="31" ma:taxonomy="true" ma:internalName="l6f22ad676764b8284b0a38937e29122" ma:taxonomyFieldName="MS_x0020_Language" ma:displayName="Language" ma:readOnly="false" ma:default="" ma:fieldId="{56f22ad6-7676-4b82-84b0-a38937e29122}" ma:taxonomyMulti="true" ma:sspId="e385fb40-52d4-4fae-9c5b-3e8ff8a5878e" ma:termSetId="2851bb56-f3b7-4d07-b1ba-07ede7d3b14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b5b7ad0-f464-46eb-9946-fcee1f1dc400" elementFormDefault="qualified">
    <xsd:import namespace="http://schemas.microsoft.com/office/2006/documentManagement/types"/>
    <xsd:import namespace="http://schemas.microsoft.com/office/infopath/2007/PartnerControls"/>
    <xsd:element name="OfferingID" ma:index="18" nillable="true" ma:displayName="OfferingID" ma:list="{93b282fd-206f-40aa-ad9a-b5a72de7b449}" ma:internalName="OfferingID0" ma:showField="OID" ma:web="8b5b7ad0-f464-46eb-9946-fcee1f1dc400">
      <xsd:complexType>
        <xsd:complexContent>
          <xsd:extension base="dms:MultiChoiceLookup">
            <xsd:sequence>
              <xsd:element name="Value" type="dms:Lookup" maxOccurs="unbounded" minOccurs="0" nillable="true"/>
            </xsd:sequence>
          </xsd:extension>
        </xsd:complexContent>
      </xsd:complexType>
    </xsd:element>
    <xsd:element name="OfferingID_x003a_Title_x0020__x0028_linked_x0020_to_x0020_item_x0029_" ma:index="35" nillable="true" ma:displayName="OfferingID:Title (linked to item)" ma:list="{93b282fd-206f-40aa-ad9a-b5a72de7b449}" ma:internalName="OfferingID_x003A_Title_x0020__x0028_linked_x0020_to_x0020_item_x0029_" ma:readOnly="true" ma:showField="LinkTitleNoMenu" ma:web="8b5b7ad0-f464-46eb-9946-fcee1f1dc400">
      <xsd:complexType>
        <xsd:complexContent>
          <xsd:extension base="dms:MultiChoiceLookup">
            <xsd:sequence>
              <xsd:element name="Value" type="dms:Lookup" maxOccurs="unbounded" minOccurs="0" nillable="true"/>
            </xsd:sequence>
          </xsd:extension>
        </xsd:complexContent>
      </xsd:complexType>
    </xsd:element>
    <xsd:element name="SharedWithDetails" ma:index="3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33"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F93885A-3CB6-49D5-9139-DBE3E1687A90}">
  <ds:schemaRefs>
    <ds:schemaRef ds:uri="http://schemas.microsoft.com/sharepoint/events"/>
  </ds:schemaRefs>
</ds:datastoreItem>
</file>

<file path=customXml/itemProps2.xml><?xml version="1.0" encoding="utf-8"?>
<ds:datastoreItem xmlns:ds="http://schemas.openxmlformats.org/officeDocument/2006/customXml" ds:itemID="{44FDA79B-BA4A-4FC5-B4BB-477B2B4DF2B9}">
  <ds:schemaRefs>
    <ds:schemaRef ds:uri="http://schemas.microsoft.com/sharepoint/v3/contenttype/forms"/>
  </ds:schemaRefs>
</ds:datastoreItem>
</file>

<file path=customXml/itemProps3.xml><?xml version="1.0" encoding="utf-8"?>
<ds:datastoreItem xmlns:ds="http://schemas.openxmlformats.org/officeDocument/2006/customXml" ds:itemID="{E7EB2990-FD40-4EEE-A8A4-E4A1ED4068B0}">
  <ds:schemaRefs>
    <ds:schemaRef ds:uri="Microsoft.SharePoint.Taxonomy.ContentTypeSync"/>
  </ds:schemaRefs>
</ds:datastoreItem>
</file>

<file path=customXml/itemProps4.xml><?xml version="1.0" encoding="utf-8"?>
<ds:datastoreItem xmlns:ds="http://schemas.openxmlformats.org/officeDocument/2006/customXml" ds:itemID="{00DE4472-5A42-453F-B41F-5EA68F509F59}">
  <ds:schemaRefs>
    <ds:schemaRef ds:uri="http://schemas.openxmlformats.org/package/2006/metadata/core-properties"/>
    <ds:schemaRef ds:uri="http://purl.org/dc/dcmitype/"/>
    <ds:schemaRef ds:uri="2c369b2b-3f94-46ec-90e1-485ed2885eab"/>
    <ds:schemaRef ds:uri="http://purl.org/dc/elements/1.1/"/>
    <ds:schemaRef ds:uri="http://schemas.microsoft.com/office/2006/metadata/properties"/>
    <ds:schemaRef ds:uri="http://schemas.microsoft.com/office/infopath/2007/PartnerControls"/>
    <ds:schemaRef ds:uri="http://schemas.microsoft.com/sharepoint/v3"/>
    <ds:schemaRef ds:uri="http://schemas.microsoft.com/office/2006/documentManagement/types"/>
    <ds:schemaRef ds:uri="http://purl.org/dc/terms/"/>
    <ds:schemaRef ds:uri="8b5b7ad0-f464-46eb-9946-fcee1f1dc400"/>
    <ds:schemaRef ds:uri="230e9df3-be65-4c73-a93b-d1236ebd677e"/>
    <ds:schemaRef ds:uri="http://www.w3.org/XML/1998/namespace"/>
  </ds:schemaRefs>
</ds:datastoreItem>
</file>

<file path=customXml/itemProps5.xml><?xml version="1.0" encoding="utf-8"?>
<ds:datastoreItem xmlns:ds="http://schemas.openxmlformats.org/officeDocument/2006/customXml" ds:itemID="{5D520C76-AF7B-4217-A173-5A10D460F5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c369b2b-3f94-46ec-90e1-485ed2885eab"/>
    <ds:schemaRef ds:uri="8b5b7ad0-f464-46eb-9946-fcee1f1dc40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8973</TotalTime>
  <Words>741</Words>
  <Application>Microsoft Office PowerPoint</Application>
  <PresentationFormat>Widescreen</PresentationFormat>
  <Paragraphs>236</Paragraphs>
  <Slides>6</Slides>
  <Notes>6</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9" baseType="lpstr">
      <vt:lpstr>ＭＳ Ｐゴシック</vt:lpstr>
      <vt:lpstr>Arial</vt:lpstr>
      <vt:lpstr>Arial Unicode MS</vt:lpstr>
      <vt:lpstr>Calibri</vt:lpstr>
      <vt:lpstr>Courier New</vt:lpstr>
      <vt:lpstr>Segoe</vt:lpstr>
      <vt:lpstr>Segoe Light</vt:lpstr>
      <vt:lpstr>Segoe UI</vt:lpstr>
      <vt:lpstr>Segoe UI Light</vt:lpstr>
      <vt:lpstr>Segoe UI Semibold</vt:lpstr>
      <vt:lpstr>Wingdings</vt:lpstr>
      <vt:lpstr>FY15 Enterprise identity theme</vt:lpstr>
      <vt:lpstr>think-cell Slide</vt:lpstr>
      <vt:lpstr>PowerPoint Presentation</vt:lpstr>
      <vt:lpstr>PowerPoint Presentation</vt:lpstr>
      <vt:lpstr>Drive Customer Profitability and Retention</vt:lpstr>
      <vt:lpstr>Technology Storyboard: Customer Analytics - PaaS</vt:lpstr>
      <vt:lpstr>Customer Analytics: Storyboard ISV IaaS Option</vt:lpstr>
      <vt:lpstr>Azure Technical BO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rketing Book of Dreams v1</dc:title>
  <dc:creator>v-damel@microsoft.com</dc:creator>
  <cp:lastModifiedBy>Mark Kromer</cp:lastModifiedBy>
  <cp:revision>1015</cp:revision>
  <dcterms:created xsi:type="dcterms:W3CDTF">2014-12-01T09:49:47Z</dcterms:created>
  <dcterms:modified xsi:type="dcterms:W3CDTF">2016-09-14T18:36: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CA57CA2DAD654DAB031774EE67465800621D8D8E19AE324586B0E2D5814AD32C02003ECED42F18ABEC4F85527B788A517F04</vt:lpwstr>
  </property>
  <property fmtid="{D5CDD505-2E9C-101B-9397-08002B2CF9AE}" pid="3" name="bc28b5f076654a3b96073bbbebfeb8c9">
    <vt:lpwstr>English|cb91f272-ce4d-4a7e-9bbf-78b58e3d188d</vt:lpwstr>
  </property>
  <property fmtid="{D5CDD505-2E9C-101B-9397-08002B2CF9AE}" pid="4" name="TaxCatchAll">
    <vt:lpwstr>3;#English</vt:lpwstr>
  </property>
  <property fmtid="{D5CDD505-2E9C-101B-9397-08002B2CF9AE}" pid="5" name="_dlc_DocIdItemGuid">
    <vt:lpwstr>9c0b867f-7520-4d1f-83fb-ea2641597f19</vt:lpwstr>
  </property>
  <property fmtid="{D5CDD505-2E9C-101B-9397-08002B2CF9AE}" pid="6" name="ie6d2fd56e2d423f9ae5744f65e04598">
    <vt:lpwstr/>
  </property>
  <property fmtid="{D5CDD505-2E9C-101B-9397-08002B2CF9AE}" pid="7" name="ServicesDomain">
    <vt:lpwstr/>
  </property>
  <property fmtid="{D5CDD505-2E9C-101B-9397-08002B2CF9AE}" pid="8" name="VerticalIndustries">
    <vt:lpwstr>358;#communications and media sector|9945cb60-29d5-4029-a25a-926881104e39;#667;#financial services sector|b538d45a-5f3b-4c47-9c69-37273fafe895;#673;#manufacturing and resources sector|868ab31c-08df-4f88-9150-9f7feacdc972;#947;#retail, consumer products an</vt:lpwstr>
  </property>
  <property fmtid="{D5CDD505-2E9C-101B-9397-08002B2CF9AE}" pid="9" name="pd049fc9a23847ae8834a0b282b603a1">
    <vt:lpwstr/>
  </property>
  <property fmtid="{D5CDD505-2E9C-101B-9397-08002B2CF9AE}" pid="10" name="RatedBy">
    <vt:lpwstr/>
  </property>
  <property fmtid="{D5CDD505-2E9C-101B-9397-08002B2CF9AE}" pid="11" name="SalesGeography">
    <vt:lpwstr/>
  </property>
  <property fmtid="{D5CDD505-2E9C-101B-9397-08002B2CF9AE}" pid="12" name="l56d15105ae648fdac87f06e9633001e">
    <vt:lpwstr/>
  </property>
  <property fmtid="{D5CDD505-2E9C-101B-9397-08002B2CF9AE}" pid="13" name="MS Language">
    <vt:lpwstr>3;#English|cb91f272-ce4d-4a7e-9bbf-78b58e3d188d</vt:lpwstr>
  </property>
  <property fmtid="{D5CDD505-2E9C-101B-9397-08002B2CF9AE}" pid="14" name="MSProducts">
    <vt:lpwstr/>
  </property>
  <property fmtid="{D5CDD505-2E9C-101B-9397-08002B2CF9AE}" pid="15" name="Content Owner">
    <vt:lpwstr>, </vt:lpwstr>
  </property>
  <property fmtid="{D5CDD505-2E9C-101B-9397-08002B2CF9AE}" pid="16" name="EnterpriseServices">
    <vt:lpwstr/>
  </property>
  <property fmtid="{D5CDD505-2E9C-101B-9397-08002B2CF9AE}" pid="17" name="Ratings">
    <vt:lpwstr/>
  </property>
  <property fmtid="{D5CDD505-2E9C-101B-9397-08002B2CF9AE}" pid="18" name="ServicesIPTypes">
    <vt:lpwstr>86;#scenarios|5dc5e6e5-18a4-4ff8-85dc-71a9ecf4b47b</vt:lpwstr>
  </property>
  <property fmtid="{D5CDD505-2E9C-101B-9397-08002B2CF9AE}" pid="19" name="Services Marketing Audience">
    <vt:lpwstr/>
  </property>
  <property fmtid="{D5CDD505-2E9C-101B-9397-08002B2CF9AE}" pid="20" name="LikedBy">
    <vt:lpwstr/>
  </property>
  <property fmtid="{D5CDD505-2E9C-101B-9397-08002B2CF9AE}" pid="21" name="ServicesLifecycleStage">
    <vt:lpwstr/>
  </property>
  <property fmtid="{D5CDD505-2E9C-101B-9397-08002B2CF9AE}" pid="22" name="ServicesCommunities">
    <vt:lpwstr>479;#WW Enterprise Strategy Community|abb82a59-d8e1-44bf-b680-43fada6eee29</vt:lpwstr>
  </property>
  <property fmtid="{D5CDD505-2E9C-101B-9397-08002B2CF9AE}" pid="23" name="MSLanguage">
    <vt:lpwstr>3;#English|cb91f272-ce4d-4a7e-9bbf-78b58e3d188d</vt:lpwstr>
  </property>
  <property fmtid="{D5CDD505-2E9C-101B-9397-08002B2CF9AE}" pid="24" name="Services Megatrends">
    <vt:lpwstr/>
  </property>
  <property fmtid="{D5CDD505-2E9C-101B-9397-08002B2CF9AE}" pid="25" name="SharedWithUsers">
    <vt:lpwstr>34690;#Elad shwarchberg;#74954;#Shira Levy-Barkan</vt:lpwstr>
  </property>
  <property fmtid="{D5CDD505-2E9C-101B-9397-08002B2CF9AE}" pid="26" name="campustrv">
    <vt:lpwstr>;#Sales Excellence;#Solution Sales;#Architecture Delivery;#</vt:lpwstr>
  </property>
</Properties>
</file>